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charts/chart2.xml" ContentType="application/vnd.openxmlformats-officedocument.drawingml.char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Override2.xml" ContentType="application/vnd.openxmlformats-officedocument.themeOverride+xml"/>
  <Override PartName="/ppt/theme/themeOverride3.xml" ContentType="application/vnd.openxmlformats-officedocument.themeOverrid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03" r:id="rId2"/>
    <p:sldMasterId id="2147483809" r:id="rId3"/>
    <p:sldMasterId id="2147483856" r:id="rId4"/>
    <p:sldMasterId id="2147483900" r:id="rId5"/>
    <p:sldMasterId id="2147483907" r:id="rId6"/>
    <p:sldMasterId id="2147483947" r:id="rId7"/>
  </p:sldMasterIdLst>
  <p:notesMasterIdLst>
    <p:notesMasterId r:id="rId38"/>
  </p:notesMasterIdLst>
  <p:sldIdLst>
    <p:sldId id="698" r:id="rId8"/>
    <p:sldId id="716" r:id="rId9"/>
    <p:sldId id="717" r:id="rId10"/>
    <p:sldId id="719" r:id="rId11"/>
    <p:sldId id="720" r:id="rId12"/>
    <p:sldId id="721" r:id="rId13"/>
    <p:sldId id="722" r:id="rId14"/>
    <p:sldId id="723" r:id="rId15"/>
    <p:sldId id="724" r:id="rId16"/>
    <p:sldId id="725" r:id="rId17"/>
    <p:sldId id="726" r:id="rId18"/>
    <p:sldId id="727" r:id="rId19"/>
    <p:sldId id="728" r:id="rId20"/>
    <p:sldId id="729" r:id="rId21"/>
    <p:sldId id="730" r:id="rId22"/>
    <p:sldId id="731" r:id="rId23"/>
    <p:sldId id="732" r:id="rId24"/>
    <p:sldId id="733" r:id="rId25"/>
    <p:sldId id="734" r:id="rId26"/>
    <p:sldId id="735" r:id="rId27"/>
    <p:sldId id="736" r:id="rId28"/>
    <p:sldId id="737" r:id="rId29"/>
    <p:sldId id="738" r:id="rId30"/>
    <p:sldId id="739" r:id="rId31"/>
    <p:sldId id="740" r:id="rId32"/>
    <p:sldId id="741" r:id="rId33"/>
    <p:sldId id="742" r:id="rId34"/>
    <p:sldId id="743" r:id="rId35"/>
    <p:sldId id="744" r:id="rId36"/>
    <p:sldId id="712" r:id="rId37"/>
  </p:sldIdLst>
  <p:sldSz cx="12192000" cy="6858000"/>
  <p:notesSz cx="6858000" cy="9144000"/>
  <p:photoAlbum/>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binar presentation" id="{3AF987F5-0B2A-49BB-9D2A-E20C53335B48}">
          <p14:sldIdLst>
            <p14:sldId id="698"/>
            <p14:sldId id="716"/>
            <p14:sldId id="717"/>
            <p14:sldId id="719"/>
            <p14:sldId id="720"/>
            <p14:sldId id="721"/>
            <p14:sldId id="722"/>
            <p14:sldId id="723"/>
            <p14:sldId id="724"/>
            <p14:sldId id="725"/>
            <p14:sldId id="726"/>
            <p14:sldId id="727"/>
            <p14:sldId id="728"/>
            <p14:sldId id="729"/>
            <p14:sldId id="730"/>
            <p14:sldId id="731"/>
            <p14:sldId id="732"/>
            <p14:sldId id="733"/>
            <p14:sldId id="734"/>
            <p14:sldId id="735"/>
            <p14:sldId id="736"/>
            <p14:sldId id="737"/>
            <p14:sldId id="738"/>
            <p14:sldId id="739"/>
            <p14:sldId id="740"/>
            <p14:sldId id="741"/>
            <p14:sldId id="742"/>
            <p14:sldId id="743"/>
            <p14:sldId id="744"/>
            <p14:sldId id="71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875"/>
    <a:srgbClr val="BCBEC0"/>
    <a:srgbClr val="2F6188"/>
    <a:srgbClr val="0673BA"/>
    <a:srgbClr val="0158B7"/>
    <a:srgbClr val="0072BC"/>
    <a:srgbClr val="59595B"/>
    <a:srgbClr val="0070C0"/>
    <a:srgbClr val="936DAF"/>
    <a:srgbClr val="8258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7" autoAdjust="0"/>
    <p:restoredTop sz="83175" autoAdjust="0"/>
  </p:normalViewPr>
  <p:slideViewPr>
    <p:cSldViewPr>
      <p:cViewPr varScale="1">
        <p:scale>
          <a:sx n="85" d="100"/>
          <a:sy n="85" d="100"/>
        </p:scale>
        <p:origin x="1081" y="76"/>
      </p:cViewPr>
      <p:guideLst>
        <p:guide orient="horz" pos="2160"/>
        <p:guide pos="3840"/>
      </p:guideLst>
    </p:cSldViewPr>
  </p:slideViewPr>
  <p:notesTextViewPr>
    <p:cViewPr>
      <p:scale>
        <a:sx n="3" d="2"/>
        <a:sy n="3" d="2"/>
      </p:scale>
      <p:origin x="0" y="0"/>
    </p:cViewPr>
  </p:notesTextViewPr>
  <p:sorterViewPr>
    <p:cViewPr>
      <p:scale>
        <a:sx n="90" d="100"/>
        <a:sy n="90" d="100"/>
      </p:scale>
      <p:origin x="0" y="0"/>
    </p:cViewPr>
  </p:sorterViewPr>
  <p:notesViewPr>
    <p:cSldViewPr>
      <p:cViewPr varScale="1">
        <p:scale>
          <a:sx n="52" d="100"/>
          <a:sy n="52" d="100"/>
        </p:scale>
        <p:origin x="2680"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55" Type="http://schemas.microsoft.com/office/2015/10/relationships/revisionInfo" Target="revisionInfo.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hade val="58000"/>
                </a:schemeClr>
              </a:solidFill>
              <a:ln w="19050">
                <a:noFill/>
              </a:ln>
              <a:effectLst/>
            </c:spPr>
            <c:extLst>
              <c:ext xmlns:c16="http://schemas.microsoft.com/office/drawing/2014/chart" uri="{C3380CC4-5D6E-409C-BE32-E72D297353CC}">
                <c16:uniqueId val="{00000001-2D24-4E7B-9909-DDC9F883A5D8}"/>
              </c:ext>
            </c:extLst>
          </c:dPt>
          <c:dPt>
            <c:idx val="1"/>
            <c:bubble3D val="0"/>
            <c:spPr>
              <a:solidFill>
                <a:schemeClr val="accent1">
                  <a:shade val="86000"/>
                </a:schemeClr>
              </a:solidFill>
              <a:ln w="19050">
                <a:noFill/>
              </a:ln>
              <a:effectLst/>
            </c:spPr>
            <c:extLst>
              <c:ext xmlns:c16="http://schemas.microsoft.com/office/drawing/2014/chart" uri="{C3380CC4-5D6E-409C-BE32-E72D297353CC}">
                <c16:uniqueId val="{00000003-2D24-4E7B-9909-DDC9F883A5D8}"/>
              </c:ext>
            </c:extLst>
          </c:dPt>
          <c:dPt>
            <c:idx val="2"/>
            <c:bubble3D val="0"/>
            <c:spPr>
              <a:solidFill>
                <a:schemeClr val="accent1">
                  <a:tint val="86000"/>
                </a:schemeClr>
              </a:solidFill>
              <a:ln w="19050">
                <a:noFill/>
              </a:ln>
              <a:effectLst/>
            </c:spPr>
            <c:extLst>
              <c:ext xmlns:c16="http://schemas.microsoft.com/office/drawing/2014/chart" uri="{C3380CC4-5D6E-409C-BE32-E72D297353CC}">
                <c16:uniqueId val="{00000005-2D24-4E7B-9909-DDC9F883A5D8}"/>
              </c:ext>
            </c:extLst>
          </c:dPt>
          <c:dPt>
            <c:idx val="3"/>
            <c:bubble3D val="0"/>
            <c:spPr>
              <a:solidFill>
                <a:schemeClr val="accent1">
                  <a:tint val="58000"/>
                </a:schemeClr>
              </a:solidFill>
              <a:ln w="19050">
                <a:noFill/>
              </a:ln>
              <a:effectLst/>
            </c:spPr>
            <c:extLst>
              <c:ext xmlns:c16="http://schemas.microsoft.com/office/drawing/2014/chart" uri="{C3380CC4-5D6E-409C-BE32-E72D297353CC}">
                <c16:uniqueId val="{00000007-2D24-4E7B-9909-DDC9F883A5D8}"/>
              </c:ext>
            </c:extLst>
          </c:dPt>
          <c:dPt>
            <c:idx val="4"/>
            <c:bubble3D val="0"/>
            <c:spPr>
              <a:solidFill>
                <a:schemeClr val="accent1">
                  <a:tint val="54000"/>
                </a:schemeClr>
              </a:solidFill>
              <a:ln w="19050">
                <a:noFill/>
              </a:ln>
              <a:effectLst/>
            </c:spPr>
            <c:extLst>
              <c:ext xmlns:c16="http://schemas.microsoft.com/office/drawing/2014/chart" uri="{C3380CC4-5D6E-409C-BE32-E72D297353CC}">
                <c16:uniqueId val="{00000009-2D24-4E7B-9909-DDC9F883A5D8}"/>
              </c:ext>
            </c:extLst>
          </c:dPt>
          <c:dLbls>
            <c:spPr>
              <a:no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6</c:f>
              <c:strCache>
                <c:ptCount val="5"/>
                <c:pt idx="0">
                  <c:v>Industrial Automation</c:v>
                </c:pt>
                <c:pt idx="1">
                  <c:v>Components</c:v>
                </c:pt>
                <c:pt idx="2">
                  <c:v>Healthcare</c:v>
                </c:pt>
                <c:pt idx="3">
                  <c:v>Mobility</c:v>
                </c:pt>
                <c:pt idx="4">
                  <c:v>Other</c:v>
                </c:pt>
              </c:strCache>
            </c:strRef>
          </c:cat>
          <c:val>
            <c:numRef>
              <c:f>Sheet1!$B$2:$B$6</c:f>
              <c:numCache>
                <c:formatCode>General</c:formatCode>
                <c:ptCount val="5"/>
                <c:pt idx="0">
                  <c:v>42</c:v>
                </c:pt>
                <c:pt idx="1">
                  <c:v>12</c:v>
                </c:pt>
                <c:pt idx="2">
                  <c:v>13</c:v>
                </c:pt>
                <c:pt idx="3">
                  <c:v>16</c:v>
                </c:pt>
                <c:pt idx="4">
                  <c:v>17</c:v>
                </c:pt>
              </c:numCache>
            </c:numRef>
          </c:val>
          <c:extLst>
            <c:ext xmlns:c16="http://schemas.microsoft.com/office/drawing/2014/chart" uri="{C3380CC4-5D6E-409C-BE32-E72D297353CC}">
              <c16:uniqueId val="{0000000A-2D24-4E7B-9909-DDC9F883A5D8}"/>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hade val="58000"/>
                </a:schemeClr>
              </a:solidFill>
              <a:ln w="19050">
                <a:noFill/>
              </a:ln>
              <a:effectLst/>
            </c:spPr>
            <c:extLst>
              <c:ext xmlns:c16="http://schemas.microsoft.com/office/drawing/2014/chart" uri="{C3380CC4-5D6E-409C-BE32-E72D297353CC}">
                <c16:uniqueId val="{00000001-2D24-4E7B-9909-DDC9F883A5D8}"/>
              </c:ext>
            </c:extLst>
          </c:dPt>
          <c:dPt>
            <c:idx val="1"/>
            <c:bubble3D val="0"/>
            <c:spPr>
              <a:solidFill>
                <a:schemeClr val="accent1">
                  <a:shade val="86000"/>
                </a:schemeClr>
              </a:solidFill>
              <a:ln w="19050">
                <a:noFill/>
              </a:ln>
              <a:effectLst/>
            </c:spPr>
            <c:extLst>
              <c:ext xmlns:c16="http://schemas.microsoft.com/office/drawing/2014/chart" uri="{C3380CC4-5D6E-409C-BE32-E72D297353CC}">
                <c16:uniqueId val="{00000003-2D24-4E7B-9909-DDC9F883A5D8}"/>
              </c:ext>
            </c:extLst>
          </c:dPt>
          <c:dPt>
            <c:idx val="2"/>
            <c:bubble3D val="0"/>
            <c:spPr>
              <a:solidFill>
                <a:schemeClr val="accent1">
                  <a:tint val="86000"/>
                </a:schemeClr>
              </a:solidFill>
              <a:ln w="19050">
                <a:noFill/>
              </a:ln>
              <a:effectLst/>
            </c:spPr>
            <c:extLst>
              <c:ext xmlns:c16="http://schemas.microsoft.com/office/drawing/2014/chart" uri="{C3380CC4-5D6E-409C-BE32-E72D297353CC}">
                <c16:uniqueId val="{00000005-2D24-4E7B-9909-DDC9F883A5D8}"/>
              </c:ext>
            </c:extLst>
          </c:dPt>
          <c:dPt>
            <c:idx val="3"/>
            <c:bubble3D val="0"/>
            <c:spPr>
              <a:solidFill>
                <a:schemeClr val="accent1">
                  <a:tint val="58000"/>
                </a:schemeClr>
              </a:solidFill>
              <a:ln w="19050">
                <a:noFill/>
              </a:ln>
              <a:effectLst/>
            </c:spPr>
            <c:extLst>
              <c:ext xmlns:c16="http://schemas.microsoft.com/office/drawing/2014/chart" uri="{C3380CC4-5D6E-409C-BE32-E72D297353CC}">
                <c16:uniqueId val="{00000007-2D24-4E7B-9909-DDC9F883A5D8}"/>
              </c:ext>
            </c:extLst>
          </c:dPt>
          <c:dPt>
            <c:idx val="4"/>
            <c:bubble3D val="0"/>
            <c:spPr>
              <a:solidFill>
                <a:schemeClr val="accent1">
                  <a:tint val="54000"/>
                </a:schemeClr>
              </a:solidFill>
              <a:ln w="19050">
                <a:noFill/>
              </a:ln>
              <a:effectLst/>
            </c:spPr>
            <c:extLst>
              <c:ext xmlns:c16="http://schemas.microsoft.com/office/drawing/2014/chart" uri="{C3380CC4-5D6E-409C-BE32-E72D297353CC}">
                <c16:uniqueId val="{00000009-2D24-4E7B-9909-DDC9F883A5D8}"/>
              </c:ext>
            </c:extLst>
          </c:dPt>
          <c:dLbls>
            <c:spPr>
              <a:no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6</c:f>
              <c:strCache>
                <c:ptCount val="5"/>
                <c:pt idx="0">
                  <c:v>Industrial Automation</c:v>
                </c:pt>
                <c:pt idx="1">
                  <c:v>Components</c:v>
                </c:pt>
                <c:pt idx="2">
                  <c:v>Healthcare</c:v>
                </c:pt>
                <c:pt idx="3">
                  <c:v>Mobility</c:v>
                </c:pt>
                <c:pt idx="4">
                  <c:v>Other</c:v>
                </c:pt>
              </c:strCache>
            </c:strRef>
          </c:cat>
          <c:val>
            <c:numRef>
              <c:f>Sheet1!$B$2:$B$6</c:f>
              <c:numCache>
                <c:formatCode>General</c:formatCode>
                <c:ptCount val="5"/>
                <c:pt idx="0">
                  <c:v>42</c:v>
                </c:pt>
                <c:pt idx="1">
                  <c:v>12</c:v>
                </c:pt>
                <c:pt idx="2">
                  <c:v>13</c:v>
                </c:pt>
                <c:pt idx="3">
                  <c:v>16</c:v>
                </c:pt>
                <c:pt idx="4">
                  <c:v>17</c:v>
                </c:pt>
              </c:numCache>
            </c:numRef>
          </c:val>
          <c:extLst>
            <c:ext xmlns:c16="http://schemas.microsoft.com/office/drawing/2014/chart" uri="{C3380CC4-5D6E-409C-BE32-E72D297353CC}">
              <c16:uniqueId val="{0000000A-2D24-4E7B-9909-DDC9F883A5D8}"/>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hade val="58000"/>
                </a:schemeClr>
              </a:solidFill>
              <a:ln w="19050">
                <a:noFill/>
              </a:ln>
              <a:effectLst/>
            </c:spPr>
            <c:extLst>
              <c:ext xmlns:c16="http://schemas.microsoft.com/office/drawing/2014/chart" uri="{C3380CC4-5D6E-409C-BE32-E72D297353CC}">
                <c16:uniqueId val="{00000001-2D24-4E7B-9909-DDC9F883A5D8}"/>
              </c:ext>
            </c:extLst>
          </c:dPt>
          <c:dPt>
            <c:idx val="1"/>
            <c:bubble3D val="0"/>
            <c:spPr>
              <a:solidFill>
                <a:schemeClr val="accent1">
                  <a:shade val="86000"/>
                </a:schemeClr>
              </a:solidFill>
              <a:ln w="19050">
                <a:noFill/>
              </a:ln>
              <a:effectLst/>
            </c:spPr>
            <c:extLst>
              <c:ext xmlns:c16="http://schemas.microsoft.com/office/drawing/2014/chart" uri="{C3380CC4-5D6E-409C-BE32-E72D297353CC}">
                <c16:uniqueId val="{00000003-2D24-4E7B-9909-DDC9F883A5D8}"/>
              </c:ext>
            </c:extLst>
          </c:dPt>
          <c:dPt>
            <c:idx val="2"/>
            <c:bubble3D val="0"/>
            <c:spPr>
              <a:solidFill>
                <a:schemeClr val="accent1">
                  <a:tint val="86000"/>
                </a:schemeClr>
              </a:solidFill>
              <a:ln w="19050">
                <a:noFill/>
              </a:ln>
              <a:effectLst/>
            </c:spPr>
            <c:extLst>
              <c:ext xmlns:c16="http://schemas.microsoft.com/office/drawing/2014/chart" uri="{C3380CC4-5D6E-409C-BE32-E72D297353CC}">
                <c16:uniqueId val="{00000005-2D24-4E7B-9909-DDC9F883A5D8}"/>
              </c:ext>
            </c:extLst>
          </c:dPt>
          <c:dPt>
            <c:idx val="3"/>
            <c:bubble3D val="0"/>
            <c:spPr>
              <a:solidFill>
                <a:schemeClr val="accent1">
                  <a:tint val="58000"/>
                </a:schemeClr>
              </a:solidFill>
              <a:ln w="19050">
                <a:noFill/>
              </a:ln>
              <a:effectLst/>
            </c:spPr>
            <c:extLst>
              <c:ext xmlns:c16="http://schemas.microsoft.com/office/drawing/2014/chart" uri="{C3380CC4-5D6E-409C-BE32-E72D297353CC}">
                <c16:uniqueId val="{00000007-2D24-4E7B-9909-DDC9F883A5D8}"/>
              </c:ext>
            </c:extLst>
          </c:dPt>
          <c:dPt>
            <c:idx val="4"/>
            <c:bubble3D val="0"/>
            <c:spPr>
              <a:solidFill>
                <a:schemeClr val="accent1">
                  <a:tint val="54000"/>
                </a:schemeClr>
              </a:solidFill>
              <a:ln w="19050">
                <a:noFill/>
              </a:ln>
              <a:effectLst/>
            </c:spPr>
            <c:extLst>
              <c:ext xmlns:c16="http://schemas.microsoft.com/office/drawing/2014/chart" uri="{C3380CC4-5D6E-409C-BE32-E72D297353CC}">
                <c16:uniqueId val="{00000009-2D24-4E7B-9909-DDC9F883A5D8}"/>
              </c:ext>
            </c:extLst>
          </c:dPt>
          <c:dLbls>
            <c:spPr>
              <a:no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6</c:f>
              <c:strCache>
                <c:ptCount val="5"/>
                <c:pt idx="0">
                  <c:v>Industrial Automation</c:v>
                </c:pt>
                <c:pt idx="1">
                  <c:v>Components</c:v>
                </c:pt>
                <c:pt idx="2">
                  <c:v>Healthcare</c:v>
                </c:pt>
                <c:pt idx="3">
                  <c:v>Mobility</c:v>
                </c:pt>
                <c:pt idx="4">
                  <c:v>Other</c:v>
                </c:pt>
              </c:strCache>
            </c:strRef>
          </c:cat>
          <c:val>
            <c:numRef>
              <c:f>Sheet1!$B$2:$B$6</c:f>
              <c:numCache>
                <c:formatCode>General</c:formatCode>
                <c:ptCount val="5"/>
                <c:pt idx="0">
                  <c:v>42</c:v>
                </c:pt>
                <c:pt idx="1">
                  <c:v>12</c:v>
                </c:pt>
                <c:pt idx="2">
                  <c:v>13</c:v>
                </c:pt>
                <c:pt idx="3">
                  <c:v>16</c:v>
                </c:pt>
                <c:pt idx="4">
                  <c:v>17</c:v>
                </c:pt>
              </c:numCache>
            </c:numRef>
          </c:val>
          <c:extLst>
            <c:ext xmlns:c16="http://schemas.microsoft.com/office/drawing/2014/chart" uri="{C3380CC4-5D6E-409C-BE32-E72D297353CC}">
              <c16:uniqueId val="{0000000A-2D24-4E7B-9909-DDC9F883A5D8}"/>
            </c:ext>
          </c:extLst>
        </c:ser>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AD04BA-715D-475B-8C69-7B3964D2576C}" type="datetimeFigureOut">
              <a:rPr lang="en-US" smtClean="0"/>
              <a:t>9/28/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DD61E82-96B3-464F-AC87-7F7A5E263134}" type="slidenum">
              <a:rPr lang="en-US" smtClean="0"/>
              <a:t>‹#›</a:t>
            </a:fld>
            <a:endParaRPr lang="en-US" dirty="0"/>
          </a:p>
        </p:txBody>
      </p:sp>
    </p:spTree>
    <p:extLst>
      <p:ext uri="{BB962C8B-B14F-4D97-AF65-F5344CB8AC3E}">
        <p14:creationId xmlns:p14="http://schemas.microsoft.com/office/powerpoint/2010/main" val="2765195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Calibri" panose="020F0502020204030204" pitchFamily="34" charset="0"/>
                <a:cs typeface="Calibri" panose="020F0502020204030204" pitchFamily="34" charset="0"/>
              </a:rPr>
              <a:t>Hi everyone</a:t>
            </a:r>
            <a:r>
              <a:rPr lang="en-US" baseline="0" dirty="0">
                <a:latin typeface="+mn-lt"/>
                <a:cs typeface="+mn-cs"/>
              </a:rPr>
              <a:t> </a:t>
            </a:r>
            <a:r>
              <a:rPr lang="en-US" baseline="0" dirty="0" smtClean="0">
                <a:latin typeface="+mn-lt"/>
                <a:cs typeface="+mn-cs"/>
              </a:rPr>
              <a:t>my name is Whitney Lojewski, and I’m the Automotive Industry Marketing Manager at Omron. We’re very excited to present to you along with our system integrator partner Valiant TMS. </a:t>
            </a:r>
            <a:endParaRPr lang="en-US" sz="1200" dirty="0" smtClean="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EDD61E82-96B3-464F-AC87-7F7A5E263134}" type="slidenum">
              <a:rPr lang="en-US" smtClean="0"/>
              <a:t>1</a:t>
            </a:fld>
            <a:endParaRPr lang="en-US" dirty="0"/>
          </a:p>
        </p:txBody>
      </p:sp>
    </p:spTree>
    <p:extLst>
      <p:ext uri="{BB962C8B-B14F-4D97-AF65-F5344CB8AC3E}">
        <p14:creationId xmlns:p14="http://schemas.microsoft.com/office/powerpoint/2010/main" val="850362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of the products contributing to</a:t>
            </a:r>
            <a:r>
              <a:rPr lang="en-US" baseline="0" dirty="0" smtClean="0"/>
              <a:t> the MVRC methodology cannot be an island of information.   Laser markers, printers, barcode readers, RFID reader/writers, verifiers, vision systems, PLCs, robots, and more must be able to share important information with other parts of the production system.  This begins with the process of communicating from an MES or ERP system information that is to be embedded in mark to the software used to generate the barcode or write to an RFID tag.  This is the first step in the genealogy of the mark, and subsequently may be read and communicated multiple times throughout the life of that barcode.  The barcode reader or RFID controller would commonly communicate the contents of the barcode or tag to a PLC via serial or industrial Ethernet based protocol.  Information in the barcode string such as product ID may guide other equipment in the manufacturing process to act upon the product carrying the barcode. Pairing of components, process steps, and packaging materials may all be driven by the information coming from the barcode.  Further, process data such as test results in the case of an RFID tag may be written to the tag that stays with the product throughout the production process, and eventually tied in a production history database to the serial # of the final assembly.   Further logic can be applied to prevent a production step from occurring prior to a necessary prior step being completed, by reading the barcode or RFID unique identifier for a given part and inspecting its production history prior to performing the next step in the process.   To measure </a:t>
            </a:r>
            <a:r>
              <a:rPr lang="en-US" baseline="0" dirty="0" err="1" smtClean="0"/>
              <a:t>takt</a:t>
            </a:r>
            <a:r>
              <a:rPr lang="en-US" baseline="0" dirty="0" smtClean="0"/>
              <a:t> times the time stamp associated with a barcode or RFID read can be communicated and stored in a production database allowing for OEE, overall equipment effectiveness analysis.  Finally even images of defective parts can be communicated and stored in a quality database for review and further action.</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508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6316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2838" y="539750"/>
            <a:ext cx="4799012" cy="26987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n conclusion,</a:t>
            </a:r>
            <a:r>
              <a:rPr lang="en-US" baseline="0" dirty="0" smtClean="0"/>
              <a:t> we here at Omron are ready to support you no matter where you are in your traceability implementation journey.  This could range from incrementally adding traceability functionality within your existing production system, to providing a more holistic solution including multiple pieces of the MVRC toolkit which we have discussed.  Thank you for your time today and we will now open up the line for questions.</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633A7877-F792-48A9-8AA1-7332D7E0E115}" type="slidenum">
              <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rPr>
              <a:pPr marL="0" marR="0" lvl="0" indent="0" algn="r" defTabSz="471145"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1938381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7705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f you would like to see some of these T4.</a:t>
            </a:r>
            <a:r>
              <a:rPr lang="en-US" baseline="0" dirty="0" smtClean="0"/>
              <a:t>0 technologies in action, please feel free to visit our PoC center in Novi, MI for more information.  In Novi we have a multi-station simulation showing how product and data is moved between stations of a manufacturing facility.  Using robots, sensors, code readers, safety, and Communication gateways, we can walk you through every step of the process and answer any questions you might have regarding traceability implementations.  Let Omron help you begin to visualize your organization’s traceability solutions – regardless of where you are in your journey, we can help!</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5406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Font typeface="Arial" panose="020B0604020202020204" pitchFamily="34" charset="0"/>
              <a:buNone/>
            </a:pPr>
            <a:r>
              <a:rPr lang="en-US" spc="0" dirty="0" smtClean="0">
                <a:latin typeface="Calibri" panose="020F0502020204030204" pitchFamily="34" charset="0"/>
                <a:ea typeface="Calibri" panose="020F0502020204030204" pitchFamily="34" charset="0"/>
                <a:cs typeface="Times New Roman" panose="02020603050405020304" pitchFamily="18" charset="0"/>
              </a:rPr>
              <a:t>Here</a:t>
            </a:r>
            <a:r>
              <a:rPr lang="en-US" spc="0" baseline="0" dirty="0" smtClean="0">
                <a:latin typeface="Calibri" panose="020F0502020204030204" pitchFamily="34" charset="0"/>
                <a:ea typeface="Calibri" panose="020F0502020204030204" pitchFamily="34" charset="0"/>
                <a:cs typeface="Times New Roman" panose="02020603050405020304" pitchFamily="18" charset="0"/>
              </a:rPr>
              <a:t> is a more detailed look at our agenda. I will share a video about Omron then Jean-Marie Evrard will introduce Valiant TMS and how they serve customers throughout the entire automotive production process. He will also explain the </a:t>
            </a:r>
            <a:r>
              <a:rPr lang="en-US" dirty="0" smtClean="0"/>
              <a:t>Industry 4.0 Technology Pillars and show specific use cases to explain the steps to get there. As a system integrator partner of Omron’s,</a:t>
            </a:r>
            <a:r>
              <a:rPr lang="en-US" baseline="0" dirty="0" smtClean="0"/>
              <a:t> Valiant TMS does a great job of providing a full view of Industry 4.0 for the automotive industry. </a:t>
            </a:r>
            <a:r>
              <a:rPr lang="en-US" dirty="0" smtClean="0"/>
              <a:t>Then Eric Henefield will</a:t>
            </a:r>
            <a:r>
              <a:rPr lang="en-US" baseline="0" dirty="0" smtClean="0"/>
              <a:t> talk specific about the roll of traceability 4.0 in building the factory of the future. Our colleague Rick Tomaszewski will join everyone at the end for Q&amp;A. Now here is a video about Omron.</a:t>
            </a:r>
            <a:endParaRPr lang="en-US" spc="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DD61E82-96B3-464F-AC87-7F7A5E263134}" type="slidenum">
              <a:rPr lang="en-US" smtClean="0"/>
              <a:t>2</a:t>
            </a:fld>
            <a:endParaRPr lang="en-US" dirty="0"/>
          </a:p>
        </p:txBody>
      </p:sp>
    </p:spTree>
    <p:extLst>
      <p:ext uri="{BB962C8B-B14F-4D97-AF65-F5344CB8AC3E}">
        <p14:creationId xmlns:p14="http://schemas.microsoft.com/office/powerpoint/2010/main" val="2788034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iant TMS is a full-service Industry 4.0 system integrator with teams strategically positioned around the world, leading the way in digitalization, process development, design and technology integr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900D2F-19D5-4DE4-BA5A-4F329CF55368}" type="slidenum">
              <a:rPr kumimoji="0" lang="en-US" sz="1200" b="0" i="0" u="none" strike="noStrike" kern="1200" cap="none" spc="0" normalizeH="0" baseline="0" noProof="0" smtClean="0">
                <a:ln>
                  <a:noFill/>
                </a:ln>
                <a:solidFill>
                  <a:prstClr val="black"/>
                </a:solidFill>
                <a:effectLst/>
                <a:uLnTx/>
                <a:uFillTx/>
                <a:latin typeface="Gilroy"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ilroy" panose="00000500000000000000" pitchFamily="50" charset="0"/>
              <a:ea typeface="+mn-ea"/>
              <a:cs typeface="+mn-cs"/>
            </a:endParaRPr>
          </a:p>
        </p:txBody>
      </p:sp>
    </p:spTree>
    <p:extLst>
      <p:ext uri="{BB962C8B-B14F-4D97-AF65-F5344CB8AC3E}">
        <p14:creationId xmlns:p14="http://schemas.microsoft.com/office/powerpoint/2010/main" val="3710846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global footprint</a:t>
            </a:r>
            <a:r>
              <a:rPr lang="en-US" baseline="0" dirty="0"/>
              <a:t> enables us to serve our customers wherever they operate.</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900D2F-19D5-4DE4-BA5A-4F329CF55368}" type="slidenum">
              <a:rPr kumimoji="0" lang="en-US" sz="1200" b="0" i="0" u="none" strike="noStrike" kern="1200" cap="none" spc="0" normalizeH="0" baseline="0" noProof="0" smtClean="0">
                <a:ln>
                  <a:noFill/>
                </a:ln>
                <a:solidFill>
                  <a:prstClr val="black"/>
                </a:solidFill>
                <a:effectLst/>
                <a:uLnTx/>
                <a:uFillTx/>
                <a:latin typeface="Gilroy"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Gilroy" panose="00000500000000000000" pitchFamily="50" charset="0"/>
              <a:ea typeface="+mn-ea"/>
              <a:cs typeface="+mn-cs"/>
            </a:endParaRPr>
          </a:p>
        </p:txBody>
      </p:sp>
    </p:spTree>
    <p:extLst>
      <p:ext uri="{BB962C8B-B14F-4D97-AF65-F5344CB8AC3E}">
        <p14:creationId xmlns:p14="http://schemas.microsoft.com/office/powerpoint/2010/main" val="3027295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5654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anks to</a:t>
            </a:r>
            <a:r>
              <a:rPr lang="en-US" baseline="0" dirty="0" smtClean="0"/>
              <a:t> Valiant for the overview of the FOF.  I will now pivot into a more detailed view of traceability and how serialization plays a major part in overall digital transformation.</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1118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2838" y="539750"/>
            <a:ext cx="4799012" cy="2698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3A7877-F792-48A9-8AA1-7332D7E0E115}" type="slidenum">
              <a:rPr kumimoji="0"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31962172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61E82-96B3-464F-AC87-7F7A5E26313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0302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9698" name="Rectangle 2"/>
          <p:cNvSpPr>
            <a:spLocks noGrp="1" noRot="1" noChangeAspect="1" noChangeArrowheads="1" noTextEdit="1"/>
          </p:cNvSpPr>
          <p:nvPr>
            <p:ph type="sldImg"/>
          </p:nvPr>
        </p:nvSpPr>
        <p:spPr>
          <a:ln/>
        </p:spPr>
      </p:sp>
      <p:sp>
        <p:nvSpPr>
          <p:cNvPr id="1309699"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Omron</a:t>
            </a:r>
            <a:r>
              <a:rPr lang="en-US" baseline="0" dirty="0" smtClean="0"/>
              <a:t> Controller products are capable to communicate these data protocols today (with no middle-ware).  Our PLC products can double as IoT gateway devices, or be used as separate EDGE devices (so as to not interfere with your existing manufacturing architecture.</a:t>
            </a:r>
            <a:endParaRPr lang="en-US" dirty="0" smtClean="0"/>
          </a:p>
          <a:p>
            <a:endParaRPr lang="en-US" dirty="0"/>
          </a:p>
        </p:txBody>
      </p:sp>
      <p:sp>
        <p:nvSpPr>
          <p:cNvPr id="2" name="Date Placeholder 1"/>
          <p:cNvSpPr>
            <a:spLocks noGrp="1"/>
          </p:cNvSpPr>
          <p:nvPr>
            <p:ph type="dt"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1/22/2016</a:t>
            </a:r>
          </a:p>
        </p:txBody>
      </p:sp>
      <p:sp>
        <p:nvSpPr>
          <p:cNvPr id="3" name="Slide Number Placeholder 2"/>
          <p:cNvSpPr>
            <a:spLocks noGrp="1"/>
          </p:cNvSpPr>
          <p:nvPr>
            <p:ph type="sldNum" sz="quarter" idx="11"/>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3F18F9D9-16EA-45A5-917D-81F134BE97A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0654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grpSp>
        <p:nvGrpSpPr>
          <p:cNvPr id="27" name="Group 26">
            <a:extLst>
              <a:ext uri="{FF2B5EF4-FFF2-40B4-BE49-F238E27FC236}">
                <a16:creationId xmlns:a16="http://schemas.microsoft.com/office/drawing/2014/main" id="{E1DF8491-8798-47C1-BC07-71BE24EEB1B0}"/>
              </a:ext>
            </a:extLst>
          </p:cNvPr>
          <p:cNvGrpSpPr/>
          <p:nvPr userDrawn="1"/>
        </p:nvGrpSpPr>
        <p:grpSpPr>
          <a:xfrm>
            <a:off x="-9698" y="3733800"/>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718302" y="4159339"/>
            <a:ext cx="10787898"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endParaRPr lang="en-US" dirty="0"/>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685799" y="5100981"/>
            <a:ext cx="10787898"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endParaRPr lang="en-US" dirty="0"/>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0" y="0"/>
            <a:ext cx="12200467" cy="3581400"/>
          </a:xfrm>
        </p:spPr>
        <p:txBody>
          <a:bodyPr/>
          <a:lstStyle/>
          <a:p>
            <a:endParaRPr lang="en-US" dirty="0"/>
          </a:p>
        </p:txBody>
      </p:sp>
    </p:spTree>
    <p:extLst>
      <p:ext uri="{BB962C8B-B14F-4D97-AF65-F5344CB8AC3E}">
        <p14:creationId xmlns:p14="http://schemas.microsoft.com/office/powerpoint/2010/main" val="10349880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3600" b="0" spc="-150">
                <a:solidFill>
                  <a:srgbClr val="0070C0"/>
                </a:solidFill>
              </a:defRPr>
            </a:lvl1pPr>
          </a:lstStyle>
          <a:p>
            <a:r>
              <a:rPr lang="en-US" dirty="0"/>
              <a:t>Click to edit Master title style</a:t>
            </a:r>
          </a:p>
        </p:txBody>
      </p:sp>
      <p:sp>
        <p:nvSpPr>
          <p:cNvPr id="3" name="Content Placeholder 2"/>
          <p:cNvSpPr>
            <a:spLocks noGrp="1"/>
          </p:cNvSpPr>
          <p:nvPr>
            <p:ph idx="1"/>
          </p:nvPr>
        </p:nvSpPr>
        <p:spPr>
          <a:xfrm>
            <a:off x="3352800" y="960319"/>
            <a:ext cx="8534400" cy="5288081"/>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2661561"/>
            <a:ext cx="2799792" cy="3586839"/>
          </a:xfrm>
        </p:spPr>
        <p:txBody>
          <a:bodyPr/>
          <a:lstStyle/>
          <a:p>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198" y="7716"/>
            <a:ext cx="2799792" cy="2514600"/>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9562627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5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5943600" y="308056"/>
            <a:ext cx="5943600" cy="576064"/>
          </a:xfrm>
        </p:spPr>
        <p:txBody>
          <a:bodyPr>
            <a:noAutofit/>
          </a:bodyPr>
          <a:lstStyle>
            <a:lvl1pPr>
              <a:defRPr sz="3600" b="0" spc="-150">
                <a:solidFill>
                  <a:srgbClr val="0070C0"/>
                </a:solidFill>
              </a:defRPr>
            </a:lvl1pPr>
          </a:lstStyle>
          <a:p>
            <a:r>
              <a:rPr lang="en-US"/>
              <a:t>Click to edit Master title style</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198" y="0"/>
            <a:ext cx="5174402" cy="6293386"/>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8" name="Picture 7">
            <a:extLst>
              <a:ext uri="{FF2B5EF4-FFF2-40B4-BE49-F238E27FC236}">
                <a16:creationId xmlns:a16="http://schemas.microsoft.com/office/drawing/2014/main" id="{7D872201-68CB-4B92-BAC2-34EFA6C6C1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graphicFrame>
        <p:nvGraphicFramePr>
          <p:cNvPr id="7" name="Chart Placeholder 11">
            <a:extLst>
              <a:ext uri="{FF2B5EF4-FFF2-40B4-BE49-F238E27FC236}">
                <a16:creationId xmlns:a16="http://schemas.microsoft.com/office/drawing/2014/main" id="{C4ED252C-A133-4BE6-8F74-5F2829F98F3F}"/>
              </a:ext>
            </a:extLst>
          </p:cNvPr>
          <p:cNvGraphicFramePr>
            <a:graphicFrameLocks/>
          </p:cNvGraphicFramePr>
          <p:nvPr userDrawn="1">
            <p:extLst/>
          </p:nvPr>
        </p:nvGraphicFramePr>
        <p:xfrm>
          <a:off x="2133600" y="757807"/>
          <a:ext cx="6477000" cy="57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67060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4_Title &amp; Content No Logo">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800" y="2517835"/>
            <a:ext cx="8915400" cy="3730565"/>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0"/>
            <a:ext cx="2801957" cy="2008742"/>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2"/>
          </a:xfrm>
        </p:spPr>
        <p:txBody>
          <a:bodyPr/>
          <a:lstStyle/>
          <a:p>
            <a:r>
              <a:rPr lang="en-US" dirty="0"/>
              <a:t>Click icon to add picture</a:t>
            </a:r>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29"/>
            <a:ext cx="2801957" cy="2008742"/>
          </a:xfrm>
        </p:spPr>
        <p:txBody>
          <a:bodyPr/>
          <a:lstStyle/>
          <a:p>
            <a:r>
              <a:rPr lang="en-US" dirty="0"/>
              <a:t>Click icon to add picture</a:t>
            </a:r>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grpSp>
        <p:nvGrpSpPr>
          <p:cNvPr id="9" name="Group 8">
            <a:extLst>
              <a:ext uri="{FF2B5EF4-FFF2-40B4-BE49-F238E27FC236}">
                <a16:creationId xmlns:a16="http://schemas.microsoft.com/office/drawing/2014/main" id="{DB61C02B-8064-4A43-8233-AF506D666642}"/>
              </a:ext>
            </a:extLst>
          </p:cNvPr>
          <p:cNvGrpSpPr/>
          <p:nvPr userDrawn="1"/>
        </p:nvGrpSpPr>
        <p:grpSpPr>
          <a:xfrm>
            <a:off x="2971800" y="0"/>
            <a:ext cx="9220200" cy="2517835"/>
            <a:chOff x="2971800" y="1600577"/>
            <a:chExt cx="9220200" cy="2517835"/>
          </a:xfrm>
        </p:grpSpPr>
        <p:sp>
          <p:nvSpPr>
            <p:cNvPr id="12" name="Rectangle 11">
              <a:extLst>
                <a:ext uri="{FF2B5EF4-FFF2-40B4-BE49-F238E27FC236}">
                  <a16:creationId xmlns:a16="http://schemas.microsoft.com/office/drawing/2014/main" id="{CE877CE5-F894-4891-B1BA-089481AF48F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16" name="Straight Connector 15">
              <a:extLst>
                <a:ext uri="{FF2B5EF4-FFF2-40B4-BE49-F238E27FC236}">
                  <a16:creationId xmlns:a16="http://schemas.microsoft.com/office/drawing/2014/main" id="{E0D1F20C-9EF1-4416-BBEE-B4A143C706E2}"/>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35">
            <a:extLst>
              <a:ext uri="{FF2B5EF4-FFF2-40B4-BE49-F238E27FC236}">
                <a16:creationId xmlns:a16="http://schemas.microsoft.com/office/drawing/2014/main" id="{A29BE47D-8ABD-4AE3-8562-DB98B9610508}"/>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18" name="Text Placeholder 35">
            <a:extLst>
              <a:ext uri="{FF2B5EF4-FFF2-40B4-BE49-F238E27FC236}">
                <a16:creationId xmlns:a16="http://schemas.microsoft.com/office/drawing/2014/main" id="{928A1A0D-D7BE-471D-934E-DE4D3E1601AD}"/>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8050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userDrawn="1"/>
        </p:nvGrpSpPr>
        <p:grpSpPr>
          <a:xfrm>
            <a:off x="2971800" y="0"/>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248400"/>
          </a:xfrm>
        </p:spPr>
        <p:txBody>
          <a:bodyPr/>
          <a:lstStyle/>
          <a:p>
            <a:r>
              <a:rPr lang="en-US" dirty="0"/>
              <a:t>Click icon to add picture</a:t>
            </a:r>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29000" y="3048000"/>
            <a:ext cx="2209800" cy="2209800"/>
          </a:xfrm>
        </p:spPr>
        <p:txBody>
          <a:bodyPr/>
          <a:lstStyle/>
          <a:p>
            <a:r>
              <a:rPr lang="en-US" dirty="0"/>
              <a:t>Click icon to add picture</a:t>
            </a:r>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248400" y="3048000"/>
            <a:ext cx="2209800" cy="2209800"/>
          </a:xfrm>
        </p:spPr>
        <p:txBody>
          <a:bodyPr/>
          <a:lstStyle/>
          <a:p>
            <a:r>
              <a:rPr lang="en-US" dirty="0"/>
              <a:t>Click icon to add picture</a:t>
            </a:r>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8991599" y="3045627"/>
            <a:ext cx="2209800" cy="2209800"/>
          </a:xfrm>
        </p:spPr>
        <p:txBody>
          <a:bodyPr/>
          <a:lstStyle/>
          <a:p>
            <a:r>
              <a:rPr lang="en-US" dirty="0"/>
              <a:t>Click icon to add picture</a:t>
            </a:r>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17466"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248400"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8988172"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Tree>
    <p:extLst>
      <p:ext uri="{BB962C8B-B14F-4D97-AF65-F5344CB8AC3E}">
        <p14:creationId xmlns:p14="http://schemas.microsoft.com/office/powerpoint/2010/main" val="1428499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
            <a:ext cx="9220200" cy="2514600"/>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2517835"/>
          </a:xfrm>
        </p:spPr>
        <p:txBody>
          <a:bodyPr/>
          <a:lstStyle/>
          <a:p>
            <a:r>
              <a:rPr lang="en-US" dirty="0"/>
              <a:t>Click icon to add picture</a:t>
            </a:r>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1295400" y="2680092"/>
            <a:ext cx="3200400" cy="3081867"/>
          </a:xfrm>
        </p:spPr>
        <p:txBody>
          <a:bodyPr/>
          <a:lstStyle/>
          <a:p>
            <a:r>
              <a:rPr lang="en-US" dirty="0"/>
              <a:t>Click icon to add picture</a:t>
            </a:r>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276600" y="762000"/>
            <a:ext cx="7848600" cy="722313"/>
          </a:xfrm>
        </p:spPr>
        <p:txBody>
          <a:bodyPr>
            <a:noAutofit/>
          </a:bodyPr>
          <a:lstStyle>
            <a:lvl1pPr>
              <a:defRPr sz="40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1295400" y="5761959"/>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15" name="Picture Placeholder 10">
            <a:extLst>
              <a:ext uri="{FF2B5EF4-FFF2-40B4-BE49-F238E27FC236}">
                <a16:creationId xmlns:a16="http://schemas.microsoft.com/office/drawing/2014/main" id="{EB7E683C-91F3-449D-9519-DB3605B8385B}"/>
              </a:ext>
            </a:extLst>
          </p:cNvPr>
          <p:cNvSpPr>
            <a:spLocks noGrp="1"/>
          </p:cNvSpPr>
          <p:nvPr>
            <p:ph type="pic" sz="quarter" idx="20"/>
          </p:nvPr>
        </p:nvSpPr>
        <p:spPr>
          <a:xfrm>
            <a:off x="7391401" y="2680092"/>
            <a:ext cx="1520509" cy="1515835"/>
          </a:xfrm>
        </p:spPr>
        <p:txBody>
          <a:bodyPr/>
          <a:lstStyle/>
          <a:p>
            <a:r>
              <a:rPr lang="en-US" dirty="0"/>
              <a:t>Click icon to add picture</a:t>
            </a:r>
          </a:p>
        </p:txBody>
      </p:sp>
      <p:sp>
        <p:nvSpPr>
          <p:cNvPr id="22" name="Picture Placeholder 10">
            <a:extLst>
              <a:ext uri="{FF2B5EF4-FFF2-40B4-BE49-F238E27FC236}">
                <a16:creationId xmlns:a16="http://schemas.microsoft.com/office/drawing/2014/main" id="{576AB3B4-C874-42EB-AEE7-A8D32DEF98E3}"/>
              </a:ext>
            </a:extLst>
          </p:cNvPr>
          <p:cNvSpPr>
            <a:spLocks noGrp="1"/>
          </p:cNvSpPr>
          <p:nvPr>
            <p:ph type="pic" sz="quarter" idx="25"/>
          </p:nvPr>
        </p:nvSpPr>
        <p:spPr>
          <a:xfrm>
            <a:off x="7391400" y="4251052"/>
            <a:ext cx="1520509" cy="1515835"/>
          </a:xfrm>
        </p:spPr>
        <p:txBody>
          <a:bodyPr/>
          <a:lstStyle/>
          <a:p>
            <a:r>
              <a:rPr lang="en-US" dirty="0"/>
              <a:t>Click icon to add picture</a:t>
            </a:r>
          </a:p>
        </p:txBody>
      </p:sp>
      <p:sp>
        <p:nvSpPr>
          <p:cNvPr id="23" name="Picture Placeholder 10">
            <a:extLst>
              <a:ext uri="{FF2B5EF4-FFF2-40B4-BE49-F238E27FC236}">
                <a16:creationId xmlns:a16="http://schemas.microsoft.com/office/drawing/2014/main" id="{24129921-CA26-4CE6-B994-966E18622107}"/>
              </a:ext>
            </a:extLst>
          </p:cNvPr>
          <p:cNvSpPr>
            <a:spLocks noGrp="1"/>
          </p:cNvSpPr>
          <p:nvPr>
            <p:ph type="pic" sz="quarter" idx="26"/>
          </p:nvPr>
        </p:nvSpPr>
        <p:spPr>
          <a:xfrm>
            <a:off x="8988111" y="2680092"/>
            <a:ext cx="1520509" cy="1515835"/>
          </a:xfrm>
        </p:spPr>
        <p:txBody>
          <a:bodyPr/>
          <a:lstStyle/>
          <a:p>
            <a:r>
              <a:rPr lang="en-US" dirty="0"/>
              <a:t>Click icon to add picture</a:t>
            </a:r>
          </a:p>
        </p:txBody>
      </p:sp>
      <p:sp>
        <p:nvSpPr>
          <p:cNvPr id="24" name="Picture Placeholder 10">
            <a:extLst>
              <a:ext uri="{FF2B5EF4-FFF2-40B4-BE49-F238E27FC236}">
                <a16:creationId xmlns:a16="http://schemas.microsoft.com/office/drawing/2014/main" id="{075BBAA3-1C19-4B1D-B55D-57CDA52CD580}"/>
              </a:ext>
            </a:extLst>
          </p:cNvPr>
          <p:cNvSpPr>
            <a:spLocks noGrp="1"/>
          </p:cNvSpPr>
          <p:nvPr>
            <p:ph type="pic" sz="quarter" idx="27"/>
          </p:nvPr>
        </p:nvSpPr>
        <p:spPr>
          <a:xfrm>
            <a:off x="8988110" y="4251052"/>
            <a:ext cx="1520509" cy="1515835"/>
          </a:xfrm>
        </p:spPr>
        <p:txBody>
          <a:bodyPr/>
          <a:lstStyle/>
          <a:p>
            <a:r>
              <a:rPr lang="en-US" dirty="0"/>
              <a:t>Click icon to add picture</a:t>
            </a:r>
          </a:p>
        </p:txBody>
      </p:sp>
      <p:sp>
        <p:nvSpPr>
          <p:cNvPr id="30" name="Text Placeholder 13">
            <a:extLst>
              <a:ext uri="{FF2B5EF4-FFF2-40B4-BE49-F238E27FC236}">
                <a16:creationId xmlns:a16="http://schemas.microsoft.com/office/drawing/2014/main" id="{0810F247-E66D-4839-A69D-E3D16B523CC4}"/>
              </a:ext>
            </a:extLst>
          </p:cNvPr>
          <p:cNvSpPr>
            <a:spLocks noGrp="1"/>
          </p:cNvSpPr>
          <p:nvPr>
            <p:ph type="body" sz="quarter" idx="28"/>
          </p:nvPr>
        </p:nvSpPr>
        <p:spPr>
          <a:xfrm>
            <a:off x="7391400" y="5777072"/>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pic>
        <p:nvPicPr>
          <p:cNvPr id="2" name="Picture 1">
            <a:extLst>
              <a:ext uri="{FF2B5EF4-FFF2-40B4-BE49-F238E27FC236}">
                <a16:creationId xmlns:a16="http://schemas.microsoft.com/office/drawing/2014/main" id="{B49BCB01-5781-455F-8930-0AE2BE72A433}"/>
              </a:ext>
            </a:extLst>
          </p:cNvPr>
          <p:cNvPicPr>
            <a:picLocks noChangeAspect="1"/>
          </p:cNvPicPr>
          <p:nvPr userDrawn="1"/>
        </p:nvPicPr>
        <p:blipFill>
          <a:blip r:embed="rId2"/>
          <a:stretch>
            <a:fillRect/>
          </a:stretch>
        </p:blipFill>
        <p:spPr>
          <a:xfrm>
            <a:off x="5166126" y="3796744"/>
            <a:ext cx="1539474" cy="1003856"/>
          </a:xfrm>
          <a:prstGeom prst="rect">
            <a:avLst/>
          </a:prstGeom>
        </p:spPr>
      </p:pic>
    </p:spTree>
    <p:extLst>
      <p:ext uri="{BB962C8B-B14F-4D97-AF65-F5344CB8AC3E}">
        <p14:creationId xmlns:p14="http://schemas.microsoft.com/office/powerpoint/2010/main" val="3000880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110CCA0-8A4E-4E08-A02C-075CDBD03BEE}"/>
              </a:ext>
            </a:extLst>
          </p:cNvPr>
          <p:cNvGrpSpPr/>
          <p:nvPr userDrawn="1"/>
        </p:nvGrpSpPr>
        <p:grpSpPr>
          <a:xfrm>
            <a:off x="2929467" y="13489"/>
            <a:ext cx="9220200" cy="2517835"/>
            <a:chOff x="2971800" y="1600577"/>
            <a:chExt cx="9220200" cy="2517835"/>
          </a:xfrm>
        </p:grpSpPr>
        <p:sp>
          <p:nvSpPr>
            <p:cNvPr id="25" name="Rectangle 24">
              <a:extLst>
                <a:ext uri="{FF2B5EF4-FFF2-40B4-BE49-F238E27FC236}">
                  <a16:creationId xmlns:a16="http://schemas.microsoft.com/office/drawing/2014/main" id="{A4C3ECEC-0567-4BFD-8F1E-CB89BA8BE98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6" name="Straight Connector 25">
              <a:extLst>
                <a:ext uri="{FF2B5EF4-FFF2-40B4-BE49-F238E27FC236}">
                  <a16:creationId xmlns:a16="http://schemas.microsoft.com/office/drawing/2014/main" id="{04AC89D0-8ED7-4A02-A405-9798B3592F9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13489"/>
            <a:ext cx="2819400" cy="2517835"/>
          </a:xfrm>
        </p:spPr>
        <p:txBody>
          <a:bodyPr/>
          <a:lstStyle/>
          <a:p>
            <a:r>
              <a:rPr lang="en-US" dirty="0"/>
              <a:t>Click icon to add picture</a:t>
            </a:r>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1295400" y="2709333"/>
            <a:ext cx="3200400" cy="3081867"/>
          </a:xfrm>
        </p:spPr>
        <p:txBody>
          <a:bodyPr/>
          <a:lstStyle/>
          <a:p>
            <a:r>
              <a:rPr lang="en-US" dirty="0"/>
              <a:t>Click icon to add picture</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1295400" y="5791200"/>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15" name="Picture Placeholder 10">
            <a:extLst>
              <a:ext uri="{FF2B5EF4-FFF2-40B4-BE49-F238E27FC236}">
                <a16:creationId xmlns:a16="http://schemas.microsoft.com/office/drawing/2014/main" id="{EB7E683C-91F3-449D-9519-DB3605B8385B}"/>
              </a:ext>
            </a:extLst>
          </p:cNvPr>
          <p:cNvSpPr>
            <a:spLocks noGrp="1"/>
          </p:cNvSpPr>
          <p:nvPr>
            <p:ph type="pic" sz="quarter" idx="20"/>
          </p:nvPr>
        </p:nvSpPr>
        <p:spPr>
          <a:xfrm>
            <a:off x="7391401" y="2667000"/>
            <a:ext cx="1520509" cy="1515835"/>
          </a:xfrm>
        </p:spPr>
        <p:txBody>
          <a:bodyPr/>
          <a:lstStyle/>
          <a:p>
            <a:r>
              <a:rPr lang="en-US" dirty="0"/>
              <a:t>Click icon to add picture</a:t>
            </a:r>
          </a:p>
        </p:txBody>
      </p:sp>
      <p:sp>
        <p:nvSpPr>
          <p:cNvPr id="22" name="Picture Placeholder 10">
            <a:extLst>
              <a:ext uri="{FF2B5EF4-FFF2-40B4-BE49-F238E27FC236}">
                <a16:creationId xmlns:a16="http://schemas.microsoft.com/office/drawing/2014/main" id="{576AB3B4-C874-42EB-AEE7-A8D32DEF98E3}"/>
              </a:ext>
            </a:extLst>
          </p:cNvPr>
          <p:cNvSpPr>
            <a:spLocks noGrp="1"/>
          </p:cNvSpPr>
          <p:nvPr>
            <p:ph type="pic" sz="quarter" idx="25"/>
          </p:nvPr>
        </p:nvSpPr>
        <p:spPr>
          <a:xfrm>
            <a:off x="7391400" y="4351565"/>
            <a:ext cx="1520509" cy="1515835"/>
          </a:xfrm>
        </p:spPr>
        <p:txBody>
          <a:bodyPr/>
          <a:lstStyle/>
          <a:p>
            <a:r>
              <a:rPr lang="en-US" dirty="0"/>
              <a:t>Click icon to add picture</a:t>
            </a:r>
          </a:p>
        </p:txBody>
      </p:sp>
      <p:sp>
        <p:nvSpPr>
          <p:cNvPr id="23" name="Picture Placeholder 10">
            <a:extLst>
              <a:ext uri="{FF2B5EF4-FFF2-40B4-BE49-F238E27FC236}">
                <a16:creationId xmlns:a16="http://schemas.microsoft.com/office/drawing/2014/main" id="{24129921-CA26-4CE6-B994-966E18622107}"/>
              </a:ext>
            </a:extLst>
          </p:cNvPr>
          <p:cNvSpPr>
            <a:spLocks noGrp="1"/>
          </p:cNvSpPr>
          <p:nvPr>
            <p:ph type="pic" sz="quarter" idx="26"/>
          </p:nvPr>
        </p:nvSpPr>
        <p:spPr>
          <a:xfrm>
            <a:off x="9071291" y="2667000"/>
            <a:ext cx="1520509" cy="1515835"/>
          </a:xfrm>
        </p:spPr>
        <p:txBody>
          <a:bodyPr/>
          <a:lstStyle/>
          <a:p>
            <a:r>
              <a:rPr lang="en-US" dirty="0"/>
              <a:t>Click icon to add picture</a:t>
            </a:r>
          </a:p>
        </p:txBody>
      </p:sp>
      <p:sp>
        <p:nvSpPr>
          <p:cNvPr id="24" name="Picture Placeholder 10">
            <a:extLst>
              <a:ext uri="{FF2B5EF4-FFF2-40B4-BE49-F238E27FC236}">
                <a16:creationId xmlns:a16="http://schemas.microsoft.com/office/drawing/2014/main" id="{075BBAA3-1C19-4B1D-B55D-57CDA52CD580}"/>
              </a:ext>
            </a:extLst>
          </p:cNvPr>
          <p:cNvSpPr>
            <a:spLocks noGrp="1"/>
          </p:cNvSpPr>
          <p:nvPr>
            <p:ph type="pic" sz="quarter" idx="27"/>
          </p:nvPr>
        </p:nvSpPr>
        <p:spPr>
          <a:xfrm>
            <a:off x="9071290" y="4351565"/>
            <a:ext cx="1520509" cy="1515835"/>
          </a:xfrm>
        </p:spPr>
        <p:txBody>
          <a:bodyPr/>
          <a:lstStyle/>
          <a:p>
            <a:r>
              <a:rPr lang="en-US" dirty="0"/>
              <a:t>Click icon to add picture</a:t>
            </a:r>
          </a:p>
        </p:txBody>
      </p:sp>
      <p:sp>
        <p:nvSpPr>
          <p:cNvPr id="30" name="Text Placeholder 13">
            <a:extLst>
              <a:ext uri="{FF2B5EF4-FFF2-40B4-BE49-F238E27FC236}">
                <a16:creationId xmlns:a16="http://schemas.microsoft.com/office/drawing/2014/main" id="{0810F247-E66D-4839-A69D-E3D16B523CC4}"/>
              </a:ext>
            </a:extLst>
          </p:cNvPr>
          <p:cNvSpPr>
            <a:spLocks noGrp="1"/>
          </p:cNvSpPr>
          <p:nvPr>
            <p:ph type="body" sz="quarter" idx="28"/>
          </p:nvPr>
        </p:nvSpPr>
        <p:spPr>
          <a:xfrm>
            <a:off x="7391400" y="5867400"/>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pic>
        <p:nvPicPr>
          <p:cNvPr id="2" name="Picture 1">
            <a:extLst>
              <a:ext uri="{FF2B5EF4-FFF2-40B4-BE49-F238E27FC236}">
                <a16:creationId xmlns:a16="http://schemas.microsoft.com/office/drawing/2014/main" id="{B49BCB01-5781-455F-8930-0AE2BE72A433}"/>
              </a:ext>
            </a:extLst>
          </p:cNvPr>
          <p:cNvPicPr>
            <a:picLocks noChangeAspect="1"/>
          </p:cNvPicPr>
          <p:nvPr userDrawn="1"/>
        </p:nvPicPr>
        <p:blipFill>
          <a:blip r:embed="rId2"/>
          <a:stretch>
            <a:fillRect/>
          </a:stretch>
        </p:blipFill>
        <p:spPr>
          <a:xfrm>
            <a:off x="5166126" y="3796744"/>
            <a:ext cx="1539474" cy="1003856"/>
          </a:xfrm>
          <a:prstGeom prst="rect">
            <a:avLst/>
          </a:prstGeom>
        </p:spPr>
      </p:pic>
      <p:sp>
        <p:nvSpPr>
          <p:cNvPr id="27" name="Text Placeholder 35">
            <a:extLst>
              <a:ext uri="{FF2B5EF4-FFF2-40B4-BE49-F238E27FC236}">
                <a16:creationId xmlns:a16="http://schemas.microsoft.com/office/drawing/2014/main" id="{16734C0D-60E4-4A6C-87EC-BBA7004D1C3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28" name="Text Placeholder 35">
            <a:extLst>
              <a:ext uri="{FF2B5EF4-FFF2-40B4-BE49-F238E27FC236}">
                <a16:creationId xmlns:a16="http://schemas.microsoft.com/office/drawing/2014/main" id="{0C4ADD35-BAD4-4F2C-B9D3-3BAB026F42CB}"/>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607200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userDrawn="1"/>
        </p:nvGrpSpPr>
        <p:grpSpPr>
          <a:xfrm>
            <a:off x="0" y="-4852"/>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360166"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06982" y="2784000"/>
            <a:ext cx="2547627" cy="2547627"/>
          </a:xfrm>
        </p:spPr>
        <p:txBody>
          <a:bodyPr/>
          <a:lstStyle/>
          <a:p>
            <a:r>
              <a:rPr lang="en-US" dirty="0"/>
              <a:t>Click icon to add picture</a:t>
            </a:r>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313591" y="2784000"/>
            <a:ext cx="2547627" cy="2547627"/>
          </a:xfrm>
        </p:spPr>
        <p:txBody>
          <a:bodyPr/>
          <a:lstStyle/>
          <a:p>
            <a:r>
              <a:rPr lang="en-US" dirty="0"/>
              <a:t>Click icon to add picture</a:t>
            </a:r>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9220200" y="2784000"/>
            <a:ext cx="2547627" cy="2547627"/>
          </a:xfrm>
        </p:spPr>
        <p:txBody>
          <a:bodyPr/>
          <a:lstStyle/>
          <a:p>
            <a:r>
              <a:rPr lang="en-US" dirty="0"/>
              <a:t>Click icon to add picture</a:t>
            </a:r>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533400" y="420687"/>
            <a:ext cx="10787898"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533400" y="1362329"/>
            <a:ext cx="10787898"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06982"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316131"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9220200"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500373" y="2784000"/>
            <a:ext cx="2547627" cy="2547627"/>
          </a:xfrm>
        </p:spPr>
        <p:txBody>
          <a:bodyPr/>
          <a:lstStyle/>
          <a:p>
            <a:r>
              <a:rPr lang="en-US" dirty="0"/>
              <a:t>Click icon to add picture</a:t>
            </a:r>
          </a:p>
        </p:txBody>
      </p:sp>
      <p:sp>
        <p:nvSpPr>
          <p:cNvPr id="16" name="Text Placeholder 13">
            <a:extLst>
              <a:ext uri="{FF2B5EF4-FFF2-40B4-BE49-F238E27FC236}">
                <a16:creationId xmlns:a16="http://schemas.microsoft.com/office/drawing/2014/main" id="{015F6B5E-5808-463C-817D-EE2DFF83D7BD}"/>
              </a:ext>
            </a:extLst>
          </p:cNvPr>
          <p:cNvSpPr>
            <a:spLocks noGrp="1"/>
          </p:cNvSpPr>
          <p:nvPr>
            <p:ph type="body" sz="quarter" idx="23"/>
          </p:nvPr>
        </p:nvSpPr>
        <p:spPr>
          <a:xfrm>
            <a:off x="500373"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Tree>
    <p:extLst>
      <p:ext uri="{BB962C8B-B14F-4D97-AF65-F5344CB8AC3E}">
        <p14:creationId xmlns:p14="http://schemas.microsoft.com/office/powerpoint/2010/main" val="3194523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248400"/>
          </a:xfrm>
        </p:spPr>
        <p:txBody>
          <a:bodyPr/>
          <a:lstStyle/>
          <a:p>
            <a:r>
              <a:rPr lang="en-US" dirty="0"/>
              <a:t>Click icon to add picture</a:t>
            </a:r>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002257" y="3046382"/>
            <a:ext cx="2630066" cy="1981200"/>
          </a:xfrm>
        </p:spPr>
        <p:txBody>
          <a:bodyPr/>
          <a:lstStyle/>
          <a:p>
            <a:r>
              <a:rPr lang="en-US" dirty="0"/>
              <a:t>Click icon to add picture</a:t>
            </a:r>
          </a:p>
        </p:txBody>
      </p:sp>
      <p:grpSp>
        <p:nvGrpSpPr>
          <p:cNvPr id="27" name="Group 26">
            <a:extLst>
              <a:ext uri="{FF2B5EF4-FFF2-40B4-BE49-F238E27FC236}">
                <a16:creationId xmlns:a16="http://schemas.microsoft.com/office/drawing/2014/main" id="{E1DF8491-8798-47C1-BC07-71BE24EEB1B0}"/>
              </a:ext>
            </a:extLst>
          </p:cNvPr>
          <p:cNvGrpSpPr/>
          <p:nvPr userDrawn="1"/>
        </p:nvGrpSpPr>
        <p:grpSpPr>
          <a:xfrm>
            <a:off x="2971800" y="0"/>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002256"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16" name="Picture Placeholder 10">
            <a:extLst>
              <a:ext uri="{FF2B5EF4-FFF2-40B4-BE49-F238E27FC236}">
                <a16:creationId xmlns:a16="http://schemas.microsoft.com/office/drawing/2014/main" id="{3762909D-4C5A-44BA-A7F5-93C1AE27E66B}"/>
              </a:ext>
            </a:extLst>
          </p:cNvPr>
          <p:cNvSpPr>
            <a:spLocks noGrp="1"/>
          </p:cNvSpPr>
          <p:nvPr>
            <p:ph type="pic" sz="quarter" idx="22"/>
          </p:nvPr>
        </p:nvSpPr>
        <p:spPr>
          <a:xfrm>
            <a:off x="6132934" y="3050306"/>
            <a:ext cx="2630066" cy="1981200"/>
          </a:xfrm>
        </p:spPr>
        <p:txBody>
          <a:bodyPr/>
          <a:lstStyle/>
          <a:p>
            <a:r>
              <a:rPr lang="en-US" dirty="0"/>
              <a:t>Click icon to add picture</a:t>
            </a:r>
          </a:p>
        </p:txBody>
      </p:sp>
      <p:sp>
        <p:nvSpPr>
          <p:cNvPr id="17" name="Picture Placeholder 10">
            <a:extLst>
              <a:ext uri="{FF2B5EF4-FFF2-40B4-BE49-F238E27FC236}">
                <a16:creationId xmlns:a16="http://schemas.microsoft.com/office/drawing/2014/main" id="{10B39156-0299-4627-AD4A-278CC1DF18E1}"/>
              </a:ext>
            </a:extLst>
          </p:cNvPr>
          <p:cNvSpPr>
            <a:spLocks noGrp="1"/>
          </p:cNvSpPr>
          <p:nvPr>
            <p:ph type="pic" sz="quarter" idx="23"/>
          </p:nvPr>
        </p:nvSpPr>
        <p:spPr>
          <a:xfrm>
            <a:off x="9257134" y="3046382"/>
            <a:ext cx="2630066" cy="1981200"/>
          </a:xfrm>
        </p:spPr>
        <p:txBody>
          <a:bodyPr/>
          <a:lstStyle/>
          <a:p>
            <a:r>
              <a:rPr lang="en-US" dirty="0"/>
              <a:t>Click icon to add picture</a:t>
            </a:r>
          </a:p>
        </p:txBody>
      </p:sp>
      <p:sp>
        <p:nvSpPr>
          <p:cNvPr id="18" name="Text Placeholder 13">
            <a:extLst>
              <a:ext uri="{FF2B5EF4-FFF2-40B4-BE49-F238E27FC236}">
                <a16:creationId xmlns:a16="http://schemas.microsoft.com/office/drawing/2014/main" id="{0C2DFF91-8571-4A02-92DF-18DD519B7850}"/>
              </a:ext>
            </a:extLst>
          </p:cNvPr>
          <p:cNvSpPr>
            <a:spLocks noGrp="1"/>
          </p:cNvSpPr>
          <p:nvPr>
            <p:ph type="body" sz="quarter" idx="24"/>
          </p:nvPr>
        </p:nvSpPr>
        <p:spPr>
          <a:xfrm>
            <a:off x="9257135"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
        <p:nvSpPr>
          <p:cNvPr id="20" name="Text Placeholder 13">
            <a:extLst>
              <a:ext uri="{FF2B5EF4-FFF2-40B4-BE49-F238E27FC236}">
                <a16:creationId xmlns:a16="http://schemas.microsoft.com/office/drawing/2014/main" id="{3AE7DE0B-71AD-409C-81F3-5017DFA2BAB4}"/>
              </a:ext>
            </a:extLst>
          </p:cNvPr>
          <p:cNvSpPr>
            <a:spLocks noGrp="1"/>
          </p:cNvSpPr>
          <p:nvPr>
            <p:ph type="body" sz="quarter" idx="25"/>
          </p:nvPr>
        </p:nvSpPr>
        <p:spPr>
          <a:xfrm>
            <a:off x="6132934"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a:t>Click to edit Master text styles</a:t>
            </a:r>
          </a:p>
        </p:txBody>
      </p:sp>
    </p:spTree>
    <p:extLst>
      <p:ext uri="{BB962C8B-B14F-4D97-AF65-F5344CB8AC3E}">
        <p14:creationId xmlns:p14="http://schemas.microsoft.com/office/powerpoint/2010/main" val="2381530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3352800" y="338336"/>
            <a:ext cx="8686800" cy="576064"/>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3352800" y="914400"/>
            <a:ext cx="8686800" cy="1600200"/>
          </a:xfrm>
        </p:spPr>
        <p:txBody>
          <a:bodyPr>
            <a:noAutofit/>
          </a:bodyPr>
          <a:lstStyle>
            <a:lvl1pPr>
              <a:defRPr sz="2000">
                <a:solidFill>
                  <a:srgbClr val="59595B"/>
                </a:solidFill>
                <a:latin typeface="Calibri" panose="020F0502020204030204" pitchFamily="34" charset="0"/>
              </a:defRPr>
            </a:lvl1pPr>
            <a:lvl2pPr marL="461963" indent="-231775">
              <a:buFont typeface="Arial" panose="020B0604020202020204" pitchFamily="34" charset="0"/>
              <a:buChar char="•"/>
              <a:defRPr sz="1800">
                <a:solidFill>
                  <a:srgbClr val="59595B"/>
                </a:solidFill>
                <a:latin typeface="Calibri" panose="020F0502020204030204" pitchFamily="34" charset="0"/>
              </a:defRPr>
            </a:lvl2pPr>
            <a:lvl3pPr marL="915988" indent="-227013">
              <a:buFont typeface="Myriad Pro" pitchFamily="34" charset="0"/>
              <a:buChar char="º"/>
              <a:defRPr lang="en-US" sz="18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1800">
                <a:solidFill>
                  <a:srgbClr val="59595B"/>
                </a:solidFill>
                <a:latin typeface="Calibri" panose="020F0502020204030204" pitchFamily="34" charset="0"/>
              </a:defRPr>
            </a:lvl4pPr>
            <a:lvl5pPr marL="1830388" indent="-227013">
              <a:buFont typeface="Arial" panose="020B0604020202020204" pitchFamily="34" charset="0"/>
              <a:buChar char="‒"/>
              <a:defRPr sz="18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2667000"/>
            <a:ext cx="12192000" cy="3581400"/>
          </a:xfrm>
        </p:spPr>
        <p:txBody>
          <a:bodyPr/>
          <a:lstStyle/>
          <a:p>
            <a:r>
              <a:rPr lang="en-US" dirty="0"/>
              <a:t>Click icon to add picture</a:t>
            </a:r>
          </a:p>
        </p:txBody>
      </p:sp>
      <p:sp>
        <p:nvSpPr>
          <p:cNvPr id="10" name="Picture Placeholder 9">
            <a:extLst>
              <a:ext uri="{FF2B5EF4-FFF2-40B4-BE49-F238E27FC236}">
                <a16:creationId xmlns:a16="http://schemas.microsoft.com/office/drawing/2014/main" id="{734EEFA3-1B07-464F-9BE6-5FEF51E0E854}"/>
              </a:ext>
            </a:extLst>
          </p:cNvPr>
          <p:cNvSpPr>
            <a:spLocks noGrp="1"/>
          </p:cNvSpPr>
          <p:nvPr>
            <p:ph type="pic" sz="quarter" idx="12"/>
          </p:nvPr>
        </p:nvSpPr>
        <p:spPr>
          <a:xfrm>
            <a:off x="0" y="0"/>
            <a:ext cx="3200400" cy="2514600"/>
          </a:xfrm>
        </p:spPr>
        <p:txBody>
          <a:bodyPr/>
          <a:lstStyle/>
          <a:p>
            <a:r>
              <a:rPr lang="en-US" dirty="0"/>
              <a:t>Click icon to add picture</a:t>
            </a:r>
          </a:p>
        </p:txBody>
      </p:sp>
    </p:spTree>
    <p:extLst>
      <p:ext uri="{BB962C8B-B14F-4D97-AF65-F5344CB8AC3E}">
        <p14:creationId xmlns:p14="http://schemas.microsoft.com/office/powerpoint/2010/main" val="1763775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7467600" y="338336"/>
            <a:ext cx="4572000" cy="576064"/>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7467600" y="914400"/>
            <a:ext cx="4572000" cy="5334000"/>
          </a:xfrm>
        </p:spPr>
        <p:txBody>
          <a:bodyPr>
            <a:noAutofit/>
          </a:bodyPr>
          <a:lstStyle>
            <a:lvl1pPr>
              <a:defRPr sz="2000">
                <a:solidFill>
                  <a:srgbClr val="59595B"/>
                </a:solidFill>
                <a:latin typeface="Calibri" panose="020F0502020204030204" pitchFamily="34" charset="0"/>
              </a:defRPr>
            </a:lvl1pPr>
            <a:lvl2pPr marL="461963" indent="-231775">
              <a:buFont typeface="Arial" panose="020B0604020202020204" pitchFamily="34" charset="0"/>
              <a:buChar char="•"/>
              <a:defRPr sz="1800">
                <a:solidFill>
                  <a:srgbClr val="59595B"/>
                </a:solidFill>
                <a:latin typeface="Calibri" panose="020F0502020204030204" pitchFamily="34" charset="0"/>
              </a:defRPr>
            </a:lvl2pPr>
            <a:lvl3pPr marL="915988" indent="-227013">
              <a:buFont typeface="Myriad Pro" pitchFamily="34" charset="0"/>
              <a:buChar char="º"/>
              <a:defRPr lang="en-US" sz="18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1800">
                <a:solidFill>
                  <a:srgbClr val="59595B"/>
                </a:solidFill>
                <a:latin typeface="Calibri" panose="020F0502020204030204" pitchFamily="34" charset="0"/>
              </a:defRPr>
            </a:lvl4pPr>
            <a:lvl5pPr marL="1830388" indent="-227013">
              <a:buFont typeface="Arial" panose="020B0604020202020204" pitchFamily="34" charset="0"/>
              <a:buChar char="‒"/>
              <a:defRPr sz="18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248400"/>
          </a:xfrm>
        </p:spPr>
        <p:txBody>
          <a:bodyPr/>
          <a:lstStyle/>
          <a:p>
            <a:r>
              <a:rPr lang="en-US" dirty="0"/>
              <a:t>Click icon to add picture</a:t>
            </a:r>
          </a:p>
        </p:txBody>
      </p:sp>
    </p:spTree>
    <p:extLst>
      <p:ext uri="{BB962C8B-B14F-4D97-AF65-F5344CB8AC3E}">
        <p14:creationId xmlns:p14="http://schemas.microsoft.com/office/powerpoint/2010/main" val="69788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248400"/>
          </a:xfrm>
        </p:spPr>
        <p:txBody>
          <a:bodyPr/>
          <a:lstStyle/>
          <a:p>
            <a:r>
              <a:rPr lang="en-US" dirty="0"/>
              <a:t>Click icon to add picture</a:t>
            </a:r>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7924800" y="990600"/>
            <a:ext cx="35052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8621849" y="2133600"/>
            <a:ext cx="2791218" cy="1524000"/>
          </a:xfrm>
        </p:spPr>
        <p:txBody>
          <a:bodyPr>
            <a:normAutofit/>
          </a:bodyPr>
          <a:lstStyle>
            <a:lvl1pPr algn="r">
              <a:defRPr sz="2800"/>
            </a:lvl1pPr>
            <a:lvl2pPr marL="230188" indent="0">
              <a:buNone/>
              <a:defRPr/>
            </a:lvl2pPr>
          </a:lstStyle>
          <a:p>
            <a:pPr lvl="0"/>
            <a:r>
              <a:rPr lang="en-US"/>
              <a:t>Click to edit Master text styles</a:t>
            </a:r>
          </a:p>
        </p:txBody>
      </p:sp>
    </p:spTree>
    <p:extLst>
      <p:ext uri="{BB962C8B-B14F-4D97-AF65-F5344CB8AC3E}">
        <p14:creationId xmlns:p14="http://schemas.microsoft.com/office/powerpoint/2010/main" val="36715645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3600" b="0" spc="-150">
                <a:solidFill>
                  <a:srgbClr val="0070C0"/>
                </a:solidFill>
              </a:defRPr>
            </a:lvl1pPr>
          </a:lstStyle>
          <a:p>
            <a:r>
              <a:rPr lang="en-US" dirty="0"/>
              <a:t>Click to edit Master title style</a:t>
            </a:r>
          </a:p>
        </p:txBody>
      </p:sp>
      <p:sp>
        <p:nvSpPr>
          <p:cNvPr id="3" name="Content Placeholder 2"/>
          <p:cNvSpPr>
            <a:spLocks noGrp="1"/>
          </p:cNvSpPr>
          <p:nvPr>
            <p:ph idx="1"/>
          </p:nvPr>
        </p:nvSpPr>
        <p:spPr>
          <a:xfrm>
            <a:off x="3352800" y="960319"/>
            <a:ext cx="8534400" cy="5288081"/>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0"/>
            <a:ext cx="2801957" cy="2008742"/>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2"/>
          </a:xfrm>
        </p:spPr>
        <p:txBody>
          <a:bodyPr/>
          <a:lstStyle/>
          <a:p>
            <a:endParaRPr lang="en-US" dirty="0"/>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29"/>
            <a:ext cx="2801957" cy="2008742"/>
          </a:xfrm>
        </p:spPr>
        <p:txBody>
          <a:bodyPr/>
          <a:lstStyle/>
          <a:p>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5118737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5029200" cy="6248400"/>
          </a:xfrm>
        </p:spPr>
        <p:txBody>
          <a:bodyPr/>
          <a:lstStyle/>
          <a:p>
            <a:r>
              <a:rPr lang="en-US" dirty="0"/>
              <a:t>Click icon to add picture</a:t>
            </a:r>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5486400" y="990600"/>
            <a:ext cx="62484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562600" y="2133600"/>
            <a:ext cx="6155267" cy="2514600"/>
          </a:xfrm>
        </p:spPr>
        <p:txBody>
          <a:bodyPr>
            <a:normAutofit/>
          </a:bodyPr>
          <a:lstStyle>
            <a:lvl1pPr algn="l">
              <a:defRPr sz="2800"/>
            </a:lvl1pPr>
            <a:lvl2pPr marL="230188" indent="0">
              <a:buNone/>
              <a:defRPr/>
            </a:lvl2pPr>
          </a:lstStyle>
          <a:p>
            <a:pPr lvl="0"/>
            <a:r>
              <a:rPr lang="en-US"/>
              <a:t>Click to edit Master text styles</a:t>
            </a:r>
          </a:p>
        </p:txBody>
      </p:sp>
    </p:spTree>
    <p:extLst>
      <p:ext uri="{BB962C8B-B14F-4D97-AF65-F5344CB8AC3E}">
        <p14:creationId xmlns:p14="http://schemas.microsoft.com/office/powerpoint/2010/main" val="4027059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7162800" y="0"/>
            <a:ext cx="5029200" cy="6248400"/>
          </a:xfrm>
        </p:spPr>
        <p:txBody>
          <a:bodyPr/>
          <a:lstStyle/>
          <a:p>
            <a:r>
              <a:rPr lang="en-US" dirty="0"/>
              <a:t>Click icon to add picture</a:t>
            </a:r>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457200" y="990600"/>
            <a:ext cx="62484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33400" y="2133600"/>
            <a:ext cx="6155267" cy="2514600"/>
          </a:xfrm>
        </p:spPr>
        <p:txBody>
          <a:bodyPr>
            <a:normAutofit/>
          </a:bodyPr>
          <a:lstStyle>
            <a:lvl1pPr algn="l">
              <a:defRPr sz="2800"/>
            </a:lvl1pPr>
            <a:lvl2pPr marL="230188" indent="0">
              <a:buNone/>
              <a:defRPr/>
            </a:lvl2pPr>
          </a:lstStyle>
          <a:p>
            <a:pPr lvl="0"/>
            <a:r>
              <a:rPr lang="en-US"/>
              <a:t>Click to edit Master text styles</a:t>
            </a:r>
          </a:p>
        </p:txBody>
      </p:sp>
    </p:spTree>
    <p:extLst>
      <p:ext uri="{BB962C8B-B14F-4D97-AF65-F5344CB8AC3E}">
        <p14:creationId xmlns:p14="http://schemas.microsoft.com/office/powerpoint/2010/main" val="3098007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4857108" y="0"/>
            <a:ext cx="7315200" cy="6248400"/>
          </a:xfrm>
        </p:spPr>
        <p:txBody>
          <a:bodyPr/>
          <a:lstStyle/>
          <a:p>
            <a:r>
              <a:rPr lang="en-US" dirty="0"/>
              <a:t>Click icon to add picture</a:t>
            </a:r>
          </a:p>
        </p:txBody>
      </p:sp>
      <p:sp>
        <p:nvSpPr>
          <p:cNvPr id="10" name="Text Placeholder 9">
            <a:extLst>
              <a:ext uri="{FF2B5EF4-FFF2-40B4-BE49-F238E27FC236}">
                <a16:creationId xmlns:a16="http://schemas.microsoft.com/office/drawing/2014/main" id="{67EC31F5-38FD-4982-B65F-DC98AB6F41A6}"/>
              </a:ext>
            </a:extLst>
          </p:cNvPr>
          <p:cNvSpPr>
            <a:spLocks noGrp="1"/>
          </p:cNvSpPr>
          <p:nvPr>
            <p:ph type="body" sz="quarter" idx="12" hasCustomPrompt="1"/>
          </p:nvPr>
        </p:nvSpPr>
        <p:spPr>
          <a:xfrm>
            <a:off x="609600" y="1371600"/>
            <a:ext cx="3505200" cy="990600"/>
          </a:xfrm>
        </p:spPr>
        <p:txBody>
          <a:bodyPr>
            <a:noAutofit/>
          </a:bodyPr>
          <a:lstStyle>
            <a:lvl1pPr>
              <a:defRPr sz="7200">
                <a:solidFill>
                  <a:srgbClr val="0072BC"/>
                </a:solidFill>
              </a:defRPr>
            </a:lvl1pPr>
          </a:lstStyle>
          <a:p>
            <a:pPr lvl="0"/>
            <a:r>
              <a:rPr lang="en-US" dirty="0"/>
              <a:t>Big Fact</a:t>
            </a:r>
          </a:p>
        </p:txBody>
      </p:sp>
      <p:sp>
        <p:nvSpPr>
          <p:cNvPr id="14" name="Text Placeholder 13">
            <a:extLst>
              <a:ext uri="{FF2B5EF4-FFF2-40B4-BE49-F238E27FC236}">
                <a16:creationId xmlns:a16="http://schemas.microsoft.com/office/drawing/2014/main" id="{D92C42DC-2C17-40EC-BDEE-98CA1B851929}"/>
              </a:ext>
            </a:extLst>
          </p:cNvPr>
          <p:cNvSpPr>
            <a:spLocks noGrp="1"/>
          </p:cNvSpPr>
          <p:nvPr>
            <p:ph type="body" sz="quarter" idx="13"/>
          </p:nvPr>
        </p:nvSpPr>
        <p:spPr>
          <a:xfrm>
            <a:off x="1306649" y="2514600"/>
            <a:ext cx="2791218" cy="1524000"/>
          </a:xfrm>
        </p:spPr>
        <p:txBody>
          <a:bodyPr/>
          <a:lstStyle>
            <a:lvl1pPr algn="r">
              <a:defRPr/>
            </a:lvl1pPr>
            <a:lvl2pPr marL="230188" indent="0">
              <a:buNone/>
              <a:defRPr/>
            </a:lvl2pPr>
          </a:lstStyle>
          <a:p>
            <a:pPr lvl="0"/>
            <a:r>
              <a:rPr lang="en-US"/>
              <a:t>Click to edit Master text styles</a:t>
            </a:r>
          </a:p>
        </p:txBody>
      </p:sp>
    </p:spTree>
    <p:extLst>
      <p:ext uri="{BB962C8B-B14F-4D97-AF65-F5344CB8AC3E}">
        <p14:creationId xmlns:p14="http://schemas.microsoft.com/office/powerpoint/2010/main" val="3222301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ppendix Slid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443728"/>
          </a:xfrm>
        </p:spPr>
        <p:txBody>
          <a:bodyPr>
            <a:normAutofit/>
          </a:bodyPr>
          <a:lstStyle>
            <a:lvl1pPr>
              <a:defRPr sz="2400">
                <a:solidFill>
                  <a:srgbClr val="333333"/>
                </a:solidFill>
                <a:latin typeface="Calibri" panose="020F0502020204030204" pitchFamily="34" charset="0"/>
              </a:defRPr>
            </a:lvl1pPr>
            <a:lvl2pPr marL="461963" indent="-231775">
              <a:buFont typeface="Arial" panose="020B0604020202020204" pitchFamily="34" charset="0"/>
              <a:buChar char="•"/>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5D930A23-EAF3-497F-8E4D-0179FF3F62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341543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nfidential">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2400">
                <a:solidFill>
                  <a:srgbClr val="333333"/>
                </a:solidFill>
                <a:latin typeface="Calibri" panose="020F0502020204030204" pitchFamily="34" charset="0"/>
              </a:defRPr>
            </a:lvl1pPr>
            <a:lvl2pPr marL="461963" indent="-231775">
              <a:buFont typeface="Arial" panose="020B0604020202020204" pitchFamily="34" charset="0"/>
              <a:buChar char="•"/>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57B67CA4-A96E-4EB9-B3D9-131388AB3D9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
        <p:nvSpPr>
          <p:cNvPr id="5" name="TextBox 4"/>
          <p:cNvSpPr txBox="1"/>
          <p:nvPr userDrawn="1"/>
        </p:nvSpPr>
        <p:spPr>
          <a:xfrm>
            <a:off x="8010331" y="6472791"/>
            <a:ext cx="3810000" cy="338554"/>
          </a:xfrm>
          <a:prstGeom prst="rect">
            <a:avLst/>
          </a:prstGeom>
          <a:noFill/>
        </p:spPr>
        <p:txBody>
          <a:bodyPr wrap="square" rtlCol="0">
            <a:spAutoFit/>
          </a:bodyPr>
          <a:lstStyle/>
          <a:p>
            <a:pPr algn="ctr"/>
            <a:r>
              <a:rPr lang="en-US" sz="1600" dirty="0" smtClean="0">
                <a:solidFill>
                  <a:schemeClr val="bg1"/>
                </a:solidFill>
                <a:latin typeface="Myriad Pro Light" pitchFamily="34" charset="0"/>
              </a:rPr>
              <a:t>OMRON INTERNAL CONFIDENTIAL</a:t>
            </a:r>
            <a:endParaRPr lang="en-US" sz="1600" dirty="0">
              <a:solidFill>
                <a:schemeClr val="bg1"/>
              </a:solidFill>
              <a:latin typeface="Myriad Pro Light" pitchFamily="34" charset="0"/>
            </a:endParaRPr>
          </a:p>
        </p:txBody>
      </p:sp>
    </p:spTree>
    <p:extLst>
      <p:ext uri="{BB962C8B-B14F-4D97-AF65-F5344CB8AC3E}">
        <p14:creationId xmlns:p14="http://schemas.microsoft.com/office/powerpoint/2010/main" val="2141920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a:t>Click to edit Master title style</a:t>
            </a:r>
            <a:endParaRPr lang="en-US" dirty="0"/>
          </a:p>
        </p:txBody>
      </p:sp>
    </p:spTree>
    <p:extLst>
      <p:ext uri="{BB962C8B-B14F-4D97-AF65-F5344CB8AC3E}">
        <p14:creationId xmlns:p14="http://schemas.microsoft.com/office/powerpoint/2010/main" val="23503069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Only" preserve="1">
  <p:cSld name="Title No Log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a:t>Click to edit Master title style</a:t>
            </a:r>
            <a:endParaRPr lang="en-US" dirty="0"/>
          </a:p>
        </p:txBody>
      </p:sp>
    </p:spTree>
    <p:extLst>
      <p:ext uri="{BB962C8B-B14F-4D97-AF65-F5344CB8AC3E}">
        <p14:creationId xmlns:p14="http://schemas.microsoft.com/office/powerpoint/2010/main" val="4195143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08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638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361E0F58-D613-CD42-8E8E-CC5295B24B31}" type="datetime1">
              <a:rPr lang="ja-JP" altLang="en-US" smtClean="0">
                <a:solidFill>
                  <a:prstClr val="black">
                    <a:tint val="75000"/>
                  </a:prstClr>
                </a:solidFill>
              </a:rPr>
              <a:pPr/>
              <a:t>2021/9/28</a:t>
            </a:fld>
            <a:endParaRPr lang="ja-JP" altLang="en-US" dirty="0">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dirty="0">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E8BE4B8B-56DD-C042-B68B-6CBB684AA62B}"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938958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D42F4F2C-3E91-4981-8D29-DEDB021270E7}"/>
              </a:ext>
            </a:extLst>
          </p:cNvPr>
          <p:cNvSpPr>
            <a:spLocks noGrp="1"/>
          </p:cNvSpPr>
          <p:nvPr>
            <p:ph sz="quarter" idx="16"/>
          </p:nvPr>
        </p:nvSpPr>
        <p:spPr>
          <a:xfrm>
            <a:off x="5791200" y="854075"/>
            <a:ext cx="6248400" cy="53943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Picture Placeholder 8">
            <a:extLst>
              <a:ext uri="{FF2B5EF4-FFF2-40B4-BE49-F238E27FC236}">
                <a16:creationId xmlns:a16="http://schemas.microsoft.com/office/drawing/2014/main" id="{C15E4B71-17DA-45A8-9B4C-B9537719C432}"/>
              </a:ext>
            </a:extLst>
          </p:cNvPr>
          <p:cNvSpPr>
            <a:spLocks noGrp="1"/>
          </p:cNvSpPr>
          <p:nvPr>
            <p:ph type="pic" sz="quarter" idx="12"/>
          </p:nvPr>
        </p:nvSpPr>
        <p:spPr>
          <a:xfrm>
            <a:off x="-7345" y="0"/>
            <a:ext cx="2801957" cy="2008742"/>
          </a:xfrm>
        </p:spPr>
        <p:txBody>
          <a:bodyPr/>
          <a:lstStyle/>
          <a:p>
            <a:endParaRPr lang="en-US" dirty="0"/>
          </a:p>
        </p:txBody>
      </p:sp>
      <p:sp>
        <p:nvSpPr>
          <p:cNvPr id="7" name="Picture Placeholder 8">
            <a:extLst>
              <a:ext uri="{FF2B5EF4-FFF2-40B4-BE49-F238E27FC236}">
                <a16:creationId xmlns:a16="http://schemas.microsoft.com/office/drawing/2014/main" id="{976DBAD2-21DB-4209-A793-6DA782AD1C12}"/>
              </a:ext>
            </a:extLst>
          </p:cNvPr>
          <p:cNvSpPr>
            <a:spLocks noGrp="1"/>
          </p:cNvSpPr>
          <p:nvPr>
            <p:ph type="pic" sz="quarter" idx="13"/>
          </p:nvPr>
        </p:nvSpPr>
        <p:spPr>
          <a:xfrm>
            <a:off x="-7345" y="4239658"/>
            <a:ext cx="2801957" cy="2008742"/>
          </a:xfrm>
        </p:spPr>
        <p:txBody>
          <a:bodyPr/>
          <a:lstStyle/>
          <a:p>
            <a:endParaRPr lang="en-US" dirty="0"/>
          </a:p>
        </p:txBody>
      </p:sp>
      <p:sp>
        <p:nvSpPr>
          <p:cNvPr id="8" name="Picture Placeholder 8">
            <a:extLst>
              <a:ext uri="{FF2B5EF4-FFF2-40B4-BE49-F238E27FC236}">
                <a16:creationId xmlns:a16="http://schemas.microsoft.com/office/drawing/2014/main" id="{49410983-5690-49C5-8C9D-C7B493EF2191}"/>
              </a:ext>
            </a:extLst>
          </p:cNvPr>
          <p:cNvSpPr>
            <a:spLocks noGrp="1"/>
          </p:cNvSpPr>
          <p:nvPr>
            <p:ph type="pic" sz="quarter" idx="14"/>
          </p:nvPr>
        </p:nvSpPr>
        <p:spPr>
          <a:xfrm>
            <a:off x="-7345" y="2119829"/>
            <a:ext cx="2801957" cy="2008742"/>
          </a:xfrm>
        </p:spPr>
        <p:txBody>
          <a:bodyPr/>
          <a:lstStyle/>
          <a:p>
            <a:endParaRPr lang="en-US" dirty="0"/>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2895599" y="116632"/>
            <a:ext cx="2801957" cy="6131768"/>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5630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0C28DE4-6A48-F949-9BF6-E78651790E6E}"/>
              </a:ext>
            </a:extLst>
          </p:cNvPr>
          <p:cNvPicPr>
            <a:picLocks noChangeAspect="1"/>
          </p:cNvPicPr>
          <p:nvPr userDrawn="1"/>
        </p:nvPicPr>
        <p:blipFill>
          <a:blip r:embed="rId2"/>
          <a:stretch>
            <a:fillRect/>
          </a:stretch>
        </p:blipFill>
        <p:spPr>
          <a:xfrm>
            <a:off x="-1" y="0"/>
            <a:ext cx="12192000" cy="723900"/>
          </a:xfrm>
          <a:prstGeom prst="rect">
            <a:avLst/>
          </a:prstGeom>
        </p:spPr>
      </p:pic>
      <p:sp>
        <p:nvSpPr>
          <p:cNvPr id="2" name="タイトル 1">
            <a:extLst>
              <a:ext uri="{FF2B5EF4-FFF2-40B4-BE49-F238E27FC236}">
                <a16:creationId xmlns:a16="http://schemas.microsoft.com/office/drawing/2014/main" id="{6A6521C0-B0E1-0A48-A7FC-44E276E15F06}"/>
              </a:ext>
            </a:extLst>
          </p:cNvPr>
          <p:cNvSpPr>
            <a:spLocks noGrp="1"/>
          </p:cNvSpPr>
          <p:nvPr>
            <p:ph type="ctrTitle"/>
          </p:nvPr>
        </p:nvSpPr>
        <p:spPr>
          <a:xfrm>
            <a:off x="1091541" y="124432"/>
            <a:ext cx="9144000" cy="524715"/>
          </a:xfrm>
        </p:spPr>
        <p:txBody>
          <a:bodyPr anchor="b">
            <a:noAutofit/>
          </a:bodyPr>
          <a:lstStyle>
            <a:lvl1pPr marL="0" algn="l" defTabSz="685783" rtl="0" eaLnBrk="1" latinLnBrk="0" hangingPunct="1">
              <a:defRPr kumimoji="1" lang="ja-JP" altLang="en-US" sz="3200" b="1" kern="1200">
                <a:solidFill>
                  <a:schemeClr val="bg1"/>
                </a:solidFill>
                <a:latin typeface="Arial" panose="020B0604020202020204" pitchFamily="34" charset="0"/>
                <a:ea typeface="Meiryo UI" panose="020B0604030504040204" pitchFamily="50" charset="-128"/>
                <a:cs typeface="Arial" panose="020B0604020202020204" pitchFamily="34" charset="0"/>
              </a:defRPr>
            </a:lvl1pPr>
          </a:lstStyle>
          <a:p>
            <a:r>
              <a:rPr kumimoji="1" lang="en-US" altLang="ja-JP" dirty="0"/>
              <a:t>Click to edit Master title style</a:t>
            </a:r>
            <a:endParaRPr kumimoji="1" lang="ja-JP" altLang="en-US" dirty="0"/>
          </a:p>
        </p:txBody>
      </p:sp>
      <p:pic>
        <p:nvPicPr>
          <p:cNvPr id="13" name="図 12">
            <a:extLst>
              <a:ext uri="{FF2B5EF4-FFF2-40B4-BE49-F238E27FC236}">
                <a16:creationId xmlns:a16="http://schemas.microsoft.com/office/drawing/2014/main" id="{E4A41E67-AD10-804E-9715-AD5852A2FA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33270" y="6634400"/>
            <a:ext cx="1621553" cy="138743"/>
          </a:xfrm>
          <a:prstGeom prst="rect">
            <a:avLst/>
          </a:prstGeom>
        </p:spPr>
      </p:pic>
      <p:pic>
        <p:nvPicPr>
          <p:cNvPr id="15" name="図 14">
            <a:extLst>
              <a:ext uri="{FF2B5EF4-FFF2-40B4-BE49-F238E27FC236}">
                <a16:creationId xmlns:a16="http://schemas.microsoft.com/office/drawing/2014/main" id="{B9982525-7D56-434A-BBB0-1F0CD42276D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56262" y="271778"/>
            <a:ext cx="1048497" cy="202591"/>
          </a:xfrm>
          <a:prstGeom prst="rect">
            <a:avLst/>
          </a:prstGeom>
        </p:spPr>
      </p:pic>
      <p:sp>
        <p:nvSpPr>
          <p:cNvPr id="16" name="スライド番号プレースホルダー 5">
            <a:extLst>
              <a:ext uri="{FF2B5EF4-FFF2-40B4-BE49-F238E27FC236}">
                <a16:creationId xmlns:a16="http://schemas.microsoft.com/office/drawing/2014/main" id="{8B6CFE05-1FCD-E840-AABE-8A4AB09524BB}"/>
              </a:ext>
            </a:extLst>
          </p:cNvPr>
          <p:cNvSpPr txBox="1">
            <a:spLocks/>
          </p:cNvSpPr>
          <p:nvPr userDrawn="1"/>
        </p:nvSpPr>
        <p:spPr>
          <a:xfrm>
            <a:off x="4401669" y="6492879"/>
            <a:ext cx="2743200" cy="365125"/>
          </a:xfrm>
          <a:prstGeom prst="rect">
            <a:avLst/>
          </a:prstGeom>
        </p:spPr>
        <p:txBody>
          <a:bodyPr vert="horz" lIns="68580" tIns="34291" rIns="68580" bIns="34291"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fld id="{87A69F3C-8468-704B-B0E7-334D19B4B151}" type="slidenum">
              <a:rPr lang="ja-JP" altLang="en-US" sz="751" b="0" i="0" smtClean="0">
                <a:solidFill>
                  <a:schemeClr val="tx1"/>
                </a:solidFill>
                <a:latin typeface="Meiryo UI" panose="020B0604030504040204" pitchFamily="34" charset="-128"/>
                <a:ea typeface="Meiryo UI" panose="020B0604030504040204" pitchFamily="34" charset="-128"/>
              </a:rPr>
              <a:pPr algn="ctr"/>
              <a:t>‹#›</a:t>
            </a:fld>
            <a:endParaRPr lang="ja-JP" altLang="en-US" sz="751" b="0" i="0">
              <a:solidFill>
                <a:schemeClr val="tx1"/>
              </a:solidFill>
              <a:latin typeface="Meiryo UI" panose="020B0604030504040204" pitchFamily="34" charset="-128"/>
              <a:ea typeface="Meiryo UI" panose="020B0604030504040204" pitchFamily="34" charset="-128"/>
            </a:endParaRPr>
          </a:p>
        </p:txBody>
      </p:sp>
      <p:sp>
        <p:nvSpPr>
          <p:cNvPr id="3" name="テキスト ボックス 2"/>
          <p:cNvSpPr txBox="1"/>
          <p:nvPr userDrawn="1"/>
        </p:nvSpPr>
        <p:spPr>
          <a:xfrm>
            <a:off x="198522" y="6585480"/>
            <a:ext cx="1075936" cy="207877"/>
          </a:xfrm>
          <a:prstGeom prst="rect">
            <a:avLst/>
          </a:prstGeom>
          <a:noFill/>
        </p:spPr>
        <p:txBody>
          <a:bodyPr wrap="none" rtlCol="0">
            <a:spAutoFit/>
          </a:bodyPr>
          <a:lstStyle/>
          <a:p>
            <a:r>
              <a:rPr kumimoji="1" lang="en-US" altLang="ja-JP" sz="751" b="1" dirty="0">
                <a:solidFill>
                  <a:schemeClr val="accent1"/>
                </a:solidFill>
                <a:latin typeface="Meiryo UI" panose="020B0604030504040204" pitchFamily="50" charset="-128"/>
                <a:ea typeface="Meiryo UI" panose="020B0604030504040204" pitchFamily="50" charset="-128"/>
              </a:rPr>
              <a:t>CONFIDENTIAL B</a:t>
            </a:r>
            <a:endParaRPr kumimoji="1" lang="ja-JP" altLang="en-US" sz="751" b="1" dirty="0">
              <a:solidFill>
                <a:schemeClr val="accent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57647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22151" y="70247"/>
            <a:ext cx="10972800" cy="747310"/>
          </a:xfrm>
        </p:spPr>
        <p:txBody>
          <a:bodyPr>
            <a:normAutofit/>
          </a:bodyPr>
          <a:lstStyle>
            <a:lvl1pPr algn="l">
              <a:defRPr sz="2800" b="1" i="0">
                <a:solidFill>
                  <a:srgbClr val="103DB6"/>
                </a:solidFill>
                <a:latin typeface="メイリオ"/>
                <a:ea typeface="メイリオ"/>
                <a:cs typeface="メイリオ"/>
              </a:defRPr>
            </a:lvl1pPr>
          </a:lstStyle>
          <a:p>
            <a:r>
              <a:rPr lang="ja-JP" altLang="en-US" dirty="0"/>
              <a:t>マスター タイトルの書式設定</a:t>
            </a:r>
          </a:p>
        </p:txBody>
      </p:sp>
      <p:sp>
        <p:nvSpPr>
          <p:cNvPr id="4" name="コンテンツ プレースホルダー 2"/>
          <p:cNvSpPr>
            <a:spLocks noGrp="1"/>
          </p:cNvSpPr>
          <p:nvPr>
            <p:ph idx="1"/>
          </p:nvPr>
        </p:nvSpPr>
        <p:spPr>
          <a:xfrm>
            <a:off x="609600" y="1084087"/>
            <a:ext cx="10972800" cy="830438"/>
          </a:xfrm>
          <a:solidFill>
            <a:srgbClr val="FFFFCC"/>
          </a:solidFill>
          <a:ln w="25400">
            <a:solidFill>
              <a:schemeClr val="tx1"/>
            </a:solidFill>
          </a:ln>
        </p:spPr>
        <p:txBody>
          <a:bodyPr anchor="ctr">
            <a:normAutofit/>
          </a:bodyPr>
          <a:lstStyle>
            <a:lvl1pPr marL="0" indent="0">
              <a:buNone/>
              <a:defRPr/>
            </a:lvl1pPr>
          </a:lstStyle>
          <a:p>
            <a:endParaRPr lang="ja-JP" altLang="en-US" dirty="0"/>
          </a:p>
        </p:txBody>
      </p:sp>
      <p:cxnSp>
        <p:nvCxnSpPr>
          <p:cNvPr id="5" name="直線コネクタ 4"/>
          <p:cNvCxnSpPr/>
          <p:nvPr userDrawn="1"/>
        </p:nvCxnSpPr>
        <p:spPr>
          <a:xfrm>
            <a:off x="375717" y="732660"/>
            <a:ext cx="11406953" cy="0"/>
          </a:xfrm>
          <a:prstGeom prst="line">
            <a:avLst/>
          </a:prstGeom>
          <a:ln w="38100" cmpd="sng">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697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obj">
  <p:cSld name="8_タイトルとコンテンツ">
    <p:spTree>
      <p:nvGrpSpPr>
        <p:cNvPr id="1" name=""/>
        <p:cNvGrpSpPr/>
        <p:nvPr/>
      </p:nvGrpSpPr>
      <p:grpSpPr>
        <a:xfrm>
          <a:off x="0" y="0"/>
          <a:ext cx="0" cy="0"/>
          <a:chOff x="0" y="0"/>
          <a:chExt cx="0" cy="0"/>
        </a:xfrm>
      </p:grpSpPr>
      <p:sp>
        <p:nvSpPr>
          <p:cNvPr id="9" name="TextBox 1"/>
          <p:cNvSpPr txBox="1"/>
          <p:nvPr/>
        </p:nvSpPr>
        <p:spPr>
          <a:xfrm>
            <a:off x="5167944" y="6602443"/>
            <a:ext cx="961482" cy="110287"/>
          </a:xfrm>
          <a:prstGeom prst="rect">
            <a:avLst/>
          </a:prstGeom>
          <a:noFill/>
        </p:spPr>
        <p:txBody>
          <a:bodyPr wrap="none" lIns="0" tIns="0" rIns="0">
            <a:spAutoFit/>
          </a:bodyPr>
          <a:lstStyle/>
          <a:p>
            <a:pPr fontAlgn="auto">
              <a:lnSpc>
                <a:spcPts val="500"/>
              </a:lnSpc>
              <a:spcBef>
                <a:spcPts val="0"/>
              </a:spcBef>
              <a:spcAft>
                <a:spcPts val="0"/>
              </a:spcAft>
              <a:defRPr/>
            </a:pPr>
            <a:r>
              <a:rPr lang="en-US" altLang="zh-CN" sz="600" kern="0" spc="10" dirty="0">
                <a:solidFill>
                  <a:srgbClr val="727271"/>
                </a:solidFill>
                <a:latin typeface="Meiryo UI" panose="020B0604030504040204" pitchFamily="50" charset="-128"/>
                <a:ea typeface="Meiryo UI" panose="020B0604030504040204" pitchFamily="50" charset="-128"/>
                <a:cs typeface="Meiryo UI" panose="020B0604030504040204" pitchFamily="50" charset="-128"/>
              </a:rPr>
              <a:t>©  OMRON  Corporation</a:t>
            </a:r>
          </a:p>
        </p:txBody>
      </p:sp>
      <p:sp>
        <p:nvSpPr>
          <p:cNvPr id="2" name="タイトル 1"/>
          <p:cNvSpPr>
            <a:spLocks noGrp="1"/>
          </p:cNvSpPr>
          <p:nvPr>
            <p:ph type="title"/>
          </p:nvPr>
        </p:nvSpPr>
        <p:spPr>
          <a:xfrm>
            <a:off x="322154" y="11632"/>
            <a:ext cx="10972800" cy="747310"/>
          </a:xfrm>
          <a:prstGeom prst="rect">
            <a:avLst/>
          </a:prstGeom>
        </p:spPr>
        <p:txBody>
          <a:bodyPr anchor="ctr">
            <a:normAutofit/>
          </a:bodyPr>
          <a:lstStyle>
            <a:lvl1pPr algn="l">
              <a:defRPr sz="2800" b="1" i="0">
                <a:solidFill>
                  <a:srgbClr val="103DB6"/>
                </a:solidFill>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smtClean="0"/>
              <a:t>マスター タイトルの書式設定</a:t>
            </a:r>
            <a:endParaRPr lang="ja-JP" altLang="en-US" dirty="0"/>
          </a:p>
        </p:txBody>
      </p:sp>
      <p:sp>
        <p:nvSpPr>
          <p:cNvPr id="3" name="コンテンツ プレースホルダー 2"/>
          <p:cNvSpPr>
            <a:spLocks noGrp="1"/>
          </p:cNvSpPr>
          <p:nvPr>
            <p:ph idx="1"/>
          </p:nvPr>
        </p:nvSpPr>
        <p:spPr>
          <a:xfrm>
            <a:off x="609601" y="1255537"/>
            <a:ext cx="10972800" cy="4870628"/>
          </a:xfrm>
          <a:prstGeom prst="rect">
            <a:avLst/>
          </a:prstGeom>
        </p:spPr>
        <p:txBody>
          <a:bodyPr/>
          <a:lstStyle>
            <a:lvl1pPr>
              <a:defRPr>
                <a:latin typeface="Meiryo UI" panose="020B0604030504040204" pitchFamily="50" charset="-128"/>
                <a:ea typeface="Meiryo UI" panose="020B0604030504040204" pitchFamily="50" charset="-128"/>
                <a:cs typeface="Meiryo UI" panose="020B0604030504040204" pitchFamily="50" charset="-128"/>
              </a:defRPr>
            </a:lvl1pPr>
            <a:lvl2pPr>
              <a:defRPr>
                <a:latin typeface="Meiryo UI" panose="020B0604030504040204" pitchFamily="50" charset="-128"/>
                <a:ea typeface="Meiryo UI" panose="020B0604030504040204" pitchFamily="50" charset="-128"/>
                <a:cs typeface="Meiryo UI" panose="020B0604030504040204" pitchFamily="50" charset="-128"/>
              </a:defRPr>
            </a:lvl2pPr>
            <a:lvl3pPr>
              <a:defRPr>
                <a:latin typeface="Meiryo UI" panose="020B0604030504040204" pitchFamily="50" charset="-128"/>
                <a:ea typeface="Meiryo UI" panose="020B0604030504040204" pitchFamily="50" charset="-128"/>
                <a:cs typeface="Meiryo UI" panose="020B0604030504040204" pitchFamily="50" charset="-128"/>
              </a:defRPr>
            </a:lvl3pPr>
            <a:lvl4pPr>
              <a:defRPr>
                <a:latin typeface="Meiryo UI" panose="020B0604030504040204" pitchFamily="50" charset="-128"/>
                <a:ea typeface="Meiryo UI" panose="020B0604030504040204" pitchFamily="50" charset="-128"/>
                <a:cs typeface="Meiryo UI" panose="020B0604030504040204" pitchFamily="50" charset="-128"/>
              </a:defRPr>
            </a:lvl4pPr>
            <a:lvl5pPr>
              <a:defRPr>
                <a:latin typeface="Meiryo UI" panose="020B0604030504040204" pitchFamily="50" charset="-128"/>
                <a:ea typeface="Meiryo UI" panose="020B0604030504040204" pitchFamily="50" charset="-128"/>
                <a:cs typeface="Meiryo UI" panose="020B0604030504040204" pitchFamily="50" charset="-128"/>
              </a:defRPr>
            </a:lvl5p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ja-JP" altLang="en-US" dirty="0"/>
          </a:p>
        </p:txBody>
      </p:sp>
      <p:sp>
        <p:nvSpPr>
          <p:cNvPr id="14" name="TextBox 1"/>
          <p:cNvSpPr txBox="1"/>
          <p:nvPr/>
        </p:nvSpPr>
        <p:spPr>
          <a:xfrm>
            <a:off x="174397" y="6602440"/>
            <a:ext cx="1399989" cy="258398"/>
          </a:xfrm>
          <a:prstGeom prst="rect">
            <a:avLst/>
          </a:prstGeom>
          <a:noFill/>
        </p:spPr>
        <p:txBody>
          <a:bodyPr wrap="none" lIns="0" tIns="0" rIns="0" rtlCol="0" anchor="ctr">
            <a:noAutofit/>
          </a:bodyPr>
          <a:lstStyle/>
          <a:p>
            <a:pPr>
              <a:lnSpc>
                <a:spcPts val="500"/>
              </a:lnSpc>
            </a:pPr>
            <a:r>
              <a:rPr lang="en-US" altLang="zh-CN" sz="1000" b="1" kern="0" spc="30"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rPr>
              <a:t>CONFIDENTIAL</a:t>
            </a:r>
          </a:p>
        </p:txBody>
      </p:sp>
      <p:cxnSp>
        <p:nvCxnSpPr>
          <p:cNvPr id="16" name="直線コネクタ 15"/>
          <p:cNvCxnSpPr/>
          <p:nvPr/>
        </p:nvCxnSpPr>
        <p:spPr>
          <a:xfrm>
            <a:off x="375717" y="732660"/>
            <a:ext cx="11406953" cy="0"/>
          </a:xfrm>
          <a:prstGeom prst="line">
            <a:avLst/>
          </a:prstGeom>
          <a:ln w="38100" cmpd="sng">
            <a:solidFill>
              <a:schemeClr val="accent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スライド番号プレースホルダー 3"/>
          <p:cNvSpPr txBox="1">
            <a:spLocks/>
          </p:cNvSpPr>
          <p:nvPr/>
        </p:nvSpPr>
        <p:spPr>
          <a:xfrm>
            <a:off x="9286860" y="6519875"/>
            <a:ext cx="2844800" cy="253894"/>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a:fld id="{E8BE4B8B-56DD-C042-B68B-6CBB684AA62B}" type="slidenum">
              <a:rPr lang="ja-JP" altLang="en-US" sz="1100" smtClean="0">
                <a:solidFill>
                  <a:prstClr val="black">
                    <a:lumMod val="50000"/>
                    <a:lumOff val="50000"/>
                  </a:prstClr>
                </a:solidFill>
                <a:latin typeface="Meiryo UI" panose="020B0604030504040204" pitchFamily="50" charset="-128"/>
                <a:ea typeface="Meiryo UI" panose="020B0604030504040204" pitchFamily="50" charset="-128"/>
                <a:cs typeface="Meiryo UI" panose="020B0604030504040204" pitchFamily="50" charset="-128"/>
              </a:rPr>
              <a:pPr algn="r"/>
              <a:t>‹#›</a:t>
            </a:fld>
            <a:endParaRPr lang="ja-JP" altLang="en-US" sz="1100" dirty="0">
              <a:solidFill>
                <a:prstClr val="black">
                  <a:lumMod val="50000"/>
                  <a:lumOff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980042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2_Title &amp; Content No Logo">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dirty="0"/>
              <a:t>Click to edit Master title style</a:t>
            </a:r>
          </a:p>
        </p:txBody>
      </p:sp>
      <p:sp>
        <p:nvSpPr>
          <p:cNvPr id="3" name="Content Placeholder 2"/>
          <p:cNvSpPr>
            <a:spLocks noGrp="1"/>
          </p:cNvSpPr>
          <p:nvPr>
            <p:ph idx="1"/>
          </p:nvPr>
        </p:nvSpPr>
        <p:spPr>
          <a:xfrm>
            <a:off x="815413" y="804672"/>
            <a:ext cx="10766987" cy="5212080"/>
          </a:xfrm>
        </p:spPr>
        <p:txBody>
          <a:bodyPr>
            <a:normAutofit/>
          </a:bodyPr>
          <a:lstStyle>
            <a:lvl1pPr>
              <a:defRPr sz="2400">
                <a:solidFill>
                  <a:srgbClr val="333333"/>
                </a:solidFill>
                <a:latin typeface="Calibri" panose="020F0502020204030204" pitchFamily="34" charset="0"/>
              </a:defRPr>
            </a:lvl1pPr>
            <a:lvl2pPr marL="461963" indent="-231775">
              <a:buFont typeface="Arial" panose="020B0604020202020204" pitchFamily="34" charset="0"/>
              <a:buChar char="•"/>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600075"/>
            <a:ext cx="406400" cy="5657850"/>
          </a:xfrm>
          <a:prstGeom prst="rect">
            <a:avLst/>
          </a:prstGeom>
        </p:spPr>
      </p:pic>
      <p:sp>
        <p:nvSpPr>
          <p:cNvPr id="10" name="TextBox 9">
            <a:extLst>
              <a:ext uri="{FF2B5EF4-FFF2-40B4-BE49-F238E27FC236}">
                <a16:creationId xmlns:a16="http://schemas.microsoft.com/office/drawing/2014/main" id="{416DD2B8-F03E-41EE-8167-9CB6832A6FA2}"/>
              </a:ext>
            </a:extLst>
          </p:cNvPr>
          <p:cNvSpPr txBox="1"/>
          <p:nvPr userDrawn="1"/>
        </p:nvSpPr>
        <p:spPr>
          <a:xfrm>
            <a:off x="609600" y="6524625"/>
            <a:ext cx="1133644" cy="253916"/>
          </a:xfrm>
          <a:prstGeom prst="rect">
            <a:avLst/>
          </a:prstGeom>
          <a:noFill/>
        </p:spPr>
        <p:txBody>
          <a:bodyPr wrap="none" rtlCol="0">
            <a:spAutoFit/>
          </a:bodyPr>
          <a:lstStyle/>
          <a:p>
            <a:r>
              <a:rPr lang="en-US" sz="1050" dirty="0"/>
              <a:t>CONFIDENTIAL B</a:t>
            </a:r>
          </a:p>
        </p:txBody>
      </p:sp>
      <p:pic>
        <p:nvPicPr>
          <p:cNvPr id="9" name="Picture 2" descr="C:\Users\le452792\Pictures\Logos\Omron_AS_Logo.png">
            <a:extLst>
              <a:ext uri="{FF2B5EF4-FFF2-40B4-BE49-F238E27FC236}">
                <a16:creationId xmlns:a16="http://schemas.microsoft.com/office/drawing/2014/main" id="{DEC926DA-31F3-4D91-A4C2-1A4D5FC8650E}"/>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9802367" y="6367842"/>
            <a:ext cx="2194560" cy="348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0801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External_Secondary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6121" y="8070"/>
            <a:ext cx="11046910" cy="941161"/>
          </a:xfrm>
          <a:prstGeom prst="rect">
            <a:avLst/>
          </a:prstGeom>
        </p:spPr>
        <p:txBody>
          <a:bodyPr vert="horz" lIns="91440" tIns="45720" rIns="91440" bIns="45720" rtlCol="0" anchor="ctr">
            <a:normAutofit/>
          </a:bodyPr>
          <a:lstStyle>
            <a:lvl1pPr>
              <a:defRPr sz="2800"/>
            </a:lvl1pPr>
          </a:lstStyle>
          <a:p>
            <a:r>
              <a:rPr lang="en-US" dirty="0"/>
              <a:t>Click to edit Master title style</a:t>
            </a: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872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034" y="1109664"/>
            <a:ext cx="5558367" cy="55197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1" y="1109664"/>
            <a:ext cx="5558367" cy="55197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71215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7" name="タイトル 8"/>
          <p:cNvSpPr>
            <a:spLocks noGrp="1"/>
          </p:cNvSpPr>
          <p:nvPr>
            <p:ph type="title" hasCustomPrompt="1"/>
          </p:nvPr>
        </p:nvSpPr>
        <p:spPr>
          <a:xfrm>
            <a:off x="327054" y="262062"/>
            <a:ext cx="11523500" cy="508584"/>
          </a:xfrm>
          <a:prstGeom prst="rect">
            <a:avLst/>
          </a:prstGeom>
        </p:spPr>
        <p:txBody>
          <a:bodyPr vert="horz"/>
          <a:lstStyle>
            <a:lvl1pPr algn="l">
              <a:defRPr sz="2800" b="1">
                <a:solidFill>
                  <a:srgbClr val="FFFFFF"/>
                </a:solidFill>
                <a:latin typeface="Arial" panose="020B0604020202020204" pitchFamily="34" charset="0"/>
                <a:ea typeface="HGP創英角ｺﾞｼｯｸUB" panose="020B0900000000000000" pitchFamily="50" charset="-128"/>
                <a:cs typeface="Arial" panose="020B0604020202020204" pitchFamily="34" charset="0"/>
              </a:defRPr>
            </a:lvl1pPr>
          </a:lstStyle>
          <a:p>
            <a:r>
              <a:rPr kumimoji="1" lang="en-US" altLang="ja-JP" dirty="0"/>
              <a:t>Title </a:t>
            </a:r>
            <a:r>
              <a:rPr kumimoji="1" lang="en-US" altLang="en-US" dirty="0"/>
              <a:t>タイトル</a:t>
            </a:r>
            <a:endParaRPr kumimoji="1" lang="ja-JP" altLang="en-US" dirty="0"/>
          </a:p>
        </p:txBody>
      </p:sp>
      <p:sp>
        <p:nvSpPr>
          <p:cNvPr id="8" name="スライド番号プレースホルダー 3"/>
          <p:cNvSpPr txBox="1">
            <a:spLocks/>
          </p:cNvSpPr>
          <p:nvPr userDrawn="1"/>
        </p:nvSpPr>
        <p:spPr>
          <a:xfrm>
            <a:off x="11137700" y="6317507"/>
            <a:ext cx="738129" cy="190421"/>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a:fld id="{E8BE4B8B-56DD-C042-B68B-6CBB684AA62B}" type="slidenum">
              <a:rPr lang="ja-JP" altLang="en-US" sz="1100" smtClean="0">
                <a:solidFill>
                  <a:schemeClr val="bg1"/>
                </a:solidFill>
                <a:latin typeface="メイリオ"/>
                <a:ea typeface="メイリオ"/>
                <a:cs typeface="メイリオ"/>
              </a:rPr>
              <a:pPr algn="r"/>
              <a:t>‹#›</a:t>
            </a:fld>
            <a:endParaRPr lang="ja-JP" altLang="en-US" sz="1100" dirty="0">
              <a:solidFill>
                <a:schemeClr val="bg1"/>
              </a:solidFill>
              <a:latin typeface="メイリオ"/>
              <a:ea typeface="メイリオ"/>
              <a:cs typeface="メイリオ"/>
            </a:endParaRPr>
          </a:p>
        </p:txBody>
      </p:sp>
    </p:spTree>
    <p:extLst>
      <p:ext uri="{BB962C8B-B14F-4D97-AF65-F5344CB8AC3E}">
        <p14:creationId xmlns:p14="http://schemas.microsoft.com/office/powerpoint/2010/main" val="643566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タイトル スライド">
    <p:spTree>
      <p:nvGrpSpPr>
        <p:cNvPr id="1" name=""/>
        <p:cNvGrpSpPr/>
        <p:nvPr/>
      </p:nvGrpSpPr>
      <p:grpSpPr>
        <a:xfrm>
          <a:off x="0" y="0"/>
          <a:ext cx="0" cy="0"/>
          <a:chOff x="0" y="0"/>
          <a:chExt cx="0" cy="0"/>
        </a:xfrm>
      </p:grpSpPr>
      <p:sp>
        <p:nvSpPr>
          <p:cNvPr id="9" name="タイトル 1"/>
          <p:cNvSpPr>
            <a:spLocks noGrp="1"/>
          </p:cNvSpPr>
          <p:nvPr>
            <p:ph type="title"/>
          </p:nvPr>
        </p:nvSpPr>
        <p:spPr bwMode="auto">
          <a:xfrm>
            <a:off x="660400" y="274639"/>
            <a:ext cx="8123899" cy="56197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l">
              <a:defRPr sz="2800">
                <a:latin typeface="Arial" pitchFamily="34" charset="0"/>
                <a:ea typeface="ＭＳ Ｐゴシック" pitchFamily="50" charset="-128"/>
                <a:cs typeface="Arial" pitchFamily="34" charset="0"/>
              </a:defRPr>
            </a:lvl1pPr>
          </a:lstStyle>
          <a:p>
            <a:r>
              <a:rPr lang="ja-JP" altLang="en-US" smtClean="0"/>
              <a:t>マスター タイトルの書式設定</a:t>
            </a:r>
            <a:endParaRPr lang="ja-JP" altLang="en-US" dirty="0" smtClean="0"/>
          </a:p>
        </p:txBody>
      </p:sp>
      <p:sp>
        <p:nvSpPr>
          <p:cNvPr id="3" name="スライド番号プレースホルダ 5"/>
          <p:cNvSpPr>
            <a:spLocks noGrp="1"/>
          </p:cNvSpPr>
          <p:nvPr>
            <p:ph type="sldNum" sz="quarter" idx="10"/>
          </p:nvPr>
        </p:nvSpPr>
        <p:spPr/>
        <p:txBody>
          <a:bodyPr/>
          <a:lstStyle>
            <a:lvl1pPr>
              <a:defRPr/>
            </a:lvl1pPr>
          </a:lstStyle>
          <a:p>
            <a:fld id="{C372B627-5535-4A3B-BF0A-33FEA52E629C}" type="slidenum">
              <a:rPr lang="ja-JP" altLang="en-US"/>
              <a:pPr/>
              <a:t>‹#›</a:t>
            </a:fld>
            <a:endParaRPr lang="ja-JP" altLang="en-US"/>
          </a:p>
        </p:txBody>
      </p:sp>
    </p:spTree>
    <p:extLst>
      <p:ext uri="{BB962C8B-B14F-4D97-AF65-F5344CB8AC3E}">
        <p14:creationId xmlns:p14="http://schemas.microsoft.com/office/powerpoint/2010/main" val="3781831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306121" y="8070"/>
            <a:ext cx="11046910" cy="941161"/>
          </a:xfrm>
          <a:prstGeom prst="rect">
            <a:avLst/>
          </a:prstGeom>
        </p:spPr>
        <p:txBody>
          <a:bodyPr vert="horz" lIns="91440" tIns="45720" rIns="91440" bIns="45720" rtlCol="0" anchor="ctr">
            <a:normAutofit/>
          </a:bodyPr>
          <a:lstStyle>
            <a:lvl1pPr>
              <a:defRPr sz="2800" b="1"/>
            </a:lvl1pPr>
          </a:lstStyle>
          <a:p>
            <a:r>
              <a:rPr lang="en-US" dirty="0"/>
              <a:t>Click to edit header title style</a:t>
            </a:r>
            <a:br>
              <a:rPr lang="en-US" dirty="0"/>
            </a:br>
            <a:r>
              <a:rPr lang="en-US" dirty="0"/>
              <a:t>Secondary line for title if needed.</a:t>
            </a:r>
          </a:p>
        </p:txBody>
      </p:sp>
      <p:sp>
        <p:nvSpPr>
          <p:cNvPr id="15" name="Date Placeholder 3"/>
          <p:cNvSpPr txBox="1">
            <a:spLocks/>
          </p:cNvSpPr>
          <p:nvPr userDrawn="1"/>
        </p:nvSpPr>
        <p:spPr>
          <a:xfrm>
            <a:off x="10486621" y="6320608"/>
            <a:ext cx="123076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007FF2-EC3A-49D6-9F83-61B88A62796F}" type="datetimeFigureOut">
              <a:rPr lang="en-US" sz="1000" smtClean="0"/>
              <a:pPr/>
              <a:t>9/28/2021</a:t>
            </a:fld>
            <a:endParaRPr lang="en-US" sz="1000" dirty="0"/>
          </a:p>
        </p:txBody>
      </p:sp>
      <p:sp>
        <p:nvSpPr>
          <p:cNvPr id="17"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57223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6121" y="8070"/>
            <a:ext cx="11046910" cy="941161"/>
          </a:xfrm>
          <a:prstGeom prst="rect">
            <a:avLst/>
          </a:prstGeom>
        </p:spPr>
        <p:txBody>
          <a:bodyPr vert="horz" lIns="91440" tIns="45720" rIns="91440" bIns="45720" rtlCol="0" anchor="ctr">
            <a:normAutofit/>
          </a:bodyPr>
          <a:lstStyle>
            <a:lvl1pPr>
              <a:defRPr sz="2800"/>
            </a:lvl1pPr>
          </a:lstStyle>
          <a:p>
            <a:r>
              <a:rPr lang="en-US" dirty="0"/>
              <a:t>Click to edit header title style</a:t>
            </a:r>
            <a:br>
              <a:rPr lang="en-US" dirty="0"/>
            </a:br>
            <a:r>
              <a:rPr lang="en-US" dirty="0"/>
              <a:t>Secondary line for title if needed.</a:t>
            </a:r>
            <a:br>
              <a:rPr lang="en-US" dirty="0"/>
            </a:br>
            <a:endParaRPr lang="en-US" dirty="0"/>
          </a:p>
        </p:txBody>
      </p:sp>
      <p:sp>
        <p:nvSpPr>
          <p:cNvPr id="17"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7090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152400" y="116632"/>
            <a:ext cx="5545156" cy="6131768"/>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15">
            <a:extLst>
              <a:ext uri="{FF2B5EF4-FFF2-40B4-BE49-F238E27FC236}">
                <a16:creationId xmlns:a16="http://schemas.microsoft.com/office/drawing/2014/main" id="{22609A1E-E5C8-4E98-A87C-969C983F6568}"/>
              </a:ext>
            </a:extLst>
          </p:cNvPr>
          <p:cNvSpPr>
            <a:spLocks noGrp="1"/>
          </p:cNvSpPr>
          <p:nvPr>
            <p:ph sz="quarter" idx="16"/>
          </p:nvPr>
        </p:nvSpPr>
        <p:spPr>
          <a:xfrm>
            <a:off x="5791200" y="854075"/>
            <a:ext cx="6248400" cy="53943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5520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3500"/>
            <a:ext cx="10972800" cy="1295400"/>
          </a:xfrm>
        </p:spPr>
        <p:txBody>
          <a:bodyPr anchor="b" anchorCtr="0"/>
          <a:lstStyle>
            <a:lvl1pPr>
              <a:defRPr>
                <a:solidFill>
                  <a:srgbClr val="002752"/>
                </a:solidFill>
                <a:effectLst/>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marL="342900" indent="-342900">
              <a:lnSpc>
                <a:spcPts val="3360"/>
              </a:lnSpc>
              <a:spcAft>
                <a:spcPts val="600"/>
              </a:spcAft>
              <a:buClr>
                <a:srgbClr val="BF311A"/>
              </a:buClr>
              <a:buFont typeface="Wingdings" charset="2"/>
              <a:buChar char="§"/>
              <a:defRPr>
                <a:latin typeface="Arial" pitchFamily="34" charset="0"/>
                <a:cs typeface="Arial" pitchFamily="34" charset="0"/>
              </a:defRPr>
            </a:lvl1pPr>
            <a:lvl2pPr marL="742950" indent="-285750">
              <a:buClr>
                <a:srgbClr val="767B8C"/>
              </a:buClr>
              <a:buSzPct val="100000"/>
              <a:buFont typeface="Wingdings" pitchFamily="2" charset="2"/>
              <a:buChar char="§"/>
              <a:defRPr>
                <a:solidFill>
                  <a:srgbClr val="002752"/>
                </a:solidFill>
                <a:latin typeface="Arial" pitchFamily="34" charset="0"/>
                <a:cs typeface="Arial" pitchFamily="34" charset="0"/>
              </a:defRPr>
            </a:lvl2pPr>
            <a:lvl3pPr marL="1143000" indent="-228600">
              <a:buClr>
                <a:schemeClr val="accent2">
                  <a:lumMod val="50000"/>
                </a:schemeClr>
              </a:buClr>
              <a:buFont typeface="Wingdings" charset="2"/>
              <a:buChar char="§"/>
              <a:defRPr>
                <a:solidFill>
                  <a:schemeClr val="tx1">
                    <a:lumMod val="65000"/>
                    <a:lumOff val="35000"/>
                  </a:schemeClr>
                </a:solidFill>
                <a:latin typeface="Arial" pitchFamily="34" charset="0"/>
                <a:cs typeface="Arial" pitchFamily="34" charset="0"/>
              </a:defRPr>
            </a:lvl3pPr>
            <a:lvl4pPr>
              <a:buClr>
                <a:srgbClr val="A43221"/>
              </a:buClr>
              <a:defRPr>
                <a:solidFill>
                  <a:srgbClr val="002752"/>
                </a:solidFill>
                <a:latin typeface="Arial" pitchFamily="34" charset="0"/>
                <a:cs typeface="Arial" pitchFamily="34" charset="0"/>
              </a:defRPr>
            </a:lvl4pPr>
            <a:lvl5pPr>
              <a:buFont typeface="Wingdings" pitchFamily="2" charset="2"/>
              <a:buChar cha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p:cNvSpPr txBox="1"/>
          <p:nvPr userDrawn="1"/>
        </p:nvSpPr>
        <p:spPr>
          <a:xfrm>
            <a:off x="9195452" y="6654453"/>
            <a:ext cx="2472152" cy="261610"/>
          </a:xfrm>
          <a:prstGeom prst="rect">
            <a:avLst/>
          </a:prstGeom>
          <a:noFill/>
        </p:spPr>
        <p:txBody>
          <a:bodyPr wrap="none" rtlCol="0">
            <a:spAutoFit/>
          </a:bodyPr>
          <a:lstStyle/>
          <a:p>
            <a:pPr>
              <a:buClr>
                <a:srgbClr val="BF311A"/>
              </a:buClr>
            </a:pPr>
            <a:r>
              <a:rPr lang="en-US" sz="1100" dirty="0">
                <a:solidFill>
                  <a:schemeClr val="tx1"/>
                </a:solidFill>
                <a:latin typeface="+mn-lt"/>
              </a:rPr>
              <a:t>MICROSCAN INTERNAL CONFIDENTIAL</a:t>
            </a:r>
          </a:p>
        </p:txBody>
      </p:sp>
    </p:spTree>
    <p:extLst>
      <p:ext uri="{BB962C8B-B14F-4D97-AF65-F5344CB8AC3E}">
        <p14:creationId xmlns:p14="http://schemas.microsoft.com/office/powerpoint/2010/main" val="223279531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External_Secondary Slid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6121" y="8070"/>
            <a:ext cx="11046910" cy="941161"/>
          </a:xfrm>
          <a:prstGeom prst="rect">
            <a:avLst/>
          </a:prstGeom>
        </p:spPr>
        <p:txBody>
          <a:bodyPr vert="horz" lIns="91440" tIns="45720" rIns="91440" bIns="45720" rtlCol="0" anchor="ctr">
            <a:normAutofit/>
          </a:bodyPr>
          <a:lstStyle>
            <a:lvl1pPr>
              <a:defRPr sz="2800"/>
            </a:lvl1pPr>
          </a:lstStyle>
          <a:p>
            <a:r>
              <a:rPr lang="en-US" dirty="0"/>
              <a:t>Click to edit Master title style</a:t>
            </a: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676554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3"/>
            <a:ext cx="2743200" cy="365125"/>
          </a:xfrm>
          <a:prstGeom prst="rect">
            <a:avLst/>
          </a:prstGeom>
        </p:spPr>
        <p:txBody>
          <a:bodyPr/>
          <a:lstStyle/>
          <a:p>
            <a:fld id="{2ACFB2B6-262F-41EC-917B-1F9CD1387049}" type="datetimeFigureOut">
              <a:rPr lang="en-US" smtClean="0"/>
              <a:t>9/28/2021</a:t>
            </a:fld>
            <a:endParaRPr lang="en-US" dirty="0"/>
          </a:p>
        </p:txBody>
      </p:sp>
      <p:sp>
        <p:nvSpPr>
          <p:cNvPr id="3" name="Footer Placeholder 2"/>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10600" y="6356353"/>
            <a:ext cx="2743200" cy="365125"/>
          </a:xfrm>
          <a:prstGeom prst="rect">
            <a:avLst/>
          </a:prstGeom>
        </p:spPr>
        <p:txBody>
          <a:bodyPr/>
          <a:lstStyle/>
          <a:p>
            <a:fld id="{53361A19-DD0A-4B54-9294-7F55D176BD25}" type="slidenum">
              <a:rPr lang="en-US" smtClean="0"/>
              <a:t>‹#›</a:t>
            </a:fld>
            <a:endParaRPr lang="en-US" dirty="0"/>
          </a:p>
        </p:txBody>
      </p:sp>
    </p:spTree>
    <p:extLst>
      <p:ext uri="{BB962C8B-B14F-4D97-AF65-F5344CB8AC3E}">
        <p14:creationId xmlns:p14="http://schemas.microsoft.com/office/powerpoint/2010/main" val="126727660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ordary_Title Slide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16175" y="2987040"/>
            <a:ext cx="4945633" cy="1053737"/>
          </a:xfrm>
          <a:prstGeom prst="rect">
            <a:avLst/>
          </a:prstGeom>
        </p:spPr>
        <p:txBody>
          <a:bodyPr vert="horz" lIns="91440" tIns="45720" rIns="91440" bIns="45720" rtlCol="0" anchor="ctr">
            <a:normAutofit/>
          </a:bodyPr>
          <a:lstStyle/>
          <a:p>
            <a:r>
              <a:rPr lang="en-US" dirty="0"/>
              <a:t>Click to edit Master title style</a:t>
            </a:r>
          </a:p>
        </p:txBody>
      </p:sp>
      <p:sp>
        <p:nvSpPr>
          <p:cNvPr id="9" name="Text Placeholder 2"/>
          <p:cNvSpPr>
            <a:spLocks noGrp="1"/>
          </p:cNvSpPr>
          <p:nvPr>
            <p:ph type="body" idx="1" hasCustomPrompt="1"/>
          </p:nvPr>
        </p:nvSpPr>
        <p:spPr>
          <a:xfrm>
            <a:off x="216174" y="4760414"/>
            <a:ext cx="4945633" cy="917575"/>
          </a:xfrm>
          <a:prstGeom prst="rect">
            <a:avLst/>
          </a:prstGeom>
        </p:spPr>
        <p:txBody>
          <a:bodyPr vert="horz" lIns="91440" tIns="45720" rIns="91440" bIns="45720" rtlCol="0">
            <a:normAutofit/>
          </a:bodyPr>
          <a:lstStyle>
            <a:lvl1pPr>
              <a:defRPr>
                <a:latin typeface="+mj-lt"/>
              </a:defRPr>
            </a:lvl1pPr>
          </a:lstStyle>
          <a:p>
            <a:pPr lvl="0"/>
            <a:r>
              <a:rPr lang="en-US" dirty="0"/>
              <a:t>Click to edit text styles</a:t>
            </a:r>
          </a:p>
        </p:txBody>
      </p:sp>
    </p:spTree>
    <p:extLst>
      <p:ext uri="{BB962C8B-B14F-4D97-AF65-F5344CB8AC3E}">
        <p14:creationId xmlns:p14="http://schemas.microsoft.com/office/powerpoint/2010/main" val="6541383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4_Title &amp; Content No Logo">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800" y="2517835"/>
            <a:ext cx="8915400" cy="3730565"/>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spc="0">
                <a:solidFill>
                  <a:srgbClr val="59595B"/>
                </a:solidFill>
                <a:latin typeface="Calibri" panose="020F0502020204030204" pitchFamily="34" charset="0"/>
              </a:defRPr>
            </a:lvl2pPr>
            <a:lvl3pPr marL="915988" indent="-227013">
              <a:buFont typeface="Myriad Pro" pitchFamily="34" charset="0"/>
              <a:buChar char="º"/>
              <a:defRPr lang="en-US" sz="2000" kern="1200" spc="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spc="0">
                <a:solidFill>
                  <a:srgbClr val="59595B"/>
                </a:solidFill>
                <a:latin typeface="Calibri" panose="020F0502020204030204" pitchFamily="34" charset="0"/>
              </a:defRPr>
            </a:lvl4pPr>
            <a:lvl5pPr marL="1830388" indent="-227013">
              <a:buFont typeface="Arial" panose="020B0604020202020204" pitchFamily="34" charset="0"/>
              <a:buChar char="‒"/>
              <a:defRPr sz="2000" spc="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0"/>
            <a:ext cx="2801957" cy="2008742"/>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2"/>
          </a:xfrm>
        </p:spPr>
        <p:txBody>
          <a:bodyPr/>
          <a:lstStyle/>
          <a:p>
            <a:endParaRPr lang="en-US" dirty="0"/>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29"/>
            <a:ext cx="2801957" cy="2008742"/>
          </a:xfrm>
        </p:spPr>
        <p:txBody>
          <a:bodyPr/>
          <a:lstStyle/>
          <a:p>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172200"/>
            <a:ext cx="12192000" cy="685800"/>
          </a:xfrm>
          <a:prstGeom prst="rect">
            <a:avLst/>
          </a:prstGeom>
        </p:spPr>
      </p:pic>
      <p:grpSp>
        <p:nvGrpSpPr>
          <p:cNvPr id="9" name="Group 8">
            <a:extLst>
              <a:ext uri="{FF2B5EF4-FFF2-40B4-BE49-F238E27FC236}">
                <a16:creationId xmlns:a16="http://schemas.microsoft.com/office/drawing/2014/main" id="{DB61C02B-8064-4A43-8233-AF506D666642}"/>
              </a:ext>
            </a:extLst>
          </p:cNvPr>
          <p:cNvGrpSpPr/>
          <p:nvPr userDrawn="1"/>
        </p:nvGrpSpPr>
        <p:grpSpPr>
          <a:xfrm>
            <a:off x="2971800" y="0"/>
            <a:ext cx="9220200" cy="2517835"/>
            <a:chOff x="2971800" y="1600577"/>
            <a:chExt cx="9220200" cy="2517835"/>
          </a:xfrm>
        </p:grpSpPr>
        <p:sp>
          <p:nvSpPr>
            <p:cNvPr id="12" name="Rectangle 11">
              <a:extLst>
                <a:ext uri="{FF2B5EF4-FFF2-40B4-BE49-F238E27FC236}">
                  <a16:creationId xmlns:a16="http://schemas.microsoft.com/office/drawing/2014/main" id="{CE877CE5-F894-4891-B1BA-089481AF48F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16" name="Straight Connector 15">
              <a:extLst>
                <a:ext uri="{FF2B5EF4-FFF2-40B4-BE49-F238E27FC236}">
                  <a16:creationId xmlns:a16="http://schemas.microsoft.com/office/drawing/2014/main" id="{E0D1F20C-9EF1-4416-BBEE-B4A143C706E2}"/>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35">
            <a:extLst>
              <a:ext uri="{FF2B5EF4-FFF2-40B4-BE49-F238E27FC236}">
                <a16:creationId xmlns:a16="http://schemas.microsoft.com/office/drawing/2014/main" id="{A29BE47D-8ABD-4AE3-8562-DB98B9610508}"/>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18" name="Text Placeholder 35">
            <a:extLst>
              <a:ext uri="{FF2B5EF4-FFF2-40B4-BE49-F238E27FC236}">
                <a16:creationId xmlns:a16="http://schemas.microsoft.com/office/drawing/2014/main" id="{928A1A0D-D7BE-471D-934E-DE4D3E1601AD}"/>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66260710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5943600" y="308056"/>
            <a:ext cx="5943600" cy="576064"/>
          </a:xfrm>
        </p:spPr>
        <p:txBody>
          <a:bodyPr>
            <a:noAutofit/>
          </a:bodyPr>
          <a:lstStyle>
            <a:lvl1pPr>
              <a:defRPr sz="3600" b="0" spc="-150">
                <a:solidFill>
                  <a:srgbClr val="0070C0"/>
                </a:solidFill>
              </a:defRPr>
            </a:lvl1pPr>
          </a:lstStyle>
          <a:p>
            <a:r>
              <a:rPr lang="en-US" dirty="0"/>
              <a:t>Click to edit Master title style</a:t>
            </a:r>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198" y="0"/>
            <a:ext cx="5174402" cy="6293386"/>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8" name="Picture 7">
            <a:extLst>
              <a:ext uri="{FF2B5EF4-FFF2-40B4-BE49-F238E27FC236}">
                <a16:creationId xmlns:a16="http://schemas.microsoft.com/office/drawing/2014/main" id="{7D872201-68CB-4B92-BAC2-34EFA6C6C1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graphicFrame>
        <p:nvGraphicFramePr>
          <p:cNvPr id="7" name="Chart Placeholder 11">
            <a:extLst>
              <a:ext uri="{FF2B5EF4-FFF2-40B4-BE49-F238E27FC236}">
                <a16:creationId xmlns:a16="http://schemas.microsoft.com/office/drawing/2014/main" id="{C4ED252C-A133-4BE6-8F74-5F2829F98F3F}"/>
              </a:ext>
            </a:extLst>
          </p:cNvPr>
          <p:cNvGraphicFramePr>
            <a:graphicFrameLocks/>
          </p:cNvGraphicFramePr>
          <p:nvPr userDrawn="1">
            <p:extLst>
              <p:ext uri="{D42A27DB-BD31-4B8C-83A1-F6EECF244321}">
                <p14:modId xmlns:p14="http://schemas.microsoft.com/office/powerpoint/2010/main" val="2136773636"/>
              </p:ext>
            </p:extLst>
          </p:nvPr>
        </p:nvGraphicFramePr>
        <p:xfrm>
          <a:off x="2133600" y="757807"/>
          <a:ext cx="6477000" cy="57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34269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Title &amp; Content No Logo">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1"/>
            <a:ext cx="2801957" cy="2517836"/>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
        <p:nvSpPr>
          <p:cNvPr id="12" name="Rectangle 11">
            <a:extLst>
              <a:ext uri="{FF2B5EF4-FFF2-40B4-BE49-F238E27FC236}">
                <a16:creationId xmlns:a16="http://schemas.microsoft.com/office/drawing/2014/main" id="{CE877CE5-F894-4891-B1BA-089481AF48FB}"/>
              </a:ext>
            </a:extLst>
          </p:cNvPr>
          <p:cNvSpPr/>
          <p:nvPr userDrawn="1"/>
        </p:nvSpPr>
        <p:spPr>
          <a:xfrm>
            <a:off x="2971800" y="0"/>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17" name="Text Placeholder 35">
            <a:extLst>
              <a:ext uri="{FF2B5EF4-FFF2-40B4-BE49-F238E27FC236}">
                <a16:creationId xmlns:a16="http://schemas.microsoft.com/office/drawing/2014/main" id="{A29BE47D-8ABD-4AE3-8562-DB98B9610508}"/>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18" name="Text Placeholder 35">
            <a:extLst>
              <a:ext uri="{FF2B5EF4-FFF2-40B4-BE49-F238E27FC236}">
                <a16:creationId xmlns:a16="http://schemas.microsoft.com/office/drawing/2014/main" id="{928A1A0D-D7BE-471D-934E-DE4D3E1601AD}"/>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
        <p:nvSpPr>
          <p:cNvPr id="19" name="Picture Placeholder 8">
            <a:extLst>
              <a:ext uri="{FF2B5EF4-FFF2-40B4-BE49-F238E27FC236}">
                <a16:creationId xmlns:a16="http://schemas.microsoft.com/office/drawing/2014/main" id="{55A929E9-33C1-5E49-A5C1-7D33E3EBAD2B}"/>
              </a:ext>
            </a:extLst>
          </p:cNvPr>
          <p:cNvSpPr>
            <a:spLocks noGrp="1"/>
          </p:cNvSpPr>
          <p:nvPr>
            <p:ph type="pic" sz="quarter" idx="19"/>
          </p:nvPr>
        </p:nvSpPr>
        <p:spPr>
          <a:xfrm>
            <a:off x="-7345" y="2743200"/>
            <a:ext cx="12199345" cy="3522821"/>
          </a:xfrm>
        </p:spPr>
        <p:txBody>
          <a:bodyPr/>
          <a:lstStyle/>
          <a:p>
            <a:endParaRPr lang="en-US" dirty="0"/>
          </a:p>
        </p:txBody>
      </p:sp>
    </p:spTree>
    <p:extLst>
      <p:ext uri="{BB962C8B-B14F-4D97-AF65-F5344CB8AC3E}">
        <p14:creationId xmlns:p14="http://schemas.microsoft.com/office/powerpoint/2010/main" val="3438441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0_Title &amp; Content No Logo">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1"/>
            <a:ext cx="2801957" cy="2517836"/>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
        <p:nvSpPr>
          <p:cNvPr id="18" name="Text Placeholder 35">
            <a:extLst>
              <a:ext uri="{FF2B5EF4-FFF2-40B4-BE49-F238E27FC236}">
                <a16:creationId xmlns:a16="http://schemas.microsoft.com/office/drawing/2014/main" id="{928A1A0D-D7BE-471D-934E-DE4D3E1601AD}"/>
              </a:ext>
            </a:extLst>
          </p:cNvPr>
          <p:cNvSpPr>
            <a:spLocks noGrp="1"/>
          </p:cNvSpPr>
          <p:nvPr>
            <p:ph type="body" sz="quarter" idx="18"/>
          </p:nvPr>
        </p:nvSpPr>
        <p:spPr>
          <a:xfrm>
            <a:off x="3396497" y="1362329"/>
            <a:ext cx="7848600" cy="847471"/>
          </a:xfrm>
        </p:spPr>
        <p:txBody>
          <a:bodyPr anchor="b">
            <a:noAutofit/>
          </a:bodyPr>
          <a:lstStyle>
            <a:lvl1pPr>
              <a:defRPr sz="5000" b="0" spc="0">
                <a:solidFill>
                  <a:srgbClr val="004875"/>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
        <p:nvSpPr>
          <p:cNvPr id="19" name="Picture Placeholder 8">
            <a:extLst>
              <a:ext uri="{FF2B5EF4-FFF2-40B4-BE49-F238E27FC236}">
                <a16:creationId xmlns:a16="http://schemas.microsoft.com/office/drawing/2014/main" id="{55A929E9-33C1-5E49-A5C1-7D33E3EBAD2B}"/>
              </a:ext>
            </a:extLst>
          </p:cNvPr>
          <p:cNvSpPr>
            <a:spLocks noGrp="1"/>
          </p:cNvSpPr>
          <p:nvPr>
            <p:ph type="pic" sz="quarter" idx="19"/>
          </p:nvPr>
        </p:nvSpPr>
        <p:spPr>
          <a:xfrm>
            <a:off x="-7345" y="2743200"/>
            <a:ext cx="2801957" cy="3522821"/>
          </a:xfrm>
        </p:spPr>
        <p:txBody>
          <a:bodyPr/>
          <a:lstStyle/>
          <a:p>
            <a:endParaRPr lang="en-US" dirty="0"/>
          </a:p>
        </p:txBody>
      </p:sp>
      <p:sp>
        <p:nvSpPr>
          <p:cNvPr id="9" name="Rectangle 8">
            <a:extLst>
              <a:ext uri="{FF2B5EF4-FFF2-40B4-BE49-F238E27FC236}">
                <a16:creationId xmlns:a16="http://schemas.microsoft.com/office/drawing/2014/main" id="{E0EAB7B6-D8D4-764A-AF6F-4F9BFA624F8B}"/>
              </a:ext>
            </a:extLst>
          </p:cNvPr>
          <p:cNvSpPr/>
          <p:nvPr userDrawn="1"/>
        </p:nvSpPr>
        <p:spPr>
          <a:xfrm>
            <a:off x="2971800" y="2746434"/>
            <a:ext cx="9220200" cy="3519587"/>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14" name="Content Placeholder 2">
            <a:extLst>
              <a:ext uri="{FF2B5EF4-FFF2-40B4-BE49-F238E27FC236}">
                <a16:creationId xmlns:a16="http://schemas.microsoft.com/office/drawing/2014/main" id="{0C66A117-0C47-674D-8FC6-ABE820ACD6D1}"/>
              </a:ext>
            </a:extLst>
          </p:cNvPr>
          <p:cNvSpPr>
            <a:spLocks noGrp="1"/>
          </p:cNvSpPr>
          <p:nvPr>
            <p:ph idx="1"/>
          </p:nvPr>
        </p:nvSpPr>
        <p:spPr>
          <a:xfrm>
            <a:off x="3396497" y="3048000"/>
            <a:ext cx="7881103" cy="32004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1892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userDrawn="1"/>
        </p:nvGrpSpPr>
        <p:grpSpPr>
          <a:xfrm>
            <a:off x="2971800" y="0"/>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324600"/>
          </a:xfrm>
        </p:spPr>
        <p:txBody>
          <a:bodyPr/>
          <a:lstStyle/>
          <a:p>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29000" y="3048000"/>
            <a:ext cx="2209800" cy="2209800"/>
          </a:xfrm>
        </p:spPr>
        <p:txBody>
          <a:bodyPr/>
          <a:lstStyle/>
          <a:p>
            <a:endParaRPr lang="en-US" dirty="0"/>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248400" y="3048000"/>
            <a:ext cx="2209800" cy="2209800"/>
          </a:xfrm>
        </p:spPr>
        <p:txBody>
          <a:bodyPr/>
          <a:lstStyle/>
          <a:p>
            <a:endParaRPr lang="en-US" dirty="0"/>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8991599" y="3045627"/>
            <a:ext cx="2209800" cy="2209800"/>
          </a:xfrm>
        </p:spPr>
        <p:txBody>
          <a:bodyPr/>
          <a:lstStyle/>
          <a:p>
            <a:endParaRPr lang="en-US" dirty="0"/>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17466"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248400"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8988172" y="5334000"/>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Tree>
    <p:extLst>
      <p:ext uri="{BB962C8B-B14F-4D97-AF65-F5344CB8AC3E}">
        <p14:creationId xmlns:p14="http://schemas.microsoft.com/office/powerpoint/2010/main" val="7555691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110CCA0-8A4E-4E08-A02C-075CDBD03BEE}"/>
              </a:ext>
            </a:extLst>
          </p:cNvPr>
          <p:cNvGrpSpPr/>
          <p:nvPr userDrawn="1"/>
        </p:nvGrpSpPr>
        <p:grpSpPr>
          <a:xfrm>
            <a:off x="2929467" y="13489"/>
            <a:ext cx="9220200" cy="2517835"/>
            <a:chOff x="2971800" y="1600577"/>
            <a:chExt cx="9220200" cy="2517835"/>
          </a:xfrm>
        </p:grpSpPr>
        <p:sp>
          <p:nvSpPr>
            <p:cNvPr id="25" name="Rectangle 24">
              <a:extLst>
                <a:ext uri="{FF2B5EF4-FFF2-40B4-BE49-F238E27FC236}">
                  <a16:creationId xmlns:a16="http://schemas.microsoft.com/office/drawing/2014/main" id="{A4C3ECEC-0567-4BFD-8F1E-CB89BA8BE98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6" name="Straight Connector 25">
              <a:extLst>
                <a:ext uri="{FF2B5EF4-FFF2-40B4-BE49-F238E27FC236}">
                  <a16:creationId xmlns:a16="http://schemas.microsoft.com/office/drawing/2014/main" id="{04AC89D0-8ED7-4A02-A405-9798B3592F9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2517835"/>
          </a:xfrm>
        </p:spPr>
        <p:txBody>
          <a:bodyPr/>
          <a:lstStyle/>
          <a:p>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1295400" y="2680092"/>
            <a:ext cx="3200400" cy="3081867"/>
          </a:xfrm>
        </p:spPr>
        <p:txBody>
          <a:bodyPr/>
          <a:lstStyle/>
          <a:p>
            <a:endParaRPr lang="en-US" dirty="0"/>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1295400" y="5761959"/>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a:t>
            </a:r>
          </a:p>
        </p:txBody>
      </p:sp>
      <p:sp>
        <p:nvSpPr>
          <p:cNvPr id="15" name="Picture Placeholder 10">
            <a:extLst>
              <a:ext uri="{FF2B5EF4-FFF2-40B4-BE49-F238E27FC236}">
                <a16:creationId xmlns:a16="http://schemas.microsoft.com/office/drawing/2014/main" id="{EB7E683C-91F3-449D-9519-DB3605B8385B}"/>
              </a:ext>
            </a:extLst>
          </p:cNvPr>
          <p:cNvSpPr>
            <a:spLocks noGrp="1"/>
          </p:cNvSpPr>
          <p:nvPr>
            <p:ph type="pic" sz="quarter" idx="20"/>
          </p:nvPr>
        </p:nvSpPr>
        <p:spPr>
          <a:xfrm>
            <a:off x="7391401" y="2680092"/>
            <a:ext cx="1520509" cy="1515835"/>
          </a:xfrm>
        </p:spPr>
        <p:txBody>
          <a:bodyPr/>
          <a:lstStyle/>
          <a:p>
            <a:endParaRPr lang="en-US" dirty="0"/>
          </a:p>
        </p:txBody>
      </p:sp>
      <p:sp>
        <p:nvSpPr>
          <p:cNvPr id="22" name="Picture Placeholder 10">
            <a:extLst>
              <a:ext uri="{FF2B5EF4-FFF2-40B4-BE49-F238E27FC236}">
                <a16:creationId xmlns:a16="http://schemas.microsoft.com/office/drawing/2014/main" id="{576AB3B4-C874-42EB-AEE7-A8D32DEF98E3}"/>
              </a:ext>
            </a:extLst>
          </p:cNvPr>
          <p:cNvSpPr>
            <a:spLocks noGrp="1"/>
          </p:cNvSpPr>
          <p:nvPr>
            <p:ph type="pic" sz="quarter" idx="25"/>
          </p:nvPr>
        </p:nvSpPr>
        <p:spPr>
          <a:xfrm>
            <a:off x="7391400" y="4251052"/>
            <a:ext cx="1520509" cy="1515835"/>
          </a:xfrm>
        </p:spPr>
        <p:txBody>
          <a:bodyPr/>
          <a:lstStyle/>
          <a:p>
            <a:endParaRPr lang="en-US" dirty="0"/>
          </a:p>
        </p:txBody>
      </p:sp>
      <p:sp>
        <p:nvSpPr>
          <p:cNvPr id="23" name="Picture Placeholder 10">
            <a:extLst>
              <a:ext uri="{FF2B5EF4-FFF2-40B4-BE49-F238E27FC236}">
                <a16:creationId xmlns:a16="http://schemas.microsoft.com/office/drawing/2014/main" id="{24129921-CA26-4CE6-B994-966E18622107}"/>
              </a:ext>
            </a:extLst>
          </p:cNvPr>
          <p:cNvSpPr>
            <a:spLocks noGrp="1"/>
          </p:cNvSpPr>
          <p:nvPr>
            <p:ph type="pic" sz="quarter" idx="26"/>
          </p:nvPr>
        </p:nvSpPr>
        <p:spPr>
          <a:xfrm>
            <a:off x="8988111" y="2680092"/>
            <a:ext cx="1520509" cy="1515835"/>
          </a:xfrm>
        </p:spPr>
        <p:txBody>
          <a:bodyPr/>
          <a:lstStyle/>
          <a:p>
            <a:endParaRPr lang="en-US" dirty="0"/>
          </a:p>
        </p:txBody>
      </p:sp>
      <p:sp>
        <p:nvSpPr>
          <p:cNvPr id="24" name="Picture Placeholder 10">
            <a:extLst>
              <a:ext uri="{FF2B5EF4-FFF2-40B4-BE49-F238E27FC236}">
                <a16:creationId xmlns:a16="http://schemas.microsoft.com/office/drawing/2014/main" id="{075BBAA3-1C19-4B1D-B55D-57CDA52CD580}"/>
              </a:ext>
            </a:extLst>
          </p:cNvPr>
          <p:cNvSpPr>
            <a:spLocks noGrp="1"/>
          </p:cNvSpPr>
          <p:nvPr>
            <p:ph type="pic" sz="quarter" idx="27"/>
          </p:nvPr>
        </p:nvSpPr>
        <p:spPr>
          <a:xfrm>
            <a:off x="8988110" y="4251052"/>
            <a:ext cx="1520509" cy="1515835"/>
          </a:xfrm>
        </p:spPr>
        <p:txBody>
          <a:bodyPr/>
          <a:lstStyle/>
          <a:p>
            <a:endParaRPr lang="en-US" dirty="0"/>
          </a:p>
        </p:txBody>
      </p:sp>
      <p:sp>
        <p:nvSpPr>
          <p:cNvPr id="30" name="Text Placeholder 13">
            <a:extLst>
              <a:ext uri="{FF2B5EF4-FFF2-40B4-BE49-F238E27FC236}">
                <a16:creationId xmlns:a16="http://schemas.microsoft.com/office/drawing/2014/main" id="{0810F247-E66D-4839-A69D-E3D16B523CC4}"/>
              </a:ext>
            </a:extLst>
          </p:cNvPr>
          <p:cNvSpPr>
            <a:spLocks noGrp="1"/>
          </p:cNvSpPr>
          <p:nvPr>
            <p:ph type="body" sz="quarter" idx="28"/>
          </p:nvPr>
        </p:nvSpPr>
        <p:spPr>
          <a:xfrm>
            <a:off x="7391400" y="5777072"/>
            <a:ext cx="2232868" cy="457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a:t>
            </a:r>
          </a:p>
        </p:txBody>
      </p:sp>
      <p:pic>
        <p:nvPicPr>
          <p:cNvPr id="2" name="Picture 1">
            <a:extLst>
              <a:ext uri="{FF2B5EF4-FFF2-40B4-BE49-F238E27FC236}">
                <a16:creationId xmlns:a16="http://schemas.microsoft.com/office/drawing/2014/main" id="{B49BCB01-5781-455F-8930-0AE2BE72A433}"/>
              </a:ext>
            </a:extLst>
          </p:cNvPr>
          <p:cNvPicPr>
            <a:picLocks noChangeAspect="1"/>
          </p:cNvPicPr>
          <p:nvPr userDrawn="1"/>
        </p:nvPicPr>
        <p:blipFill>
          <a:blip r:embed="rId2"/>
          <a:stretch>
            <a:fillRect/>
          </a:stretch>
        </p:blipFill>
        <p:spPr>
          <a:xfrm>
            <a:off x="5166126" y="3796744"/>
            <a:ext cx="1539474" cy="1003856"/>
          </a:xfrm>
          <a:prstGeom prst="rect">
            <a:avLst/>
          </a:prstGeom>
        </p:spPr>
      </p:pic>
      <p:sp>
        <p:nvSpPr>
          <p:cNvPr id="27" name="Text Placeholder 35">
            <a:extLst>
              <a:ext uri="{FF2B5EF4-FFF2-40B4-BE49-F238E27FC236}">
                <a16:creationId xmlns:a16="http://schemas.microsoft.com/office/drawing/2014/main" id="{16734C0D-60E4-4A6C-87EC-BBA7004D1C3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28" name="Text Placeholder 35">
            <a:extLst>
              <a:ext uri="{FF2B5EF4-FFF2-40B4-BE49-F238E27FC236}">
                <a16:creationId xmlns:a16="http://schemas.microsoft.com/office/drawing/2014/main" id="{0C4ADD35-BAD4-4F2C-B9D3-3BAB026F42CB}"/>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243424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324600"/>
          </a:xfrm>
        </p:spPr>
        <p:txBody>
          <a:bodyPr/>
          <a:lstStyle/>
          <a:p>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002257" y="3046382"/>
            <a:ext cx="2630066" cy="1981200"/>
          </a:xfrm>
        </p:spPr>
        <p:txBody>
          <a:bodyPr/>
          <a:lstStyle/>
          <a:p>
            <a:endParaRPr lang="en-US" dirty="0"/>
          </a:p>
        </p:txBody>
      </p:sp>
      <p:grpSp>
        <p:nvGrpSpPr>
          <p:cNvPr id="27" name="Group 26">
            <a:extLst>
              <a:ext uri="{FF2B5EF4-FFF2-40B4-BE49-F238E27FC236}">
                <a16:creationId xmlns:a16="http://schemas.microsoft.com/office/drawing/2014/main" id="{E1DF8491-8798-47C1-BC07-71BE24EEB1B0}"/>
              </a:ext>
            </a:extLst>
          </p:cNvPr>
          <p:cNvGrpSpPr/>
          <p:nvPr userDrawn="1"/>
        </p:nvGrpSpPr>
        <p:grpSpPr>
          <a:xfrm>
            <a:off x="2971800" y="0"/>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7"/>
            <a:ext cx="7848600"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29"/>
            <a:ext cx="7848600"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002256"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
        <p:nvSpPr>
          <p:cNvPr id="16" name="Picture Placeholder 10">
            <a:extLst>
              <a:ext uri="{FF2B5EF4-FFF2-40B4-BE49-F238E27FC236}">
                <a16:creationId xmlns:a16="http://schemas.microsoft.com/office/drawing/2014/main" id="{3762909D-4C5A-44BA-A7F5-93C1AE27E66B}"/>
              </a:ext>
            </a:extLst>
          </p:cNvPr>
          <p:cNvSpPr>
            <a:spLocks noGrp="1"/>
          </p:cNvSpPr>
          <p:nvPr>
            <p:ph type="pic" sz="quarter" idx="22"/>
          </p:nvPr>
        </p:nvSpPr>
        <p:spPr>
          <a:xfrm>
            <a:off x="6132934" y="3050306"/>
            <a:ext cx="2630066" cy="1981200"/>
          </a:xfrm>
        </p:spPr>
        <p:txBody>
          <a:bodyPr/>
          <a:lstStyle/>
          <a:p>
            <a:endParaRPr lang="en-US" dirty="0"/>
          </a:p>
        </p:txBody>
      </p:sp>
      <p:sp>
        <p:nvSpPr>
          <p:cNvPr id="17" name="Picture Placeholder 10">
            <a:extLst>
              <a:ext uri="{FF2B5EF4-FFF2-40B4-BE49-F238E27FC236}">
                <a16:creationId xmlns:a16="http://schemas.microsoft.com/office/drawing/2014/main" id="{10B39156-0299-4627-AD4A-278CC1DF18E1}"/>
              </a:ext>
            </a:extLst>
          </p:cNvPr>
          <p:cNvSpPr>
            <a:spLocks noGrp="1"/>
          </p:cNvSpPr>
          <p:nvPr>
            <p:ph type="pic" sz="quarter" idx="23"/>
          </p:nvPr>
        </p:nvSpPr>
        <p:spPr>
          <a:xfrm>
            <a:off x="9257134" y="3046382"/>
            <a:ext cx="2630066" cy="1981200"/>
          </a:xfrm>
        </p:spPr>
        <p:txBody>
          <a:bodyPr/>
          <a:lstStyle/>
          <a:p>
            <a:endParaRPr lang="en-US" dirty="0"/>
          </a:p>
        </p:txBody>
      </p:sp>
      <p:sp>
        <p:nvSpPr>
          <p:cNvPr id="18" name="Text Placeholder 13">
            <a:extLst>
              <a:ext uri="{FF2B5EF4-FFF2-40B4-BE49-F238E27FC236}">
                <a16:creationId xmlns:a16="http://schemas.microsoft.com/office/drawing/2014/main" id="{0C2DFF91-8571-4A02-92DF-18DD519B7850}"/>
              </a:ext>
            </a:extLst>
          </p:cNvPr>
          <p:cNvSpPr>
            <a:spLocks noGrp="1"/>
          </p:cNvSpPr>
          <p:nvPr>
            <p:ph type="body" sz="quarter" idx="24"/>
          </p:nvPr>
        </p:nvSpPr>
        <p:spPr>
          <a:xfrm>
            <a:off x="9257135"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
        <p:nvSpPr>
          <p:cNvPr id="20" name="Text Placeholder 13">
            <a:extLst>
              <a:ext uri="{FF2B5EF4-FFF2-40B4-BE49-F238E27FC236}">
                <a16:creationId xmlns:a16="http://schemas.microsoft.com/office/drawing/2014/main" id="{3AE7DE0B-71AD-409C-81F3-5017DFA2BAB4}"/>
              </a:ext>
            </a:extLst>
          </p:cNvPr>
          <p:cNvSpPr>
            <a:spLocks noGrp="1"/>
          </p:cNvSpPr>
          <p:nvPr>
            <p:ph type="body" sz="quarter" idx="25"/>
          </p:nvPr>
        </p:nvSpPr>
        <p:spPr>
          <a:xfrm>
            <a:off x="6132934" y="5181600"/>
            <a:ext cx="2630065"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r>
              <a:rPr lang="en-US" dirty="0"/>
              <a:t>Edit Master text styles</a:t>
            </a:r>
          </a:p>
        </p:txBody>
      </p:sp>
    </p:spTree>
    <p:extLst>
      <p:ext uri="{BB962C8B-B14F-4D97-AF65-F5344CB8AC3E}">
        <p14:creationId xmlns:p14="http://schemas.microsoft.com/office/powerpoint/2010/main" val="2924444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grpSp>
        <p:nvGrpSpPr>
          <p:cNvPr id="27" name="Group 26">
            <a:extLst>
              <a:ext uri="{FF2B5EF4-FFF2-40B4-BE49-F238E27FC236}">
                <a16:creationId xmlns:a16="http://schemas.microsoft.com/office/drawing/2014/main" id="{E1DF8491-8798-47C1-BC07-71BE24EEB1B0}"/>
              </a:ext>
            </a:extLst>
          </p:cNvPr>
          <p:cNvGrpSpPr/>
          <p:nvPr userDrawn="1"/>
        </p:nvGrpSpPr>
        <p:grpSpPr>
          <a:xfrm>
            <a:off x="-9698" y="0"/>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718302" y="425539"/>
            <a:ext cx="10787898"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endParaRPr lang="en-US" dirty="0"/>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685799" y="1367181"/>
            <a:ext cx="10787898"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endParaRPr lang="en-US" dirty="0"/>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0" y="2650997"/>
            <a:ext cx="12200467" cy="3581400"/>
          </a:xfrm>
        </p:spPr>
        <p:txBody>
          <a:bodyPr/>
          <a:lstStyle/>
          <a:p>
            <a:endParaRPr lang="en-US" dirty="0"/>
          </a:p>
        </p:txBody>
      </p:sp>
    </p:spTree>
    <p:extLst>
      <p:ext uri="{BB962C8B-B14F-4D97-AF65-F5344CB8AC3E}">
        <p14:creationId xmlns:p14="http://schemas.microsoft.com/office/powerpoint/2010/main" val="11259371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userDrawn="1"/>
        </p:nvGrpSpPr>
        <p:grpSpPr>
          <a:xfrm>
            <a:off x="0" y="-4852"/>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360166"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06982" y="2784000"/>
            <a:ext cx="2547627" cy="2547627"/>
          </a:xfrm>
        </p:spPr>
        <p:txBody>
          <a:bodyPr/>
          <a:lstStyle/>
          <a:p>
            <a:endParaRPr lang="en-US" dirty="0"/>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313591" y="2784000"/>
            <a:ext cx="2547627" cy="2547627"/>
          </a:xfrm>
        </p:spPr>
        <p:txBody>
          <a:bodyPr/>
          <a:lstStyle/>
          <a:p>
            <a:endParaRPr lang="en-US" dirty="0"/>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9220200" y="2784000"/>
            <a:ext cx="2547627" cy="2547627"/>
          </a:xfrm>
        </p:spPr>
        <p:txBody>
          <a:bodyPr/>
          <a:lstStyle/>
          <a:p>
            <a:endParaRPr lang="en-US" dirty="0"/>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533400" y="420687"/>
            <a:ext cx="10787898"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endParaRPr lang="en-US" dirty="0"/>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533400" y="1362329"/>
            <a:ext cx="10787898"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endParaRPr lang="en-US" dirty="0"/>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06982"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endParaRPr lang="en-US" dirty="0"/>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316131"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endParaRPr lang="en-US" dirty="0"/>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9220200"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endParaRPr lang="en-US" dirty="0"/>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500373" y="2784000"/>
            <a:ext cx="2547627" cy="2547627"/>
          </a:xfrm>
        </p:spPr>
        <p:txBody>
          <a:bodyPr/>
          <a:lstStyle/>
          <a:p>
            <a:endParaRPr lang="en-US" dirty="0"/>
          </a:p>
        </p:txBody>
      </p:sp>
      <p:sp>
        <p:nvSpPr>
          <p:cNvPr id="16" name="Text Placeholder 13">
            <a:extLst>
              <a:ext uri="{FF2B5EF4-FFF2-40B4-BE49-F238E27FC236}">
                <a16:creationId xmlns:a16="http://schemas.microsoft.com/office/drawing/2014/main" id="{015F6B5E-5808-463C-817D-EE2DFF83D7BD}"/>
              </a:ext>
            </a:extLst>
          </p:cNvPr>
          <p:cNvSpPr>
            <a:spLocks noGrp="1"/>
          </p:cNvSpPr>
          <p:nvPr>
            <p:ph type="body" sz="quarter" idx="23"/>
          </p:nvPr>
        </p:nvSpPr>
        <p:spPr>
          <a:xfrm>
            <a:off x="500373" y="5428827"/>
            <a:ext cx="2232868" cy="838200"/>
          </a:xfrm>
          <a:noFill/>
        </p:spPr>
        <p:txBody>
          <a:bodyPr wrap="square" lIns="45720" rIns="45720" rtlCol="0" anchor="t" anchorCtr="0">
            <a:noAutofit/>
          </a:bodyPr>
          <a:lstStyle>
            <a:lvl1pPr>
              <a:defRPr lang="en-US" sz="2000" b="0" dirty="0" smtClean="0">
                <a:solidFill>
                  <a:srgbClr val="004875"/>
                </a:solidFill>
              </a:defRPr>
            </a:lvl1pPr>
          </a:lstStyle>
          <a:p>
            <a:pPr lvl="0" defTabSz="914400">
              <a:spcAft>
                <a:spcPts val="300"/>
              </a:spcAft>
            </a:pPr>
            <a:endParaRPr lang="en-US" dirty="0"/>
          </a:p>
        </p:txBody>
      </p:sp>
    </p:spTree>
    <p:extLst>
      <p:ext uri="{BB962C8B-B14F-4D97-AF65-F5344CB8AC3E}">
        <p14:creationId xmlns:p14="http://schemas.microsoft.com/office/powerpoint/2010/main" val="415277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1_Title &amp; Content No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0EAB7B6-D8D4-764A-AF6F-4F9BFA624F8B}"/>
              </a:ext>
            </a:extLst>
          </p:cNvPr>
          <p:cNvSpPr/>
          <p:nvPr userDrawn="1"/>
        </p:nvSpPr>
        <p:spPr>
          <a:xfrm>
            <a:off x="-7345" y="0"/>
            <a:ext cx="2801957" cy="2520098"/>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
        <p:nvSpPr>
          <p:cNvPr id="19" name="Picture Placeholder 8">
            <a:extLst>
              <a:ext uri="{FF2B5EF4-FFF2-40B4-BE49-F238E27FC236}">
                <a16:creationId xmlns:a16="http://schemas.microsoft.com/office/drawing/2014/main" id="{55A929E9-33C1-5E49-A5C1-7D33E3EBAD2B}"/>
              </a:ext>
            </a:extLst>
          </p:cNvPr>
          <p:cNvSpPr>
            <a:spLocks noGrp="1"/>
          </p:cNvSpPr>
          <p:nvPr>
            <p:ph type="pic" sz="quarter" idx="19"/>
          </p:nvPr>
        </p:nvSpPr>
        <p:spPr>
          <a:xfrm>
            <a:off x="-7345" y="2743200"/>
            <a:ext cx="2801957" cy="3522821"/>
          </a:xfrm>
        </p:spPr>
        <p:txBody>
          <a:bodyPr/>
          <a:lstStyle/>
          <a:p>
            <a:endParaRPr lang="en-US" dirty="0"/>
          </a:p>
        </p:txBody>
      </p:sp>
      <p:cxnSp>
        <p:nvCxnSpPr>
          <p:cNvPr id="12" name="Straight Connector 11">
            <a:extLst>
              <a:ext uri="{FF2B5EF4-FFF2-40B4-BE49-F238E27FC236}">
                <a16:creationId xmlns:a16="http://schemas.microsoft.com/office/drawing/2014/main" id="{417BF937-7A8C-FB48-A568-C70BC604697B}"/>
              </a:ext>
            </a:extLst>
          </p:cNvPr>
          <p:cNvCxnSpPr>
            <a:cxnSpLocks/>
          </p:cNvCxnSpPr>
          <p:nvPr userDrawn="1"/>
        </p:nvCxnSpPr>
        <p:spPr>
          <a:xfrm>
            <a:off x="304800" y="1224661"/>
            <a:ext cx="2133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35">
            <a:extLst>
              <a:ext uri="{FF2B5EF4-FFF2-40B4-BE49-F238E27FC236}">
                <a16:creationId xmlns:a16="http://schemas.microsoft.com/office/drawing/2014/main" id="{70C722EB-EB33-164A-84CD-22F8A24E8FAD}"/>
              </a:ext>
            </a:extLst>
          </p:cNvPr>
          <p:cNvSpPr>
            <a:spLocks noGrp="1"/>
          </p:cNvSpPr>
          <p:nvPr>
            <p:ph type="body" sz="quarter" idx="17"/>
          </p:nvPr>
        </p:nvSpPr>
        <p:spPr>
          <a:xfrm>
            <a:off x="324051" y="420687"/>
            <a:ext cx="2114349"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dirty="0"/>
              <a:t>Edit Master text styles</a:t>
            </a:r>
          </a:p>
        </p:txBody>
      </p:sp>
      <p:sp>
        <p:nvSpPr>
          <p:cNvPr id="16" name="Text Placeholder 35">
            <a:extLst>
              <a:ext uri="{FF2B5EF4-FFF2-40B4-BE49-F238E27FC236}">
                <a16:creationId xmlns:a16="http://schemas.microsoft.com/office/drawing/2014/main" id="{0C21626F-6645-6649-9A96-B1F644CB3973}"/>
              </a:ext>
            </a:extLst>
          </p:cNvPr>
          <p:cNvSpPr>
            <a:spLocks noGrp="1"/>
          </p:cNvSpPr>
          <p:nvPr>
            <p:ph type="body" sz="quarter" idx="18"/>
          </p:nvPr>
        </p:nvSpPr>
        <p:spPr>
          <a:xfrm>
            <a:off x="291548" y="1362329"/>
            <a:ext cx="2146852"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dirty="0"/>
              <a:t>Edit Master text styles</a:t>
            </a:r>
          </a:p>
        </p:txBody>
      </p:sp>
      <p:sp>
        <p:nvSpPr>
          <p:cNvPr id="17" name="Picture Placeholder 8">
            <a:extLst>
              <a:ext uri="{FF2B5EF4-FFF2-40B4-BE49-F238E27FC236}">
                <a16:creationId xmlns:a16="http://schemas.microsoft.com/office/drawing/2014/main" id="{E1FD24A8-06D7-8840-968A-37A951735A70}"/>
              </a:ext>
            </a:extLst>
          </p:cNvPr>
          <p:cNvSpPr>
            <a:spLocks noGrp="1"/>
          </p:cNvSpPr>
          <p:nvPr>
            <p:ph type="pic" sz="quarter" idx="11"/>
          </p:nvPr>
        </p:nvSpPr>
        <p:spPr>
          <a:xfrm>
            <a:off x="2971801" y="1"/>
            <a:ext cx="9220200" cy="6248400"/>
          </a:xfrm>
        </p:spPr>
        <p:txBody>
          <a:bodyPr/>
          <a:lstStyle/>
          <a:p>
            <a:endParaRPr lang="en-US" dirty="0"/>
          </a:p>
        </p:txBody>
      </p:sp>
    </p:spTree>
    <p:extLst>
      <p:ext uri="{BB962C8B-B14F-4D97-AF65-F5344CB8AC3E}">
        <p14:creationId xmlns:p14="http://schemas.microsoft.com/office/powerpoint/2010/main" val="19419023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3581400" y="338336"/>
            <a:ext cx="8458200" cy="576064"/>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3581400" y="914400"/>
            <a:ext cx="8458200" cy="1524000"/>
          </a:xfrm>
        </p:spPr>
        <p:txBody>
          <a:bodyPr>
            <a:noAutofit/>
          </a:bodyPr>
          <a:lstStyle>
            <a:lvl1pPr>
              <a:defRPr sz="2000">
                <a:solidFill>
                  <a:srgbClr val="59595B"/>
                </a:solidFill>
                <a:latin typeface="Calibri" panose="020F0502020204030204" pitchFamily="34" charset="0"/>
              </a:defRPr>
            </a:lvl1pPr>
            <a:lvl2pPr marL="461963" indent="-231775">
              <a:buFont typeface="Arial" panose="020B0604020202020204" pitchFamily="34" charset="0"/>
              <a:buChar char="•"/>
              <a:defRPr sz="1800">
                <a:solidFill>
                  <a:srgbClr val="59595B"/>
                </a:solidFill>
                <a:latin typeface="Calibri" panose="020F0502020204030204" pitchFamily="34" charset="0"/>
              </a:defRPr>
            </a:lvl2pPr>
            <a:lvl3pPr marL="915988" indent="-227013">
              <a:buFont typeface="Myriad Pro" pitchFamily="34" charset="0"/>
              <a:buChar char="º"/>
              <a:defRPr lang="en-US" sz="18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1800">
                <a:solidFill>
                  <a:srgbClr val="59595B"/>
                </a:solidFill>
                <a:latin typeface="Calibri" panose="020F0502020204030204" pitchFamily="34" charset="0"/>
              </a:defRPr>
            </a:lvl4pPr>
            <a:lvl5pPr marL="1830388" indent="-227013">
              <a:buFont typeface="Arial" panose="020B0604020202020204" pitchFamily="34" charset="0"/>
              <a:buChar char="‒"/>
              <a:defRPr sz="18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2667000"/>
            <a:ext cx="12192000" cy="3657600"/>
          </a:xfrm>
        </p:spPr>
        <p:txBody>
          <a:bodyPr/>
          <a:lstStyle/>
          <a:p>
            <a:endParaRPr lang="en-US" dirty="0"/>
          </a:p>
        </p:txBody>
      </p:sp>
      <p:sp>
        <p:nvSpPr>
          <p:cNvPr id="10" name="Picture Placeholder 9">
            <a:extLst>
              <a:ext uri="{FF2B5EF4-FFF2-40B4-BE49-F238E27FC236}">
                <a16:creationId xmlns:a16="http://schemas.microsoft.com/office/drawing/2014/main" id="{734EEFA3-1B07-464F-9BE6-5FEF51E0E854}"/>
              </a:ext>
            </a:extLst>
          </p:cNvPr>
          <p:cNvSpPr>
            <a:spLocks noGrp="1"/>
          </p:cNvSpPr>
          <p:nvPr>
            <p:ph type="pic" sz="quarter" idx="12"/>
          </p:nvPr>
        </p:nvSpPr>
        <p:spPr>
          <a:xfrm>
            <a:off x="0" y="0"/>
            <a:ext cx="3200400" cy="2514600"/>
          </a:xfrm>
        </p:spPr>
        <p:txBody>
          <a:bodyPr/>
          <a:lstStyle/>
          <a:p>
            <a:endParaRPr lang="en-US" dirty="0"/>
          </a:p>
        </p:txBody>
      </p:sp>
    </p:spTree>
    <p:extLst>
      <p:ext uri="{BB962C8B-B14F-4D97-AF65-F5344CB8AC3E}">
        <p14:creationId xmlns:p14="http://schemas.microsoft.com/office/powerpoint/2010/main" val="3139707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7467600" y="338336"/>
            <a:ext cx="4572000" cy="576064"/>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7467600" y="914400"/>
            <a:ext cx="4572000" cy="5410200"/>
          </a:xfrm>
        </p:spPr>
        <p:txBody>
          <a:bodyPr>
            <a:noAutofit/>
          </a:bodyPr>
          <a:lstStyle>
            <a:lvl1pPr>
              <a:defRPr sz="2000">
                <a:solidFill>
                  <a:srgbClr val="59595B"/>
                </a:solidFill>
                <a:latin typeface="Calibri" panose="020F0502020204030204" pitchFamily="34" charset="0"/>
              </a:defRPr>
            </a:lvl1pPr>
            <a:lvl2pPr marL="461963" indent="-231775">
              <a:buFont typeface="Arial" panose="020B0604020202020204" pitchFamily="34" charset="0"/>
              <a:buChar char="•"/>
              <a:defRPr sz="1800">
                <a:solidFill>
                  <a:srgbClr val="59595B"/>
                </a:solidFill>
                <a:latin typeface="Calibri" panose="020F0502020204030204" pitchFamily="34" charset="0"/>
              </a:defRPr>
            </a:lvl2pPr>
            <a:lvl3pPr marL="915988" indent="-227013">
              <a:buFont typeface="Myriad Pro" pitchFamily="34" charset="0"/>
              <a:buChar char="º"/>
              <a:defRPr lang="en-US" sz="18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1800">
                <a:solidFill>
                  <a:srgbClr val="59595B"/>
                </a:solidFill>
                <a:latin typeface="Calibri" panose="020F0502020204030204" pitchFamily="34" charset="0"/>
              </a:defRPr>
            </a:lvl4pPr>
            <a:lvl5pPr marL="1830388" indent="-227013">
              <a:buFont typeface="Arial" panose="020B0604020202020204" pitchFamily="34" charset="0"/>
              <a:buChar char="‒"/>
              <a:defRPr sz="1800">
                <a:solidFill>
                  <a:srgbClr val="59595B"/>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324600"/>
          </a:xfrm>
        </p:spPr>
        <p:txBody>
          <a:bodyPr/>
          <a:lstStyle/>
          <a:p>
            <a:endParaRPr lang="en-US" dirty="0"/>
          </a:p>
        </p:txBody>
      </p:sp>
    </p:spTree>
    <p:extLst>
      <p:ext uri="{BB962C8B-B14F-4D97-AF65-F5344CB8AC3E}">
        <p14:creationId xmlns:p14="http://schemas.microsoft.com/office/powerpoint/2010/main" val="13500904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324600"/>
          </a:xfrm>
        </p:spPr>
        <p:txBody>
          <a:bodyPr/>
          <a:lstStyle/>
          <a:p>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7924800" y="990600"/>
            <a:ext cx="35052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8621849" y="2133600"/>
            <a:ext cx="2791218" cy="1524000"/>
          </a:xfrm>
        </p:spPr>
        <p:txBody>
          <a:bodyPr>
            <a:normAutofit/>
          </a:bodyPr>
          <a:lstStyle>
            <a:lvl1pPr algn="r">
              <a:defRPr sz="2800"/>
            </a:lvl1pPr>
            <a:lvl2pPr marL="230188" indent="0">
              <a:buNone/>
              <a:defRPr/>
            </a:lvl2pPr>
          </a:lstStyle>
          <a:p>
            <a:pPr lvl="0"/>
            <a:r>
              <a:rPr lang="en-US" dirty="0"/>
              <a:t>Edit Master text styles</a:t>
            </a:r>
          </a:p>
        </p:txBody>
      </p:sp>
    </p:spTree>
    <p:extLst>
      <p:ext uri="{BB962C8B-B14F-4D97-AF65-F5344CB8AC3E}">
        <p14:creationId xmlns:p14="http://schemas.microsoft.com/office/powerpoint/2010/main" val="20068576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5029200" cy="6324600"/>
          </a:xfrm>
        </p:spPr>
        <p:txBody>
          <a:bodyPr/>
          <a:lstStyle/>
          <a:p>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5486400" y="990600"/>
            <a:ext cx="62484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562600" y="2133600"/>
            <a:ext cx="6155267" cy="2514600"/>
          </a:xfrm>
        </p:spPr>
        <p:txBody>
          <a:bodyPr>
            <a:normAutofit/>
          </a:bodyPr>
          <a:lstStyle>
            <a:lvl1pPr algn="l">
              <a:defRPr sz="2800"/>
            </a:lvl1pPr>
            <a:lvl2pPr marL="230188" indent="0">
              <a:buNone/>
              <a:defRPr/>
            </a:lvl2pPr>
          </a:lstStyle>
          <a:p>
            <a:pPr lvl="0"/>
            <a:r>
              <a:rPr lang="en-US" dirty="0"/>
              <a:t>Edit Master text styles</a:t>
            </a:r>
          </a:p>
        </p:txBody>
      </p:sp>
    </p:spTree>
    <p:extLst>
      <p:ext uri="{BB962C8B-B14F-4D97-AF65-F5344CB8AC3E}">
        <p14:creationId xmlns:p14="http://schemas.microsoft.com/office/powerpoint/2010/main" val="40616871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7162800" y="0"/>
            <a:ext cx="5029200" cy="6324600"/>
          </a:xfrm>
        </p:spPr>
        <p:txBody>
          <a:bodyPr/>
          <a:lstStyle/>
          <a:p>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457200" y="990600"/>
            <a:ext cx="6248400" cy="990600"/>
          </a:xfrm>
        </p:spPr>
        <p:txBody>
          <a:bodyPr>
            <a:noAutofit/>
          </a:bodyPr>
          <a:lstStyle>
            <a:lvl1pPr>
              <a:defRPr sz="8000">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33400" y="2133600"/>
            <a:ext cx="6155267" cy="2514600"/>
          </a:xfrm>
        </p:spPr>
        <p:txBody>
          <a:bodyPr>
            <a:normAutofit/>
          </a:bodyPr>
          <a:lstStyle>
            <a:lvl1pPr algn="l">
              <a:defRPr sz="2800"/>
            </a:lvl1pPr>
            <a:lvl2pPr marL="230188" indent="0">
              <a:buNone/>
              <a:defRPr/>
            </a:lvl2pPr>
          </a:lstStyle>
          <a:p>
            <a:pPr lvl="0"/>
            <a:r>
              <a:rPr lang="en-US" dirty="0"/>
              <a:t>Edit Master text styles</a:t>
            </a:r>
          </a:p>
        </p:txBody>
      </p:sp>
    </p:spTree>
    <p:extLst>
      <p:ext uri="{BB962C8B-B14F-4D97-AF65-F5344CB8AC3E}">
        <p14:creationId xmlns:p14="http://schemas.microsoft.com/office/powerpoint/2010/main" val="34207733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4876800" y="0"/>
            <a:ext cx="7315200" cy="6324600"/>
          </a:xfrm>
        </p:spPr>
        <p:txBody>
          <a:bodyPr/>
          <a:lstStyle/>
          <a:p>
            <a:endParaRPr lang="en-US" dirty="0"/>
          </a:p>
        </p:txBody>
      </p:sp>
      <p:sp>
        <p:nvSpPr>
          <p:cNvPr id="10" name="Text Placeholder 9">
            <a:extLst>
              <a:ext uri="{FF2B5EF4-FFF2-40B4-BE49-F238E27FC236}">
                <a16:creationId xmlns:a16="http://schemas.microsoft.com/office/drawing/2014/main" id="{67EC31F5-38FD-4982-B65F-DC98AB6F41A6}"/>
              </a:ext>
            </a:extLst>
          </p:cNvPr>
          <p:cNvSpPr>
            <a:spLocks noGrp="1"/>
          </p:cNvSpPr>
          <p:nvPr>
            <p:ph type="body" sz="quarter" idx="12" hasCustomPrompt="1"/>
          </p:nvPr>
        </p:nvSpPr>
        <p:spPr>
          <a:xfrm>
            <a:off x="609600" y="1371600"/>
            <a:ext cx="3505200" cy="990600"/>
          </a:xfrm>
        </p:spPr>
        <p:txBody>
          <a:bodyPr>
            <a:noAutofit/>
          </a:bodyPr>
          <a:lstStyle>
            <a:lvl1pPr>
              <a:defRPr sz="7200">
                <a:solidFill>
                  <a:srgbClr val="0072BC"/>
                </a:solidFill>
              </a:defRPr>
            </a:lvl1pPr>
          </a:lstStyle>
          <a:p>
            <a:pPr lvl="0"/>
            <a:r>
              <a:rPr lang="en-US" dirty="0"/>
              <a:t>Big Fact</a:t>
            </a:r>
          </a:p>
        </p:txBody>
      </p:sp>
      <p:sp>
        <p:nvSpPr>
          <p:cNvPr id="14" name="Text Placeholder 13">
            <a:extLst>
              <a:ext uri="{FF2B5EF4-FFF2-40B4-BE49-F238E27FC236}">
                <a16:creationId xmlns:a16="http://schemas.microsoft.com/office/drawing/2014/main" id="{D92C42DC-2C17-40EC-BDEE-98CA1B851929}"/>
              </a:ext>
            </a:extLst>
          </p:cNvPr>
          <p:cNvSpPr>
            <a:spLocks noGrp="1"/>
          </p:cNvSpPr>
          <p:nvPr>
            <p:ph type="body" sz="quarter" idx="13"/>
          </p:nvPr>
        </p:nvSpPr>
        <p:spPr>
          <a:xfrm>
            <a:off x="1306649" y="2514600"/>
            <a:ext cx="2791218" cy="1524000"/>
          </a:xfrm>
        </p:spPr>
        <p:txBody>
          <a:bodyPr/>
          <a:lstStyle>
            <a:lvl1pPr algn="r">
              <a:defRPr/>
            </a:lvl1pPr>
            <a:lvl2pPr marL="230188" indent="0">
              <a:buNone/>
              <a:defRPr/>
            </a:lvl2pPr>
          </a:lstStyle>
          <a:p>
            <a:pPr lvl="0"/>
            <a:r>
              <a:rPr lang="en-US" dirty="0"/>
              <a:t>Edit Master text styles</a:t>
            </a:r>
          </a:p>
        </p:txBody>
      </p:sp>
    </p:spTree>
    <p:extLst>
      <p:ext uri="{BB962C8B-B14F-4D97-AF65-F5344CB8AC3E}">
        <p14:creationId xmlns:p14="http://schemas.microsoft.com/office/powerpoint/2010/main" val="31843059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ppendix Slid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2400">
                <a:solidFill>
                  <a:srgbClr val="333333"/>
                </a:solidFill>
                <a:latin typeface="Calibri" panose="020F0502020204030204" pitchFamily="34" charset="0"/>
              </a:defRPr>
            </a:lvl1pPr>
            <a:lvl2pPr marL="461963" indent="-231775">
              <a:buFont typeface="Arial" panose="020B0604020202020204" pitchFamily="34" charset="0"/>
              <a:buChar char="•"/>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5D930A23-EAF3-497F-8E4D-0179FF3F62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17892358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fidential">
    <p:spTree>
      <p:nvGrpSpPr>
        <p:cNvPr id="1" name=""/>
        <p:cNvGrpSpPr/>
        <p:nvPr/>
      </p:nvGrpSpPr>
      <p:grpSpPr>
        <a:xfrm>
          <a:off x="0" y="0"/>
          <a:ext cx="0" cy="0"/>
          <a:chOff x="0" y="0"/>
          <a:chExt cx="0" cy="0"/>
        </a:xfrm>
      </p:grpSpPr>
      <p:sp>
        <p:nvSpPr>
          <p:cNvPr id="5" name="TextBox 4"/>
          <p:cNvSpPr txBox="1"/>
          <p:nvPr userDrawn="1"/>
        </p:nvSpPr>
        <p:spPr>
          <a:xfrm>
            <a:off x="4845333" y="5954631"/>
            <a:ext cx="3168352" cy="461665"/>
          </a:xfrm>
          <a:prstGeom prst="rect">
            <a:avLst/>
          </a:prstGeom>
          <a:noFill/>
        </p:spPr>
        <p:txBody>
          <a:bodyPr wrap="square" rtlCol="0">
            <a:spAutoFit/>
          </a:bodyPr>
          <a:lstStyle/>
          <a:p>
            <a:pPr algn="ctr"/>
            <a:r>
              <a:rPr lang="en-US" sz="2400" dirty="0">
                <a:solidFill>
                  <a:srgbClr val="FF0000"/>
                </a:solidFill>
                <a:latin typeface="Myriad Pro Light" pitchFamily="34" charset="0"/>
              </a:rPr>
              <a:t>Confidential</a:t>
            </a:r>
          </a:p>
        </p:txBody>
      </p:sp>
      <p:sp>
        <p:nvSpPr>
          <p:cNvPr id="6" name="Slide Number Placeholder 5"/>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2400">
                <a:solidFill>
                  <a:srgbClr val="333333"/>
                </a:solidFill>
                <a:latin typeface="Calibri" panose="020F0502020204030204" pitchFamily="34" charset="0"/>
              </a:defRPr>
            </a:lvl1pPr>
            <a:lvl2pPr marL="461963" indent="-231775">
              <a:buFont typeface="Arial" panose="020B0604020202020204" pitchFamily="34" charset="0"/>
              <a:buChar char="•"/>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57B67CA4-A96E-4EB9-B3D9-131388AB3D9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232379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1" name="Title 10"/>
          <p:cNvSpPr>
            <a:spLocks noGrp="1"/>
          </p:cNvSpPr>
          <p:nvPr>
            <p:ph type="title"/>
          </p:nvPr>
        </p:nvSpPr>
        <p:spPr>
          <a:xfrm>
            <a:off x="914400" y="2130552"/>
            <a:ext cx="10363200" cy="914400"/>
          </a:xfrm>
        </p:spPr>
        <p:txBody>
          <a:bodyPr/>
          <a:lstStyle>
            <a:lvl1pPr>
              <a:defRPr sz="4000"/>
            </a:lvl1pPr>
          </a:lstStyle>
          <a:p>
            <a:r>
              <a:rPr lang="en-US" dirty="0"/>
              <a:t>Click to edit Master title style</a:t>
            </a:r>
          </a:p>
        </p:txBody>
      </p:sp>
      <p:sp>
        <p:nvSpPr>
          <p:cNvPr id="15" name="Text Placeholder 14"/>
          <p:cNvSpPr>
            <a:spLocks noGrp="1"/>
          </p:cNvSpPr>
          <p:nvPr>
            <p:ph type="body" sz="quarter" idx="10" hasCustomPrompt="1"/>
          </p:nvPr>
        </p:nvSpPr>
        <p:spPr>
          <a:xfrm>
            <a:off x="914400" y="3886200"/>
            <a:ext cx="10363200" cy="1828800"/>
          </a:xfrm>
        </p:spPr>
        <p:txBody>
          <a:bodyPr>
            <a:normAutofit/>
          </a:bodyPr>
          <a:lstStyle>
            <a:lvl1pPr marL="0" indent="0">
              <a:buNone/>
              <a:defRPr sz="2800"/>
            </a:lvl1pPr>
          </a:lstStyle>
          <a:p>
            <a:pPr lvl="0"/>
            <a:r>
              <a:rPr lang="en-US" dirty="0"/>
              <a:t>Click to add subtitle</a:t>
            </a:r>
          </a:p>
        </p:txBody>
      </p:sp>
    </p:spTree>
    <p:extLst>
      <p:ext uri="{BB962C8B-B14F-4D97-AF65-F5344CB8AC3E}">
        <p14:creationId xmlns:p14="http://schemas.microsoft.com/office/powerpoint/2010/main" val="9665569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a:t>Click to edit Master title style</a:t>
            </a:r>
            <a:endParaRPr lang="en-US" dirty="0"/>
          </a:p>
        </p:txBody>
      </p:sp>
    </p:spTree>
    <p:extLst>
      <p:ext uri="{BB962C8B-B14F-4D97-AF65-F5344CB8AC3E}">
        <p14:creationId xmlns:p14="http://schemas.microsoft.com/office/powerpoint/2010/main" val="16277082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No Log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52567EB-E0F5-45D9-B008-D1999D3890B3}" type="slidenum">
              <a:rPr lang="en-US" smtClean="0"/>
              <a:pPr/>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a:t>Click to edit Master title style</a:t>
            </a:r>
            <a:endParaRPr lang="en-US" dirty="0"/>
          </a:p>
        </p:txBody>
      </p:sp>
    </p:spTree>
    <p:extLst>
      <p:ext uri="{BB962C8B-B14F-4D97-AF65-F5344CB8AC3E}">
        <p14:creationId xmlns:p14="http://schemas.microsoft.com/office/powerpoint/2010/main" val="2875206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122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07149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lvl1pPr>
              <a:defRPr>
                <a:latin typeface="メイリオ"/>
                <a:ea typeface="メイリオ"/>
                <a:cs typeface="メイリオ"/>
              </a:defRPr>
            </a:lvl1pPr>
            <a:lvl2pPr>
              <a:defRPr>
                <a:latin typeface="メイリオ"/>
                <a:ea typeface="メイリオ"/>
                <a:cs typeface="メイリオ"/>
              </a:defRPr>
            </a:lvl2pPr>
            <a:lvl3pPr>
              <a:defRPr>
                <a:latin typeface="メイリオ"/>
                <a:ea typeface="メイリオ"/>
                <a:cs typeface="メイリオ"/>
              </a:defRPr>
            </a:lvl3pPr>
            <a:lvl4pPr>
              <a:defRPr>
                <a:latin typeface="メイリオ"/>
                <a:ea typeface="メイリオ"/>
                <a:cs typeface="メイリオ"/>
              </a:defRPr>
            </a:lvl4pPr>
            <a:lvl5pPr>
              <a:defRPr>
                <a:latin typeface="メイリオ"/>
                <a:ea typeface="メイリオ"/>
                <a:cs typeface="メイリオ"/>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10"/>
          </p:nvPr>
        </p:nvSpPr>
        <p:spPr>
          <a:xfrm>
            <a:off x="609600" y="6356351"/>
            <a:ext cx="2844800" cy="365125"/>
          </a:xfrm>
          <a:prstGeom prst="rect">
            <a:avLst/>
          </a:prstGeom>
        </p:spPr>
        <p:txBody>
          <a:bodyPr/>
          <a:lstStyle/>
          <a:p>
            <a:endParaRPr lang="ja-JP" altLang="en-US" dirty="0"/>
          </a:p>
        </p:txBody>
      </p:sp>
      <p:sp>
        <p:nvSpPr>
          <p:cNvPr id="5" name="フッター プレースホルダー 4"/>
          <p:cNvSpPr>
            <a:spLocks noGrp="1"/>
          </p:cNvSpPr>
          <p:nvPr>
            <p:ph type="ftr" sz="quarter" idx="11"/>
          </p:nvPr>
        </p:nvSpPr>
        <p:spPr>
          <a:xfrm>
            <a:off x="4165600" y="6356351"/>
            <a:ext cx="3860800" cy="365125"/>
          </a:xfrm>
          <a:prstGeom prst="rect">
            <a:avLst/>
          </a:prstGeom>
        </p:spPr>
        <p:txBody>
          <a:bodyPr/>
          <a:lstStyle/>
          <a:p>
            <a:r>
              <a:rPr lang="en-US" altLang="ja-JP" dirty="0" smtClean="0"/>
              <a:t>Omron Internal Only</a:t>
            </a:r>
            <a:endParaRPr lang="ja-JP" altLang="en-US" dirty="0"/>
          </a:p>
        </p:txBody>
      </p:sp>
      <p:sp>
        <p:nvSpPr>
          <p:cNvPr id="7" name="タイトル 1"/>
          <p:cNvSpPr>
            <a:spLocks noGrp="1"/>
          </p:cNvSpPr>
          <p:nvPr>
            <p:ph type="title"/>
          </p:nvPr>
        </p:nvSpPr>
        <p:spPr>
          <a:xfrm>
            <a:off x="348997" y="70247"/>
            <a:ext cx="11887200" cy="747310"/>
          </a:xfrm>
        </p:spPr>
        <p:txBody>
          <a:bodyPr>
            <a:normAutofit/>
          </a:bodyPr>
          <a:lstStyle>
            <a:lvl1pPr algn="l">
              <a:defRPr sz="2800" b="1" i="0">
                <a:solidFill>
                  <a:srgbClr val="103DB6"/>
                </a:solidFill>
                <a:latin typeface="メイリオ"/>
                <a:ea typeface="メイリオ"/>
                <a:cs typeface="メイリオ"/>
              </a:defRPr>
            </a:lvl1pPr>
          </a:lstStyle>
          <a:p>
            <a:r>
              <a:rPr kumimoji="1" lang="ja-JP" altLang="en-US" dirty="0"/>
              <a:t>マスター タイトルの書式設定</a:t>
            </a:r>
          </a:p>
        </p:txBody>
      </p:sp>
    </p:spTree>
    <p:extLst>
      <p:ext uri="{BB962C8B-B14F-4D97-AF65-F5344CB8AC3E}">
        <p14:creationId xmlns:p14="http://schemas.microsoft.com/office/powerpoint/2010/main" val="40717946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Content">
    <p:bg>
      <p:bgRef idx="1001">
        <a:schemeClr val="bg1"/>
      </p:bgRef>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1000" y="990600"/>
            <a:ext cx="11430000" cy="50292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8" name="Title 7"/>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88309795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848" name="think-cell スライド" r:id="rId5" imgW="395" imgH="394" progId="TCLayout.ActiveDocument.1">
                  <p:embed/>
                </p:oleObj>
              </mc:Choice>
              <mc:Fallback>
                <p:oleObj name="think-cell スライド" r:id="rId5" imgW="395" imgH="394" progId="TCLayout.ActiveDocument.1">
                  <p:embed/>
                  <p:pic>
                    <p:nvPicPr>
                      <p:cNvPr id="2" name="オブジェクト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正方形/長方形 2" hidden="1"/>
          <p:cNvSpPr/>
          <p:nvPr userDrawn="1">
            <p:custDataLst>
              <p:tags r:id="rId3"/>
            </p:custDataLst>
          </p:nvPr>
        </p:nvSpPr>
        <p:spPr>
          <a:xfrm>
            <a:off x="0" y="0"/>
            <a:ext cx="195385" cy="158750"/>
          </a:xfrm>
          <a:prstGeom prst="rect">
            <a:avLst/>
          </a:prstGeom>
          <a:solidFill>
            <a:srgbClr val="FFFF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en-US" altLang="ja-JP" sz="2800" b="1" i="0" baseline="0" dirty="0" smtClean="0">
              <a:solidFill>
                <a:schemeClr val="tx1"/>
              </a:solidFill>
              <a:latin typeface="Meiryo UI"/>
              <a:ea typeface="Meiryo UI"/>
              <a:cs typeface="Meiryo UI"/>
              <a:sym typeface="Meiryo UI"/>
            </a:endParaRPr>
          </a:p>
        </p:txBody>
      </p:sp>
      <p:sp>
        <p:nvSpPr>
          <p:cNvPr id="5" name="タイトル 8"/>
          <p:cNvSpPr>
            <a:spLocks noGrp="1"/>
          </p:cNvSpPr>
          <p:nvPr>
            <p:ph type="title" hasCustomPrompt="1"/>
          </p:nvPr>
        </p:nvSpPr>
        <p:spPr>
          <a:xfrm>
            <a:off x="369495" y="188640"/>
            <a:ext cx="11608517" cy="531288"/>
          </a:xfrm>
          <a:prstGeom prst="rect">
            <a:avLst/>
          </a:prstGeom>
        </p:spPr>
        <p:txBody>
          <a:bodyPr vert="horz"/>
          <a:lstStyle>
            <a:lvl1pPr algn="l">
              <a:defRPr sz="2800" b="1" i="0">
                <a:solidFill>
                  <a:srgbClr val="005EB8"/>
                </a:solidFill>
                <a:latin typeface="Meiryo UI" panose="020B0604030504040204" pitchFamily="50" charset="-128"/>
                <a:ea typeface="Meiryo UI" panose="020B0604030504040204" pitchFamily="50" charset="-128"/>
                <a:cs typeface="Meiryo UI" panose="020B0604030504040204" pitchFamily="50" charset="-128"/>
              </a:defRPr>
            </a:lvl1pPr>
          </a:lstStyle>
          <a:p>
            <a:r>
              <a:rPr kumimoji="1" lang="en-US" altLang="ja-JP" dirty="0" smtClean="0"/>
              <a:t>Title </a:t>
            </a:r>
            <a:r>
              <a:rPr kumimoji="1" lang="ja-JP" altLang="en-US" dirty="0" smtClean="0"/>
              <a:t>タイトルがここに入ります。</a:t>
            </a:r>
            <a:endParaRPr kumimoji="1" lang="ja-JP" altLang="en-US" dirty="0"/>
          </a:p>
        </p:txBody>
      </p:sp>
      <p:sp>
        <p:nvSpPr>
          <p:cNvPr id="8" name="スライド番号プレースホルダー 3"/>
          <p:cNvSpPr txBox="1">
            <a:spLocks/>
          </p:cNvSpPr>
          <p:nvPr userDrawn="1"/>
        </p:nvSpPr>
        <p:spPr>
          <a:xfrm>
            <a:off x="9387646" y="6519875"/>
            <a:ext cx="2844800" cy="253894"/>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a:fld id="{E8BE4B8B-56DD-C042-B68B-6CBB684AA62B}" type="slidenum">
              <a:rPr lang="ja-JP" altLang="en-US" sz="1100" smtClean="0">
                <a:solidFill>
                  <a:prstClr val="black">
                    <a:lumMod val="50000"/>
                    <a:lumOff val="50000"/>
                  </a:prstClr>
                </a:solidFill>
                <a:latin typeface="Meiryo UI"/>
                <a:ea typeface="Meiryo UI"/>
                <a:cs typeface="HGP創英角ｺﾞｼｯｸUB"/>
                <a:sym typeface="Meiryo UI"/>
              </a:rPr>
              <a:pPr algn="r"/>
              <a:t>‹#›</a:t>
            </a:fld>
            <a:endParaRPr lang="ja-JP" altLang="en-US" sz="1100" dirty="0">
              <a:solidFill>
                <a:prstClr val="black">
                  <a:lumMod val="50000"/>
                  <a:lumOff val="50000"/>
                </a:prstClr>
              </a:solidFill>
              <a:latin typeface="Meiryo UI"/>
              <a:ea typeface="Meiryo UI"/>
              <a:cs typeface="HGP創英角ｺﾞｼｯｸUB"/>
              <a:sym typeface="Meiryo UI"/>
            </a:endParaRPr>
          </a:p>
        </p:txBody>
      </p:sp>
    </p:spTree>
    <p:extLst>
      <p:ext uri="{BB962C8B-B14F-4D97-AF65-F5344CB8AC3E}">
        <p14:creationId xmlns:p14="http://schemas.microsoft.com/office/powerpoint/2010/main" val="91881818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7"/>
            <a:ext cx="10363200" cy="1470025"/>
          </a:xfrm>
          <a:prstGeom prst="rect">
            <a:avLst/>
          </a:prstGeo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5" name="フッター プレースホルダー 4"/>
          <p:cNvSpPr>
            <a:spLocks noGrp="1"/>
          </p:cNvSpPr>
          <p:nvPr>
            <p:ph type="ftr" sz="quarter" idx="11"/>
          </p:nvPr>
        </p:nvSpPr>
        <p:spPr>
          <a:xfrm>
            <a:off x="4165600" y="6356352"/>
            <a:ext cx="38608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8737600" y="6356352"/>
            <a:ext cx="2844800" cy="365125"/>
          </a:xfrm>
          <a:prstGeom prst="rect">
            <a:avLst/>
          </a:prstGeom>
        </p:spPr>
        <p:txBody>
          <a:bodyPr/>
          <a:lstStyle/>
          <a:p>
            <a:fld id="{E8BE4B8B-56DD-C042-B68B-6CBB684AA62B}" type="slidenum">
              <a:rPr kumimoji="1" lang="ja-JP" altLang="en-US" smtClean="0"/>
              <a:t>‹#›</a:t>
            </a:fld>
            <a:endParaRPr kumimoji="1" lang="ja-JP" altLang="en-US"/>
          </a:p>
        </p:txBody>
      </p:sp>
      <p:sp>
        <p:nvSpPr>
          <p:cNvPr id="12" name="日付プレースホルダー 3"/>
          <p:cNvSpPr>
            <a:spLocks noGrp="1"/>
          </p:cNvSpPr>
          <p:nvPr>
            <p:ph type="dt" sz="half" idx="10"/>
          </p:nvPr>
        </p:nvSpPr>
        <p:spPr>
          <a:xfrm>
            <a:off x="609600" y="6356352"/>
            <a:ext cx="2844800" cy="365125"/>
          </a:xfrm>
          <a:prstGeom prst="rect">
            <a:avLst/>
          </a:prstGeom>
        </p:spPr>
        <p:txBody>
          <a:bodyPr/>
          <a:lstStyle/>
          <a:p>
            <a:fld id="{3B124274-D8C5-2448-B8A2-8D8CD0C506B4}" type="datetime1">
              <a:rPr kumimoji="1" lang="ja-JP" altLang="en-US" smtClean="0"/>
              <a:t>2021/9/28</a:t>
            </a:fld>
            <a:endParaRPr kumimoji="1" lang="ja-JP" altLang="en-US"/>
          </a:p>
        </p:txBody>
      </p:sp>
      <p:sp>
        <p:nvSpPr>
          <p:cNvPr id="13" name="Freeform 3"/>
          <p:cNvSpPr/>
          <p:nvPr userDrawn="1"/>
        </p:nvSpPr>
        <p:spPr>
          <a:xfrm>
            <a:off x="0" y="0"/>
            <a:ext cx="3407182" cy="6858000"/>
          </a:xfrm>
          <a:custGeom>
            <a:avLst/>
            <a:gdLst>
              <a:gd name="connsiteX0" fmla="*/ 0 w 2879991"/>
              <a:gd name="connsiteY0" fmla="*/ 7560005 h 7560005"/>
              <a:gd name="connsiteX1" fmla="*/ 2879991 w 2879991"/>
              <a:gd name="connsiteY1" fmla="*/ 7560005 h 7560005"/>
              <a:gd name="connsiteX2" fmla="*/ 2879991 w 2879991"/>
              <a:gd name="connsiteY2" fmla="*/ 0 h 7560005"/>
              <a:gd name="connsiteX3" fmla="*/ 0 w 2879991"/>
              <a:gd name="connsiteY3" fmla="*/ 0 h 7560005"/>
              <a:gd name="connsiteX4" fmla="*/ 0 w 2879991"/>
              <a:gd name="connsiteY4" fmla="*/ 7560005 h 7560005"/>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2879991" h="7560005">
                <a:moveTo>
                  <a:pt x="0" y="7560005"/>
                </a:moveTo>
                <a:lnTo>
                  <a:pt x="2879991" y="7560005"/>
                </a:lnTo>
                <a:lnTo>
                  <a:pt x="2879991" y="0"/>
                </a:lnTo>
                <a:lnTo>
                  <a:pt x="0" y="0"/>
                </a:lnTo>
                <a:lnTo>
                  <a:pt x="0" y="7560005"/>
                </a:lnTo>
              </a:path>
            </a:pathLst>
          </a:custGeom>
          <a:solidFill>
            <a:srgbClr val="005EB8"/>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4" name="TextBox 1"/>
          <p:cNvSpPr txBox="1"/>
          <p:nvPr userDrawn="1"/>
        </p:nvSpPr>
        <p:spPr>
          <a:xfrm>
            <a:off x="316449" y="6636643"/>
            <a:ext cx="1197123" cy="110287"/>
          </a:xfrm>
          <a:prstGeom prst="rect">
            <a:avLst/>
          </a:prstGeom>
          <a:noFill/>
        </p:spPr>
        <p:txBody>
          <a:bodyPr wrap="none" lIns="0" tIns="0" rIns="0" rtlCol="0">
            <a:spAutoFit/>
          </a:bodyPr>
          <a:lstStyle/>
          <a:p>
            <a:pPr>
              <a:lnSpc>
                <a:spcPts val="500"/>
              </a:lnSpc>
              <a:tabLst/>
            </a:pPr>
            <a:r>
              <a:rPr lang="en-US" altLang="zh-CN" sz="800" b="1" kern="0" spc="10" dirty="0" smtClean="0">
                <a:solidFill>
                  <a:srgbClr val="FFFFFF"/>
                </a:solidFill>
                <a:latin typeface="Arial" panose="020B0604020202020204" pitchFamily="34" charset="0"/>
                <a:ea typeface="HGP創英角ｺﾞｼｯｸUB"/>
                <a:cs typeface="Arial" panose="020B0604020202020204" pitchFamily="34" charset="0"/>
              </a:rPr>
              <a:t>©  OMRON  Corporation</a:t>
            </a:r>
          </a:p>
        </p:txBody>
      </p:sp>
      <p:pic>
        <p:nvPicPr>
          <p:cNvPr id="15" name="Picture 2"/>
          <p:cNvPicPr>
            <a:picLocks noChangeAspect="1" noChangeArrowheads="1"/>
          </p:cNvPicPr>
          <p:nvPr userDrawn="1"/>
        </p:nvPicPr>
        <p:blipFill>
          <a:blip r:embed="rId2">
            <a:extLst>
              <a:ext uri="{BEBA8EAE-BF5A-486C-A8C5-ECC9F3942E4B}">
                <a14:imgProps xmlns:a14="http://schemas.microsoft.com/office/drawing/2010/main">
                  <a14:imgLayer r:embed="rId3">
                    <a14:imgEffect>
                      <a14:backgroundRemoval t="21600" b="76800" l="6150" r="92781">
                        <a14:foregroundMark x1="18182" y1="31200" x2="18182" y2="31200"/>
                        <a14:foregroundMark x1="47326" y1="35200" x2="47326" y2="35200"/>
                        <a14:foregroundMark x1="66310" y1="35200" x2="66310" y2="35200"/>
                        <a14:foregroundMark x1="82086" y1="30400" x2="82086" y2="30400"/>
                      </a14:backgroundRemoval>
                    </a14:imgEffect>
                  </a14:imgLayer>
                </a14:imgProps>
              </a:ext>
              <a:ext uri="{28A0092B-C50C-407E-A947-70E740481C1C}">
                <a14:useLocalDpi xmlns:a14="http://schemas.microsoft.com/office/drawing/2010/main" val="0"/>
              </a:ext>
            </a:extLst>
          </a:blip>
          <a:srcRect/>
          <a:stretch>
            <a:fillRect/>
          </a:stretch>
        </p:blipFill>
        <p:spPr bwMode="auto">
          <a:xfrm>
            <a:off x="443077" y="2628000"/>
            <a:ext cx="2651375"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10744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a:prstGeom prst="rect">
            <a:avLst/>
          </a:prstGeom>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609600" y="1600202"/>
            <a:ext cx="10972800" cy="4525963"/>
          </a:xfrm>
          <a:prstGeom prst="rect">
            <a:avLst/>
          </a:prstGeo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a:xfrm>
            <a:off x="609600" y="6356352"/>
            <a:ext cx="2844800" cy="365125"/>
          </a:xfrm>
          <a:prstGeom prst="rect">
            <a:avLst/>
          </a:prstGeom>
        </p:spPr>
        <p:txBody>
          <a:bodyPr/>
          <a:lstStyle/>
          <a:p>
            <a:fld id="{DD538820-41F6-4930-9506-9CE3F59FF454}" type="datetimeFigureOut">
              <a:rPr kumimoji="1" lang="ja-JP" altLang="en-US" smtClean="0"/>
              <a:t>2021/9/28</a:t>
            </a:fld>
            <a:endParaRPr kumimoji="1" lang="ja-JP" altLang="en-US"/>
          </a:p>
        </p:txBody>
      </p:sp>
      <p:sp>
        <p:nvSpPr>
          <p:cNvPr id="5" name="フッター プレースホルダー 4"/>
          <p:cNvSpPr>
            <a:spLocks noGrp="1"/>
          </p:cNvSpPr>
          <p:nvPr>
            <p:ph type="ftr" sz="quarter" idx="11"/>
          </p:nvPr>
        </p:nvSpPr>
        <p:spPr>
          <a:xfrm>
            <a:off x="4165600" y="6356352"/>
            <a:ext cx="38608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8737600" y="6356352"/>
            <a:ext cx="2844800" cy="365125"/>
          </a:xfrm>
          <a:prstGeom prst="rect">
            <a:avLst/>
          </a:prstGeom>
        </p:spPr>
        <p:txBody>
          <a:bodyPr/>
          <a:lstStyle/>
          <a:p>
            <a:fld id="{1262497B-0C5D-4A32-BC9D-2CEE6C4ACF3E}" type="slidenum">
              <a:rPr kumimoji="1" lang="ja-JP" altLang="en-US" smtClean="0"/>
              <a:t>‹#›</a:t>
            </a:fld>
            <a:endParaRPr kumimoji="1" lang="ja-JP" altLang="en-US"/>
          </a:p>
        </p:txBody>
      </p:sp>
    </p:spTree>
    <p:extLst>
      <p:ext uri="{BB962C8B-B14F-4D97-AF65-F5344CB8AC3E}">
        <p14:creationId xmlns:p14="http://schemas.microsoft.com/office/powerpoint/2010/main" val="5431265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タイトルとコンテンツ">
    <p:spTree>
      <p:nvGrpSpPr>
        <p:cNvPr id="1" name=""/>
        <p:cNvGrpSpPr/>
        <p:nvPr/>
      </p:nvGrpSpPr>
      <p:grpSpPr>
        <a:xfrm>
          <a:off x="0" y="0"/>
          <a:ext cx="0" cy="0"/>
          <a:chOff x="0" y="0"/>
          <a:chExt cx="0" cy="0"/>
        </a:xfrm>
      </p:grpSpPr>
      <p:sp>
        <p:nvSpPr>
          <p:cNvPr id="7" name="タイトル 8"/>
          <p:cNvSpPr>
            <a:spLocks noGrp="1"/>
          </p:cNvSpPr>
          <p:nvPr>
            <p:ph type="title" hasCustomPrompt="1"/>
          </p:nvPr>
        </p:nvSpPr>
        <p:spPr>
          <a:xfrm>
            <a:off x="373946" y="344123"/>
            <a:ext cx="9754794" cy="508584"/>
          </a:xfrm>
          <a:prstGeom prst="rect">
            <a:avLst/>
          </a:prstGeom>
        </p:spPr>
        <p:txBody>
          <a:bodyPr vert="horz"/>
          <a:lstStyle>
            <a:lvl1pPr algn="l">
              <a:defRPr sz="3200" b="1">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kumimoji="1" lang="en-US" altLang="ja-JP" dirty="0" smtClean="0"/>
              <a:t>Title </a:t>
            </a:r>
            <a:r>
              <a:rPr kumimoji="1" lang="en-US" altLang="en-US" dirty="0" smtClean="0"/>
              <a:t>タイトル</a:t>
            </a:r>
            <a:endParaRPr kumimoji="1" lang="ja-JP" altLang="en-US" dirty="0"/>
          </a:p>
        </p:txBody>
      </p:sp>
      <p:sp>
        <p:nvSpPr>
          <p:cNvPr id="8" name="スライド番号プレースホルダー 3"/>
          <p:cNvSpPr txBox="1">
            <a:spLocks/>
          </p:cNvSpPr>
          <p:nvPr userDrawn="1"/>
        </p:nvSpPr>
        <p:spPr>
          <a:xfrm>
            <a:off x="11137700" y="6317507"/>
            <a:ext cx="738129" cy="190421"/>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a:fld id="{E8BE4B8B-56DD-C042-B68B-6CBB684AA62B}" type="slidenum">
              <a:rPr lang="ja-JP" altLang="en-US" sz="1100" smtClean="0">
                <a:solidFill>
                  <a:schemeClr val="bg1"/>
                </a:solidFill>
                <a:latin typeface="メイリオ"/>
                <a:ea typeface="メイリオ"/>
                <a:cs typeface="メイリオ"/>
              </a:rPr>
              <a:pPr algn="r"/>
              <a:t>‹#›</a:t>
            </a:fld>
            <a:endParaRPr lang="ja-JP" altLang="en-US" sz="1100" dirty="0">
              <a:solidFill>
                <a:schemeClr val="bg1"/>
              </a:solidFill>
              <a:latin typeface="メイリオ"/>
              <a:ea typeface="メイリオ"/>
              <a:cs typeface="メイリオ"/>
            </a:endParaRPr>
          </a:p>
        </p:txBody>
      </p:sp>
    </p:spTree>
    <p:extLst>
      <p:ext uri="{BB962C8B-B14F-4D97-AF65-F5344CB8AC3E}">
        <p14:creationId xmlns:p14="http://schemas.microsoft.com/office/powerpoint/2010/main" val="2172315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5334000" y="12396"/>
            <a:ext cx="6858000" cy="6236004"/>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5715000" y="566936"/>
            <a:ext cx="6477000" cy="576064"/>
          </a:xfrm>
        </p:spPr>
        <p:txBody>
          <a:bodyPr>
            <a:noAutofit/>
          </a:bodyPr>
          <a:lstStyle>
            <a:lvl1pPr>
              <a:defRPr sz="3600" b="0" spc="-15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715000" y="1295400"/>
            <a:ext cx="6477000" cy="4952999"/>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1"/>
            <a:ext cx="5181600" cy="6248400"/>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5715000"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097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sp>
        <p:nvSpPr>
          <p:cNvPr id="7" name="タイトル 8"/>
          <p:cNvSpPr>
            <a:spLocks noGrp="1"/>
          </p:cNvSpPr>
          <p:nvPr>
            <p:ph type="title" hasCustomPrompt="1"/>
          </p:nvPr>
        </p:nvSpPr>
        <p:spPr>
          <a:xfrm>
            <a:off x="373946" y="344123"/>
            <a:ext cx="9754794" cy="508584"/>
          </a:xfrm>
          <a:prstGeom prst="rect">
            <a:avLst/>
          </a:prstGeom>
        </p:spPr>
        <p:txBody>
          <a:bodyPr vert="horz"/>
          <a:lstStyle>
            <a:lvl1pPr algn="l">
              <a:defRPr sz="3200" b="1">
                <a:solidFill>
                  <a:srgbClr val="FFFFFF"/>
                </a:solidFill>
                <a:latin typeface="Meiryo UI" panose="020B0604030504040204" pitchFamily="50" charset="-128"/>
                <a:ea typeface="Meiryo UI" panose="020B0604030504040204" pitchFamily="50" charset="-128"/>
                <a:cs typeface="Meiryo UI" panose="020B0604030504040204" pitchFamily="50" charset="-128"/>
              </a:defRPr>
            </a:lvl1pPr>
          </a:lstStyle>
          <a:p>
            <a:r>
              <a:rPr kumimoji="1" lang="en-US" altLang="ja-JP" dirty="0" smtClean="0"/>
              <a:t>Title </a:t>
            </a:r>
            <a:r>
              <a:rPr kumimoji="1" lang="en-US" altLang="en-US" dirty="0" smtClean="0"/>
              <a:t>タイトル</a:t>
            </a:r>
            <a:endParaRPr kumimoji="1" lang="ja-JP" altLang="en-US" dirty="0"/>
          </a:p>
        </p:txBody>
      </p:sp>
      <p:sp>
        <p:nvSpPr>
          <p:cNvPr id="8" name="スライド番号プレースホルダー 3"/>
          <p:cNvSpPr txBox="1">
            <a:spLocks/>
          </p:cNvSpPr>
          <p:nvPr userDrawn="1"/>
        </p:nvSpPr>
        <p:spPr>
          <a:xfrm>
            <a:off x="11137700" y="6317507"/>
            <a:ext cx="738129" cy="190421"/>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a:fld id="{E8BE4B8B-56DD-C042-B68B-6CBB684AA62B}" type="slidenum">
              <a:rPr lang="ja-JP" altLang="en-US" sz="1100" smtClean="0">
                <a:solidFill>
                  <a:schemeClr val="bg1"/>
                </a:solidFill>
                <a:latin typeface="メイリオ"/>
                <a:ea typeface="メイリオ"/>
                <a:cs typeface="メイリオ"/>
              </a:rPr>
              <a:pPr algn="r"/>
              <a:t>‹#›</a:t>
            </a:fld>
            <a:endParaRPr lang="ja-JP" altLang="en-US" sz="1100" dirty="0">
              <a:solidFill>
                <a:schemeClr val="bg1"/>
              </a:solidFill>
              <a:latin typeface="メイリオ"/>
              <a:ea typeface="メイリオ"/>
              <a:cs typeface="メイリオ"/>
            </a:endParaRPr>
          </a:p>
        </p:txBody>
      </p:sp>
    </p:spTree>
    <p:extLst>
      <p:ext uri="{BB962C8B-B14F-4D97-AF65-F5344CB8AC3E}">
        <p14:creationId xmlns:p14="http://schemas.microsoft.com/office/powerpoint/2010/main" val="5826858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grpSp>
        <p:nvGrpSpPr>
          <p:cNvPr id="27" name="Group 26">
            <a:extLst>
              <a:ext uri="{FF2B5EF4-FFF2-40B4-BE49-F238E27FC236}">
                <a16:creationId xmlns:a16="http://schemas.microsoft.com/office/drawing/2014/main" id="{E1DF8491-8798-47C1-BC07-71BE24EEB1B0}"/>
              </a:ext>
            </a:extLst>
          </p:cNvPr>
          <p:cNvGrpSpPr/>
          <p:nvPr/>
        </p:nvGrpSpPr>
        <p:grpSpPr>
          <a:xfrm>
            <a:off x="-9699" y="3733801"/>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718301" y="4159341"/>
            <a:ext cx="10787899"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685799" y="5100983"/>
            <a:ext cx="10787899"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1" y="0"/>
            <a:ext cx="12200467" cy="358140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229063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1" name="Title 10"/>
          <p:cNvSpPr>
            <a:spLocks noGrp="1"/>
          </p:cNvSpPr>
          <p:nvPr>
            <p:ph type="title"/>
          </p:nvPr>
        </p:nvSpPr>
        <p:spPr>
          <a:xfrm>
            <a:off x="914400" y="2130552"/>
            <a:ext cx="10363200" cy="914400"/>
          </a:xfrm>
        </p:spPr>
        <p:txBody>
          <a:bodyPr/>
          <a:lstStyle>
            <a:lvl1pPr>
              <a:defRPr sz="5333"/>
            </a:lvl1pPr>
          </a:lstStyle>
          <a:p>
            <a:r>
              <a:rPr lang="en-US" smtClean="0"/>
              <a:t>Click to edit Master title style</a:t>
            </a:r>
            <a:endParaRPr lang="en-US" dirty="0"/>
          </a:p>
        </p:txBody>
      </p:sp>
      <p:sp>
        <p:nvSpPr>
          <p:cNvPr id="15" name="Text Placeholder 14"/>
          <p:cNvSpPr>
            <a:spLocks noGrp="1"/>
          </p:cNvSpPr>
          <p:nvPr>
            <p:ph type="body" sz="quarter" idx="10" hasCustomPrompt="1"/>
          </p:nvPr>
        </p:nvSpPr>
        <p:spPr>
          <a:xfrm>
            <a:off x="914400" y="3886200"/>
            <a:ext cx="10363200" cy="1828800"/>
          </a:xfrm>
        </p:spPr>
        <p:txBody>
          <a:bodyPr>
            <a:normAutofit/>
          </a:bodyPr>
          <a:lstStyle>
            <a:lvl1pPr marL="0" indent="0">
              <a:buNone/>
              <a:defRPr sz="3733"/>
            </a:lvl1pPr>
          </a:lstStyle>
          <a:p>
            <a:pPr lvl="0"/>
            <a:r>
              <a:rPr lang="en-US" dirty="0"/>
              <a:t>Click to add subtitle</a:t>
            </a:r>
          </a:p>
        </p:txBody>
      </p:sp>
    </p:spTree>
    <p:extLst>
      <p:ext uri="{BB962C8B-B14F-4D97-AF65-F5344CB8AC3E}">
        <p14:creationId xmlns:p14="http://schemas.microsoft.com/office/powerpoint/2010/main" val="474168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6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p:nvSpPr>
        <p:spPr>
          <a:xfrm>
            <a:off x="5334000" y="12397"/>
            <a:ext cx="6858000" cy="6236004"/>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2" name="Title 1"/>
          <p:cNvSpPr>
            <a:spLocks noGrp="1"/>
          </p:cNvSpPr>
          <p:nvPr>
            <p:ph type="title"/>
          </p:nvPr>
        </p:nvSpPr>
        <p:spPr>
          <a:xfrm>
            <a:off x="5715000" y="566936"/>
            <a:ext cx="6477000" cy="576064"/>
          </a:xfrm>
        </p:spPr>
        <p:txBody>
          <a:bodyPr>
            <a:noAutofit/>
          </a:bodyPr>
          <a:lstStyle>
            <a:lvl1pPr>
              <a:defRPr sz="4800" b="0" spc="-20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5715000" y="1295400"/>
            <a:ext cx="6477000" cy="4953000"/>
          </a:xfrm>
        </p:spPr>
        <p:txBody>
          <a:bodyPr>
            <a:normAutofit/>
          </a:bodyPr>
          <a:lstStyle>
            <a:lvl1pPr>
              <a:defRPr sz="3200">
                <a:solidFill>
                  <a:schemeClr val="bg1"/>
                </a:solidFill>
                <a:latin typeface="Calibri" panose="020F0502020204030204" pitchFamily="34" charset="0"/>
              </a:defRPr>
            </a:lvl1pPr>
            <a:lvl2pPr marL="615935" indent="-309026">
              <a:buFont typeface="Arial" panose="020B0604020202020204" pitchFamily="34" charset="0"/>
              <a:buChar char="•"/>
              <a:defRPr sz="2667">
                <a:solidFill>
                  <a:schemeClr val="bg1"/>
                </a:solidFill>
                <a:latin typeface="Calibri" panose="020F0502020204030204" pitchFamily="34" charset="0"/>
              </a:defRPr>
            </a:lvl2pPr>
            <a:lvl3pPr marL="1221287" indent="-302676">
              <a:buFont typeface="Myriad Pro" pitchFamily="34" charset="0"/>
              <a:buChar char="º"/>
              <a:defRPr lang="en-US" sz="2667" kern="1200" dirty="0" smtClean="0">
                <a:solidFill>
                  <a:schemeClr val="bg1"/>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chemeClr val="bg1"/>
                </a:solidFill>
                <a:latin typeface="Calibri" panose="020F0502020204030204" pitchFamily="34" charset="0"/>
              </a:defRPr>
            </a:lvl4pPr>
            <a:lvl5pPr marL="2440456" indent="-302676">
              <a:buFont typeface="Arial" panose="020B0604020202020204" pitchFamily="34" charset="0"/>
              <a:buChar char="‒"/>
              <a:defRPr sz="2667">
                <a:solidFill>
                  <a:schemeClr val="bg1"/>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1"/>
            <a:ext cx="5181600" cy="6248400"/>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p:nvCxnSpPr>
        <p:spPr>
          <a:xfrm>
            <a:off x="5715000"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02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7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p:nvSpPr>
        <p:spPr>
          <a:xfrm>
            <a:off x="0" y="12396"/>
            <a:ext cx="68580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2" name="Title 1"/>
          <p:cNvSpPr>
            <a:spLocks noGrp="1"/>
          </p:cNvSpPr>
          <p:nvPr>
            <p:ph type="title"/>
          </p:nvPr>
        </p:nvSpPr>
        <p:spPr>
          <a:xfrm>
            <a:off x="76200" y="566936"/>
            <a:ext cx="6477000" cy="576064"/>
          </a:xfrm>
        </p:spPr>
        <p:txBody>
          <a:bodyPr>
            <a:noAutofit/>
          </a:bodyPr>
          <a:lstStyle>
            <a:lvl1pPr>
              <a:defRPr sz="4800" b="0" spc="-20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76200" y="1295400"/>
            <a:ext cx="6477000" cy="4953000"/>
          </a:xfrm>
        </p:spPr>
        <p:txBody>
          <a:bodyPr>
            <a:normAutofit/>
          </a:bodyPr>
          <a:lstStyle>
            <a:lvl1pPr>
              <a:defRPr sz="3200">
                <a:solidFill>
                  <a:schemeClr val="bg1"/>
                </a:solidFill>
                <a:latin typeface="Calibri" panose="020F0502020204030204" pitchFamily="34" charset="0"/>
              </a:defRPr>
            </a:lvl1pPr>
            <a:lvl2pPr marL="615935" indent="-309026">
              <a:buFont typeface="Arial" panose="020B0604020202020204" pitchFamily="34" charset="0"/>
              <a:buChar char="•"/>
              <a:defRPr sz="2667">
                <a:solidFill>
                  <a:schemeClr val="bg1"/>
                </a:solidFill>
                <a:latin typeface="Calibri" panose="020F0502020204030204" pitchFamily="34" charset="0"/>
              </a:defRPr>
            </a:lvl2pPr>
            <a:lvl3pPr marL="1221287" indent="-302676">
              <a:buFont typeface="Myriad Pro" pitchFamily="34" charset="0"/>
              <a:buChar char="º"/>
              <a:defRPr lang="en-US" sz="2667" kern="1200" dirty="0" smtClean="0">
                <a:solidFill>
                  <a:schemeClr val="bg1"/>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chemeClr val="bg1"/>
                </a:solidFill>
                <a:latin typeface="Calibri" panose="020F0502020204030204" pitchFamily="34" charset="0"/>
              </a:defRPr>
            </a:lvl4pPr>
            <a:lvl5pPr marL="2440456" indent="-302676">
              <a:buFont typeface="Arial" panose="020B0604020202020204" pitchFamily="34" charset="0"/>
              <a:buChar char="‒"/>
              <a:defRPr sz="2667">
                <a:solidFill>
                  <a:schemeClr val="bg1"/>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010400" y="1"/>
            <a:ext cx="5181600" cy="6248400"/>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p:nvCxnSpPr>
        <p:spPr>
          <a:xfrm>
            <a:off x="76201"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5113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443728"/>
          </a:xfrm>
        </p:spPr>
        <p:txBody>
          <a:bodyPr>
            <a:normAutofit/>
          </a:bodyPr>
          <a:lstStyle>
            <a:lvl1pPr marL="0" indent="0">
              <a:buFont typeface="Arial" panose="020B0604020202020204" pitchFamily="34" charset="0"/>
              <a:buNone/>
              <a:defRPr sz="3200">
                <a:solidFill>
                  <a:srgbClr val="333333"/>
                </a:solidFill>
                <a:latin typeface="Calibri" panose="020F0502020204030204" pitchFamily="34" charset="0"/>
              </a:defRPr>
            </a:lvl1pPr>
            <a:lvl2pPr marL="615935" indent="-309026">
              <a:buFont typeface="Arial" panose="020B0604020202020204" pitchFamily="34" charset="0"/>
              <a:buChar char="•"/>
              <a:tabLst>
                <a:tab pos="457189" algn="l"/>
                <a:tab pos="1140855" algn="l"/>
                <a:tab pos="1676358" algn="l"/>
                <a:tab pos="2131431" algn="l"/>
              </a:tabLst>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51340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8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p:nvSpPr>
        <p:spPr>
          <a:xfrm>
            <a:off x="2971800" y="12396"/>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2" name="Title 1"/>
          <p:cNvSpPr>
            <a:spLocks noGrp="1"/>
          </p:cNvSpPr>
          <p:nvPr>
            <p:ph type="title"/>
          </p:nvPr>
        </p:nvSpPr>
        <p:spPr>
          <a:xfrm>
            <a:off x="3484035" y="566936"/>
            <a:ext cx="8707967" cy="576064"/>
          </a:xfrm>
        </p:spPr>
        <p:txBody>
          <a:bodyPr>
            <a:noAutofit/>
          </a:bodyPr>
          <a:lstStyle>
            <a:lvl1pPr>
              <a:defRPr sz="4800" b="0" spc="-20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484035" y="1295400"/>
            <a:ext cx="8707967" cy="4953000"/>
          </a:xfrm>
        </p:spPr>
        <p:txBody>
          <a:bodyPr>
            <a:normAutofit/>
          </a:bodyPr>
          <a:lstStyle>
            <a:lvl1pPr>
              <a:defRPr sz="3200">
                <a:solidFill>
                  <a:schemeClr val="bg1"/>
                </a:solidFill>
                <a:latin typeface="Calibri" panose="020F0502020204030204" pitchFamily="34" charset="0"/>
              </a:defRPr>
            </a:lvl1pPr>
            <a:lvl2pPr marL="615935" indent="-309026">
              <a:buFont typeface="Arial" panose="020B0604020202020204" pitchFamily="34" charset="0"/>
              <a:buChar char="•"/>
              <a:defRPr sz="2667">
                <a:solidFill>
                  <a:schemeClr val="bg1"/>
                </a:solidFill>
                <a:latin typeface="Calibri" panose="020F0502020204030204" pitchFamily="34" charset="0"/>
              </a:defRPr>
            </a:lvl2pPr>
            <a:lvl3pPr marL="1221287" indent="-302676">
              <a:buFont typeface="Myriad Pro" pitchFamily="34" charset="0"/>
              <a:buChar char="º"/>
              <a:defRPr lang="en-US" sz="2667" kern="1200" dirty="0" smtClean="0">
                <a:solidFill>
                  <a:schemeClr val="bg1"/>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chemeClr val="bg1"/>
                </a:solidFill>
                <a:latin typeface="Calibri" panose="020F0502020204030204" pitchFamily="34" charset="0"/>
              </a:defRPr>
            </a:lvl4pPr>
            <a:lvl5pPr marL="2440456" indent="-302676">
              <a:buFont typeface="Arial" panose="020B0604020202020204" pitchFamily="34" charset="0"/>
              <a:buChar char="‒"/>
              <a:defRPr sz="2667">
                <a:solidFill>
                  <a:schemeClr val="bg1"/>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p:nvCxnSpPr>
        <p:spPr>
          <a:xfrm>
            <a:off x="3581402"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Picture Placeholder 8">
            <a:extLst>
              <a:ext uri="{FF2B5EF4-FFF2-40B4-BE49-F238E27FC236}">
                <a16:creationId xmlns:a16="http://schemas.microsoft.com/office/drawing/2014/main" id="{C0A96344-4730-41AF-80F5-414671E9FAEE}"/>
              </a:ext>
            </a:extLst>
          </p:cNvPr>
          <p:cNvSpPr>
            <a:spLocks noGrp="1"/>
          </p:cNvSpPr>
          <p:nvPr>
            <p:ph type="pic" sz="quarter" idx="11"/>
          </p:nvPr>
        </p:nvSpPr>
        <p:spPr>
          <a:xfrm>
            <a:off x="0" y="2661563"/>
            <a:ext cx="2799792" cy="3586839"/>
          </a:xfrm>
        </p:spPr>
        <p:txBody>
          <a:bodyPr/>
          <a:lstStyle/>
          <a:p>
            <a:r>
              <a:rPr lang="en-US" dirty="0" smtClean="0"/>
              <a:t>Click icon to add picture</a:t>
            </a:r>
            <a:endParaRPr lang="en-US" dirty="0"/>
          </a:p>
        </p:txBody>
      </p:sp>
      <p:sp>
        <p:nvSpPr>
          <p:cNvPr id="13" name="Picture Placeholder 8">
            <a:extLst>
              <a:ext uri="{FF2B5EF4-FFF2-40B4-BE49-F238E27FC236}">
                <a16:creationId xmlns:a16="http://schemas.microsoft.com/office/drawing/2014/main" id="{01EEE639-A46A-4799-BE78-D82C2A1C6287}"/>
              </a:ext>
            </a:extLst>
          </p:cNvPr>
          <p:cNvSpPr>
            <a:spLocks noGrp="1"/>
          </p:cNvSpPr>
          <p:nvPr>
            <p:ph type="pic" sz="quarter" idx="12"/>
          </p:nvPr>
        </p:nvSpPr>
        <p:spPr>
          <a:xfrm>
            <a:off x="7199" y="7717"/>
            <a:ext cx="2799792" cy="2506884"/>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9809145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9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p:nvSpPr>
        <p:spPr>
          <a:xfrm>
            <a:off x="2971800" y="12396"/>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2" name="Title 1"/>
          <p:cNvSpPr>
            <a:spLocks noGrp="1"/>
          </p:cNvSpPr>
          <p:nvPr>
            <p:ph type="title"/>
          </p:nvPr>
        </p:nvSpPr>
        <p:spPr>
          <a:xfrm>
            <a:off x="3484035" y="566936"/>
            <a:ext cx="8707967" cy="576064"/>
          </a:xfrm>
        </p:spPr>
        <p:txBody>
          <a:bodyPr>
            <a:noAutofit/>
          </a:bodyPr>
          <a:lstStyle>
            <a:lvl1pPr>
              <a:defRPr sz="4800" b="0" spc="-200">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484035" y="1295400"/>
            <a:ext cx="8707967" cy="4953000"/>
          </a:xfrm>
        </p:spPr>
        <p:txBody>
          <a:bodyPr>
            <a:normAutofit/>
          </a:bodyPr>
          <a:lstStyle>
            <a:lvl1pPr>
              <a:defRPr sz="3200">
                <a:solidFill>
                  <a:schemeClr val="bg1"/>
                </a:solidFill>
                <a:latin typeface="Calibri" panose="020F0502020204030204" pitchFamily="34" charset="0"/>
              </a:defRPr>
            </a:lvl1pPr>
            <a:lvl2pPr marL="615935" indent="-309026">
              <a:buFont typeface="Arial" panose="020B0604020202020204" pitchFamily="34" charset="0"/>
              <a:buChar char="•"/>
              <a:defRPr sz="2667">
                <a:solidFill>
                  <a:schemeClr val="bg1"/>
                </a:solidFill>
                <a:latin typeface="Calibri" panose="020F0502020204030204" pitchFamily="34" charset="0"/>
              </a:defRPr>
            </a:lvl2pPr>
            <a:lvl3pPr marL="1221287" indent="-302676">
              <a:buFont typeface="Myriad Pro" pitchFamily="34" charset="0"/>
              <a:buChar char="º"/>
              <a:defRPr lang="en-US" sz="2667" kern="1200" dirty="0" smtClean="0">
                <a:solidFill>
                  <a:schemeClr val="bg1"/>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chemeClr val="bg1"/>
                </a:solidFill>
                <a:latin typeface="Calibri" panose="020F0502020204030204" pitchFamily="34" charset="0"/>
              </a:defRPr>
            </a:lvl4pPr>
            <a:lvl5pPr marL="2440456" indent="-302676">
              <a:buFont typeface="Arial" panose="020B0604020202020204" pitchFamily="34" charset="0"/>
              <a:buChar char="‒"/>
              <a:defRPr sz="2667">
                <a:solidFill>
                  <a:schemeClr val="bg1"/>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p:nvCxnSpPr>
        <p:spPr>
          <a:xfrm>
            <a:off x="3581402"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B406A129-D357-4EB6-9CF5-BC76B7676E9B}"/>
              </a:ext>
            </a:extLst>
          </p:cNvPr>
          <p:cNvSpPr>
            <a:spLocks noGrp="1"/>
          </p:cNvSpPr>
          <p:nvPr>
            <p:ph type="pic" sz="quarter" idx="12"/>
          </p:nvPr>
        </p:nvSpPr>
        <p:spPr>
          <a:xfrm>
            <a:off x="-7345" y="1"/>
            <a:ext cx="2801957" cy="2008743"/>
          </a:xfrm>
        </p:spPr>
        <p:txBody>
          <a:bodyPr/>
          <a:lstStyle/>
          <a:p>
            <a:r>
              <a:rPr lang="en-US" dirty="0" smtClean="0"/>
              <a:t>Click icon to add picture</a:t>
            </a:r>
            <a:endParaRPr lang="en-US" dirty="0"/>
          </a:p>
        </p:txBody>
      </p:sp>
      <p:sp>
        <p:nvSpPr>
          <p:cNvPr id="15" name="Picture Placeholder 8">
            <a:extLst>
              <a:ext uri="{FF2B5EF4-FFF2-40B4-BE49-F238E27FC236}">
                <a16:creationId xmlns:a16="http://schemas.microsoft.com/office/drawing/2014/main" id="{B706C461-E91E-446B-970C-8757721B77A9}"/>
              </a:ext>
            </a:extLst>
          </p:cNvPr>
          <p:cNvSpPr>
            <a:spLocks noGrp="1"/>
          </p:cNvSpPr>
          <p:nvPr>
            <p:ph type="pic" sz="quarter" idx="13"/>
          </p:nvPr>
        </p:nvSpPr>
        <p:spPr>
          <a:xfrm>
            <a:off x="-7345" y="4239658"/>
            <a:ext cx="2801957" cy="2008743"/>
          </a:xfrm>
        </p:spPr>
        <p:txBody>
          <a:bodyPr/>
          <a:lstStyle/>
          <a:p>
            <a:r>
              <a:rPr lang="en-US" dirty="0" smtClean="0"/>
              <a:t>Click icon to add picture</a:t>
            </a:r>
            <a:endParaRPr lang="en-US" dirty="0"/>
          </a:p>
        </p:txBody>
      </p:sp>
      <p:sp>
        <p:nvSpPr>
          <p:cNvPr id="16" name="Picture Placeholder 8">
            <a:extLst>
              <a:ext uri="{FF2B5EF4-FFF2-40B4-BE49-F238E27FC236}">
                <a16:creationId xmlns:a16="http://schemas.microsoft.com/office/drawing/2014/main" id="{EB32A8AB-C6F2-41F0-96FE-E4BFE9855FC9}"/>
              </a:ext>
            </a:extLst>
          </p:cNvPr>
          <p:cNvSpPr>
            <a:spLocks noGrp="1"/>
          </p:cNvSpPr>
          <p:nvPr>
            <p:ph type="pic" sz="quarter" idx="14"/>
          </p:nvPr>
        </p:nvSpPr>
        <p:spPr>
          <a:xfrm>
            <a:off x="-7345" y="2119830"/>
            <a:ext cx="2801957" cy="2008743"/>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3784845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4800" b="0" spc="-2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352800" y="960321"/>
            <a:ext cx="8534400" cy="5288081"/>
          </a:xfrm>
        </p:spPr>
        <p:txBody>
          <a:bodyPr>
            <a:normAutofit/>
          </a:bodyPr>
          <a:lstStyle>
            <a:lvl1pPr>
              <a:defRPr sz="3200">
                <a:solidFill>
                  <a:srgbClr val="59595B"/>
                </a:solidFill>
                <a:latin typeface="Calibri" panose="020F0502020204030204" pitchFamily="34" charset="0"/>
              </a:defRPr>
            </a:lvl1pPr>
            <a:lvl2pPr marL="615935" indent="-309026">
              <a:buFont typeface="Arial" panose="020B0604020202020204" pitchFamily="34" charset="0"/>
              <a:buChar char="•"/>
              <a:defRPr sz="2667">
                <a:solidFill>
                  <a:srgbClr val="59595B"/>
                </a:solidFill>
                <a:latin typeface="Calibri" panose="020F0502020204030204" pitchFamily="34" charset="0"/>
              </a:defRPr>
            </a:lvl2pPr>
            <a:lvl3pPr marL="1221287" indent="-302676">
              <a:buFont typeface="Myriad Pro" pitchFamily="34" charset="0"/>
              <a:buChar char="º"/>
              <a:defRPr lang="en-US" sz="2667"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59595B"/>
                </a:solidFill>
                <a:latin typeface="Calibri" panose="020F0502020204030204" pitchFamily="34" charset="0"/>
              </a:defRPr>
            </a:lvl4pPr>
            <a:lvl5pPr marL="2440456" indent="-302676">
              <a:buFont typeface="Arial" panose="020B0604020202020204" pitchFamily="34" charset="0"/>
              <a:buChar char="‒"/>
              <a:defRPr sz="2667">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2661563"/>
            <a:ext cx="2799792" cy="3586839"/>
          </a:xfrm>
        </p:spPr>
        <p:txBody>
          <a:bodyPr/>
          <a:lstStyle/>
          <a:p>
            <a:r>
              <a:rPr lang="en-US" dirty="0" smtClean="0"/>
              <a:t>Click icon to add picture</a:t>
            </a:r>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199" y="7716"/>
            <a:ext cx="2799792" cy="2514600"/>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24328251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4800" b="0" spc="-2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352800" y="960321"/>
            <a:ext cx="8534400" cy="5288081"/>
          </a:xfrm>
        </p:spPr>
        <p:txBody>
          <a:bodyPr>
            <a:normAutofit/>
          </a:bodyPr>
          <a:lstStyle>
            <a:lvl1pPr>
              <a:defRPr sz="3200">
                <a:solidFill>
                  <a:srgbClr val="59595B"/>
                </a:solidFill>
                <a:latin typeface="Calibri" panose="020F0502020204030204" pitchFamily="34" charset="0"/>
              </a:defRPr>
            </a:lvl1pPr>
            <a:lvl2pPr marL="615935" indent="-309026">
              <a:buFont typeface="Arial" panose="020B0604020202020204" pitchFamily="34" charset="0"/>
              <a:buChar char="•"/>
              <a:defRPr sz="2667">
                <a:solidFill>
                  <a:srgbClr val="59595B"/>
                </a:solidFill>
                <a:latin typeface="Calibri" panose="020F0502020204030204" pitchFamily="34" charset="0"/>
              </a:defRPr>
            </a:lvl2pPr>
            <a:lvl3pPr marL="1221287" indent="-302676">
              <a:buFont typeface="Myriad Pro" pitchFamily="34" charset="0"/>
              <a:buChar char="º"/>
              <a:defRPr lang="en-US" sz="2667"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59595B"/>
                </a:solidFill>
                <a:latin typeface="Calibri" panose="020F0502020204030204" pitchFamily="34" charset="0"/>
              </a:defRPr>
            </a:lvl4pPr>
            <a:lvl5pPr marL="2440456" indent="-302676">
              <a:buFont typeface="Arial" panose="020B0604020202020204" pitchFamily="34" charset="0"/>
              <a:buChar char="‒"/>
              <a:defRPr sz="2667">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1"/>
            <a:ext cx="2801957" cy="2008743"/>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3"/>
          </a:xfrm>
        </p:spPr>
        <p:txBody>
          <a:bodyPr/>
          <a:lstStyle/>
          <a:p>
            <a:r>
              <a:rPr lang="en-US" dirty="0" smtClean="0"/>
              <a:t>Click icon to add picture</a:t>
            </a:r>
            <a:endParaRPr lang="en-US" dirty="0"/>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30"/>
            <a:ext cx="2801957" cy="2008743"/>
          </a:xfrm>
        </p:spPr>
        <p:txBody>
          <a:bodyPr/>
          <a:lstStyle/>
          <a:p>
            <a:r>
              <a:rPr lang="en-US" dirty="0" smtClean="0"/>
              <a:t>Click icon to add picture</a:t>
            </a:r>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4154315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7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0" y="12395"/>
            <a:ext cx="68580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76200" y="566936"/>
            <a:ext cx="6477000" cy="576064"/>
          </a:xfrm>
        </p:spPr>
        <p:txBody>
          <a:bodyPr>
            <a:noAutofit/>
          </a:bodyPr>
          <a:lstStyle>
            <a:lvl1pPr>
              <a:defRPr sz="3600" b="0" spc="-15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76200" y="1295400"/>
            <a:ext cx="6477000"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010400" y="1"/>
            <a:ext cx="5181600" cy="6248400"/>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76201"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9882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D42F4F2C-3E91-4981-8D29-DEDB021270E7}"/>
              </a:ext>
            </a:extLst>
          </p:cNvPr>
          <p:cNvSpPr>
            <a:spLocks noGrp="1"/>
          </p:cNvSpPr>
          <p:nvPr>
            <p:ph sz="quarter" idx="16"/>
          </p:nvPr>
        </p:nvSpPr>
        <p:spPr>
          <a:xfrm>
            <a:off x="5791200" y="854076"/>
            <a:ext cx="6248400" cy="53943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smtClean="0"/>
              <a:t>Click to edit Master title style</a:t>
            </a:r>
            <a:endParaRPr lang="en-US"/>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6" name="Picture Placeholder 8">
            <a:extLst>
              <a:ext uri="{FF2B5EF4-FFF2-40B4-BE49-F238E27FC236}">
                <a16:creationId xmlns:a16="http://schemas.microsoft.com/office/drawing/2014/main" id="{C15E4B71-17DA-45A8-9B4C-B9537719C432}"/>
              </a:ext>
            </a:extLst>
          </p:cNvPr>
          <p:cNvSpPr>
            <a:spLocks noGrp="1"/>
          </p:cNvSpPr>
          <p:nvPr>
            <p:ph type="pic" sz="quarter" idx="12"/>
          </p:nvPr>
        </p:nvSpPr>
        <p:spPr>
          <a:xfrm>
            <a:off x="-7345" y="1"/>
            <a:ext cx="2801957" cy="2008743"/>
          </a:xfrm>
        </p:spPr>
        <p:txBody>
          <a:bodyPr/>
          <a:lstStyle/>
          <a:p>
            <a:r>
              <a:rPr lang="en-US" dirty="0" smtClean="0"/>
              <a:t>Click icon to add picture</a:t>
            </a:r>
            <a:endParaRPr lang="en-US" dirty="0"/>
          </a:p>
        </p:txBody>
      </p:sp>
      <p:sp>
        <p:nvSpPr>
          <p:cNvPr id="7" name="Picture Placeholder 8">
            <a:extLst>
              <a:ext uri="{FF2B5EF4-FFF2-40B4-BE49-F238E27FC236}">
                <a16:creationId xmlns:a16="http://schemas.microsoft.com/office/drawing/2014/main" id="{976DBAD2-21DB-4209-A793-6DA782AD1C12}"/>
              </a:ext>
            </a:extLst>
          </p:cNvPr>
          <p:cNvSpPr>
            <a:spLocks noGrp="1"/>
          </p:cNvSpPr>
          <p:nvPr>
            <p:ph type="pic" sz="quarter" idx="13"/>
          </p:nvPr>
        </p:nvSpPr>
        <p:spPr>
          <a:xfrm>
            <a:off x="-7345" y="4239658"/>
            <a:ext cx="2801957" cy="2008743"/>
          </a:xfrm>
        </p:spPr>
        <p:txBody>
          <a:bodyPr/>
          <a:lstStyle/>
          <a:p>
            <a:r>
              <a:rPr lang="en-US" dirty="0" smtClean="0"/>
              <a:t>Click icon to add picture</a:t>
            </a:r>
            <a:endParaRPr lang="en-US" dirty="0"/>
          </a:p>
        </p:txBody>
      </p:sp>
      <p:sp>
        <p:nvSpPr>
          <p:cNvPr id="8" name="Picture Placeholder 8">
            <a:extLst>
              <a:ext uri="{FF2B5EF4-FFF2-40B4-BE49-F238E27FC236}">
                <a16:creationId xmlns:a16="http://schemas.microsoft.com/office/drawing/2014/main" id="{49410983-5690-49C5-8C9D-C7B493EF2191}"/>
              </a:ext>
            </a:extLst>
          </p:cNvPr>
          <p:cNvSpPr>
            <a:spLocks noGrp="1"/>
          </p:cNvSpPr>
          <p:nvPr>
            <p:ph type="pic" sz="quarter" idx="14"/>
          </p:nvPr>
        </p:nvSpPr>
        <p:spPr>
          <a:xfrm>
            <a:off x="-7345" y="2119830"/>
            <a:ext cx="2801957" cy="2008743"/>
          </a:xfrm>
        </p:spPr>
        <p:txBody>
          <a:bodyPr/>
          <a:lstStyle/>
          <a:p>
            <a:r>
              <a:rPr lang="en-US" dirty="0" smtClean="0"/>
              <a:t>Click icon to add picture</a:t>
            </a:r>
            <a:endParaRPr lang="en-US" dirty="0"/>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2895600" y="116632"/>
            <a:ext cx="2801957" cy="6131768"/>
          </a:xfrm>
        </p:spPr>
        <p:txBody>
          <a:bodyPr>
            <a:normAutofit/>
          </a:bodyPr>
          <a:lstStyle>
            <a:lvl1pPr>
              <a:defRPr sz="3200">
                <a:solidFill>
                  <a:srgbClr val="59595B"/>
                </a:solidFill>
                <a:latin typeface="Calibri" panose="020F0502020204030204" pitchFamily="34" charset="0"/>
              </a:defRPr>
            </a:lvl1pPr>
            <a:lvl2pPr marL="615935" indent="-309026">
              <a:buFont typeface="Arial" panose="020B0604020202020204" pitchFamily="34" charset="0"/>
              <a:buChar char="•"/>
              <a:defRPr sz="2667">
                <a:solidFill>
                  <a:srgbClr val="59595B"/>
                </a:solidFill>
                <a:latin typeface="Calibri" panose="020F0502020204030204" pitchFamily="34" charset="0"/>
              </a:defRPr>
            </a:lvl2pPr>
            <a:lvl3pPr marL="1221287" indent="-302676">
              <a:buFont typeface="Myriad Pro" pitchFamily="34" charset="0"/>
              <a:buChar char="º"/>
              <a:defRPr lang="en-US" sz="2667"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59595B"/>
                </a:solidFill>
                <a:latin typeface="Calibri" panose="020F0502020204030204" pitchFamily="34" charset="0"/>
              </a:defRPr>
            </a:lvl4pPr>
            <a:lvl5pPr marL="2440456" indent="-302676">
              <a:buFont typeface="Arial" panose="020B0604020202020204" pitchFamily="34" charset="0"/>
              <a:buChar char="‒"/>
              <a:defRPr sz="2667">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47657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smtClean="0"/>
              <a:t>Click to edit Master title style</a:t>
            </a:r>
            <a:endParaRPr lang="en-US"/>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152402" y="116632"/>
            <a:ext cx="5545156" cy="6131768"/>
          </a:xfrm>
        </p:spPr>
        <p:txBody>
          <a:bodyPr>
            <a:normAutofit/>
          </a:bodyPr>
          <a:lstStyle>
            <a:lvl1pPr>
              <a:defRPr sz="3200">
                <a:solidFill>
                  <a:srgbClr val="59595B"/>
                </a:solidFill>
                <a:latin typeface="Calibri" panose="020F0502020204030204" pitchFamily="34" charset="0"/>
              </a:defRPr>
            </a:lvl1pPr>
            <a:lvl2pPr marL="615935" indent="-309026">
              <a:buFont typeface="Arial" panose="020B0604020202020204" pitchFamily="34" charset="0"/>
              <a:buChar char="•"/>
              <a:defRPr sz="2667">
                <a:solidFill>
                  <a:srgbClr val="59595B"/>
                </a:solidFill>
                <a:latin typeface="Calibri" panose="020F0502020204030204" pitchFamily="34" charset="0"/>
              </a:defRPr>
            </a:lvl2pPr>
            <a:lvl3pPr marL="1221287" indent="-302676">
              <a:buFont typeface="Myriad Pro" pitchFamily="34" charset="0"/>
              <a:buChar char="º"/>
              <a:defRPr lang="en-US" sz="2667"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59595B"/>
                </a:solidFill>
                <a:latin typeface="Calibri" panose="020F0502020204030204" pitchFamily="34" charset="0"/>
              </a:defRPr>
            </a:lvl4pPr>
            <a:lvl5pPr marL="2440456" indent="-302676">
              <a:buFont typeface="Arial" panose="020B0604020202020204" pitchFamily="34" charset="0"/>
              <a:buChar char="‒"/>
              <a:defRPr sz="2667">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15">
            <a:extLst>
              <a:ext uri="{FF2B5EF4-FFF2-40B4-BE49-F238E27FC236}">
                <a16:creationId xmlns:a16="http://schemas.microsoft.com/office/drawing/2014/main" id="{22609A1E-E5C8-4E98-A87C-969C983F6568}"/>
              </a:ext>
            </a:extLst>
          </p:cNvPr>
          <p:cNvSpPr>
            <a:spLocks noGrp="1"/>
          </p:cNvSpPr>
          <p:nvPr>
            <p:ph sz="quarter" idx="16"/>
          </p:nvPr>
        </p:nvSpPr>
        <p:spPr>
          <a:xfrm>
            <a:off x="5791200" y="854076"/>
            <a:ext cx="6248400" cy="53943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60478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5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5943600" y="308056"/>
            <a:ext cx="5943600" cy="576064"/>
          </a:xfrm>
        </p:spPr>
        <p:txBody>
          <a:bodyPr>
            <a:noAutofit/>
          </a:bodyPr>
          <a:lstStyle>
            <a:lvl1pPr>
              <a:defRPr sz="4800" b="0" spc="-200">
                <a:solidFill>
                  <a:srgbClr val="0070C0"/>
                </a:solidFill>
              </a:defRPr>
            </a:lvl1pPr>
          </a:lstStyle>
          <a:p>
            <a:r>
              <a:rPr lang="en-US" smtClean="0"/>
              <a:t>Click to edit Master title style</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197" y="0"/>
            <a:ext cx="5174403" cy="6293387"/>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8" name="Picture 7">
            <a:extLst>
              <a:ext uri="{FF2B5EF4-FFF2-40B4-BE49-F238E27FC236}">
                <a16:creationId xmlns:a16="http://schemas.microsoft.com/office/drawing/2014/main" id="{7D872201-68CB-4B92-BAC2-34EFA6C6C1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graphicFrame>
        <p:nvGraphicFramePr>
          <p:cNvPr id="7" name="Chart Placeholder 11">
            <a:extLst>
              <a:ext uri="{FF2B5EF4-FFF2-40B4-BE49-F238E27FC236}">
                <a16:creationId xmlns:a16="http://schemas.microsoft.com/office/drawing/2014/main" id="{C4ED252C-A133-4BE6-8F74-5F2829F98F3F}"/>
              </a:ext>
            </a:extLst>
          </p:cNvPr>
          <p:cNvGraphicFramePr>
            <a:graphicFrameLocks/>
          </p:cNvGraphicFramePr>
          <p:nvPr>
            <p:extLst/>
          </p:nvPr>
        </p:nvGraphicFramePr>
        <p:xfrm>
          <a:off x="2133600" y="757809"/>
          <a:ext cx="6477000" cy="57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878733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4_Title &amp; Content No Logo">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800" y="2517836"/>
            <a:ext cx="8915400" cy="3730565"/>
          </a:xfrm>
        </p:spPr>
        <p:txBody>
          <a:bodyPr>
            <a:normAutofit/>
          </a:bodyPr>
          <a:lstStyle>
            <a:lvl1pPr>
              <a:defRPr sz="3200">
                <a:solidFill>
                  <a:srgbClr val="59595B"/>
                </a:solidFill>
                <a:latin typeface="Calibri" panose="020F0502020204030204" pitchFamily="34" charset="0"/>
              </a:defRPr>
            </a:lvl1pPr>
            <a:lvl2pPr marL="615935" indent="-309026">
              <a:buFont typeface="Arial" panose="020B0604020202020204" pitchFamily="34" charset="0"/>
              <a:buChar char="•"/>
              <a:defRPr sz="2667">
                <a:solidFill>
                  <a:srgbClr val="59595B"/>
                </a:solidFill>
                <a:latin typeface="Calibri" panose="020F0502020204030204" pitchFamily="34" charset="0"/>
              </a:defRPr>
            </a:lvl2pPr>
            <a:lvl3pPr marL="1221287" indent="-302676">
              <a:buFont typeface="Myriad Pro" pitchFamily="34" charset="0"/>
              <a:buChar char="º"/>
              <a:defRPr lang="en-US" sz="2667"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59595B"/>
                </a:solidFill>
                <a:latin typeface="Calibri" panose="020F0502020204030204" pitchFamily="34" charset="0"/>
              </a:defRPr>
            </a:lvl4pPr>
            <a:lvl5pPr marL="2440456" indent="-302676">
              <a:buFont typeface="Arial" panose="020B0604020202020204" pitchFamily="34" charset="0"/>
              <a:buChar char="‒"/>
              <a:defRPr sz="2667">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1"/>
            <a:ext cx="2801957" cy="2008743"/>
          </a:xfrm>
        </p:spPr>
        <p:txBody>
          <a:bodyPr/>
          <a:lstStyle/>
          <a:p>
            <a:r>
              <a:rPr lang="en-US" dirty="0" smtClean="0"/>
              <a:t>Click icon to add picture</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3"/>
          </a:xfrm>
        </p:spPr>
        <p:txBody>
          <a:bodyPr/>
          <a:lstStyle/>
          <a:p>
            <a:r>
              <a:rPr lang="en-US" dirty="0" smtClean="0"/>
              <a:t>Click icon to add picture</a:t>
            </a:r>
            <a:endParaRPr lang="en-US" dirty="0"/>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30"/>
            <a:ext cx="2801957" cy="2008743"/>
          </a:xfrm>
        </p:spPr>
        <p:txBody>
          <a:bodyPr/>
          <a:lstStyle/>
          <a:p>
            <a:r>
              <a:rPr lang="en-US" dirty="0" smtClean="0"/>
              <a:t>Click icon to add picture</a:t>
            </a:r>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grpSp>
        <p:nvGrpSpPr>
          <p:cNvPr id="9" name="Group 8">
            <a:extLst>
              <a:ext uri="{FF2B5EF4-FFF2-40B4-BE49-F238E27FC236}">
                <a16:creationId xmlns:a16="http://schemas.microsoft.com/office/drawing/2014/main" id="{DB61C02B-8064-4A43-8233-AF506D666642}"/>
              </a:ext>
            </a:extLst>
          </p:cNvPr>
          <p:cNvGrpSpPr/>
          <p:nvPr/>
        </p:nvGrpSpPr>
        <p:grpSpPr>
          <a:xfrm>
            <a:off x="2971800" y="1"/>
            <a:ext cx="9220200" cy="2517835"/>
            <a:chOff x="2971800" y="1600577"/>
            <a:chExt cx="9220200" cy="2517835"/>
          </a:xfrm>
        </p:grpSpPr>
        <p:sp>
          <p:nvSpPr>
            <p:cNvPr id="12" name="Rectangle 11">
              <a:extLst>
                <a:ext uri="{FF2B5EF4-FFF2-40B4-BE49-F238E27FC236}">
                  <a16:creationId xmlns:a16="http://schemas.microsoft.com/office/drawing/2014/main" id="{CE877CE5-F894-4891-B1BA-089481AF48F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16" name="Straight Connector 15">
              <a:extLst>
                <a:ext uri="{FF2B5EF4-FFF2-40B4-BE49-F238E27FC236}">
                  <a16:creationId xmlns:a16="http://schemas.microsoft.com/office/drawing/2014/main" id="{E0D1F20C-9EF1-4416-BBEE-B4A143C706E2}"/>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 name="Text Placeholder 35">
            <a:extLst>
              <a:ext uri="{FF2B5EF4-FFF2-40B4-BE49-F238E27FC236}">
                <a16:creationId xmlns:a16="http://schemas.microsoft.com/office/drawing/2014/main" id="{A29BE47D-8ABD-4AE3-8562-DB98B9610508}"/>
              </a:ext>
            </a:extLst>
          </p:cNvPr>
          <p:cNvSpPr>
            <a:spLocks noGrp="1"/>
          </p:cNvSpPr>
          <p:nvPr>
            <p:ph type="body" sz="quarter" idx="17"/>
          </p:nvPr>
        </p:nvSpPr>
        <p:spPr>
          <a:xfrm>
            <a:off x="3429000" y="420689"/>
            <a:ext cx="7848600"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18" name="Text Placeholder 35">
            <a:extLst>
              <a:ext uri="{FF2B5EF4-FFF2-40B4-BE49-F238E27FC236}">
                <a16:creationId xmlns:a16="http://schemas.microsoft.com/office/drawing/2014/main" id="{928A1A0D-D7BE-471D-934E-DE4D3E1601AD}"/>
              </a:ext>
            </a:extLst>
          </p:cNvPr>
          <p:cNvSpPr>
            <a:spLocks noGrp="1"/>
          </p:cNvSpPr>
          <p:nvPr>
            <p:ph type="body" sz="quarter" idx="18"/>
          </p:nvPr>
        </p:nvSpPr>
        <p:spPr>
          <a:xfrm>
            <a:off x="3396497" y="1362331"/>
            <a:ext cx="7848600"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Tree>
    <p:extLst>
      <p:ext uri="{BB962C8B-B14F-4D97-AF65-F5344CB8AC3E}">
        <p14:creationId xmlns:p14="http://schemas.microsoft.com/office/powerpoint/2010/main" val="24711814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p:nvGrpSpPr>
        <p:grpSpPr>
          <a:xfrm>
            <a:off x="2971800" y="1"/>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248400"/>
          </a:xfrm>
        </p:spPr>
        <p:txBody>
          <a:body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29000" y="3048000"/>
            <a:ext cx="2209800" cy="2209800"/>
          </a:xfrm>
        </p:spPr>
        <p:txBody>
          <a:bodyPr/>
          <a:lstStyle/>
          <a:p>
            <a:r>
              <a:rPr lang="en-US" dirty="0" smtClean="0"/>
              <a:t>Click icon to add picture</a:t>
            </a:r>
            <a:endParaRPr lang="en-US" dirty="0"/>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248400" y="3048000"/>
            <a:ext cx="2209800" cy="2209800"/>
          </a:xfrm>
        </p:spPr>
        <p:txBody>
          <a:bodyPr/>
          <a:lstStyle/>
          <a:p>
            <a:r>
              <a:rPr lang="en-US" dirty="0" smtClean="0"/>
              <a:t>Click icon to add picture</a:t>
            </a:r>
            <a:endParaRPr lang="en-US" dirty="0"/>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8991599" y="3045627"/>
            <a:ext cx="2209800" cy="2209800"/>
          </a:xfrm>
        </p:spPr>
        <p:txBody>
          <a:bodyPr/>
          <a:lstStyle/>
          <a:p>
            <a:r>
              <a:rPr lang="en-US" dirty="0" smtClean="0"/>
              <a:t>Click icon to add picture</a:t>
            </a:r>
            <a:endParaRPr lang="en-US" dirty="0"/>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9"/>
            <a:ext cx="7848600"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31"/>
            <a:ext cx="7848600"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17469" y="5334000"/>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248402" y="5334000"/>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8988174" y="5334000"/>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Tree>
    <p:extLst>
      <p:ext uri="{BB962C8B-B14F-4D97-AF65-F5344CB8AC3E}">
        <p14:creationId xmlns:p14="http://schemas.microsoft.com/office/powerpoint/2010/main" val="8334095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B3E11-AD36-4F97-B219-CAC05624A5D9}"/>
              </a:ext>
            </a:extLst>
          </p:cNvPr>
          <p:cNvSpPr/>
          <p:nvPr/>
        </p:nvSpPr>
        <p:spPr>
          <a:xfrm>
            <a:off x="2971800" y="1"/>
            <a:ext cx="9220200" cy="2514600"/>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1"/>
            <a:ext cx="2819400" cy="2517835"/>
          </a:xfrm>
        </p:spPr>
        <p:txBody>
          <a:body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1295400" y="2680093"/>
            <a:ext cx="3200400" cy="3081867"/>
          </a:xfrm>
        </p:spPr>
        <p:txBody>
          <a:bodyPr/>
          <a:lstStyle/>
          <a:p>
            <a:r>
              <a:rPr lang="en-US" dirty="0" smtClean="0"/>
              <a:t>Click icon to add picture</a:t>
            </a:r>
            <a:endParaRPr lang="en-US" dirty="0"/>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276600" y="762002"/>
            <a:ext cx="7848600" cy="722313"/>
          </a:xfrm>
        </p:spPr>
        <p:txBody>
          <a:bodyPr>
            <a:noAutofit/>
          </a:bodyPr>
          <a:lstStyle>
            <a:lvl1pPr>
              <a:defRPr sz="5333"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1295402" y="5761959"/>
            <a:ext cx="2232868" cy="457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15" name="Picture Placeholder 10">
            <a:extLst>
              <a:ext uri="{FF2B5EF4-FFF2-40B4-BE49-F238E27FC236}">
                <a16:creationId xmlns:a16="http://schemas.microsoft.com/office/drawing/2014/main" id="{EB7E683C-91F3-449D-9519-DB3605B8385B}"/>
              </a:ext>
            </a:extLst>
          </p:cNvPr>
          <p:cNvSpPr>
            <a:spLocks noGrp="1"/>
          </p:cNvSpPr>
          <p:nvPr>
            <p:ph type="pic" sz="quarter" idx="20"/>
          </p:nvPr>
        </p:nvSpPr>
        <p:spPr>
          <a:xfrm>
            <a:off x="7391402" y="2680093"/>
            <a:ext cx="1520509" cy="1515835"/>
          </a:xfrm>
        </p:spPr>
        <p:txBody>
          <a:bodyPr/>
          <a:lstStyle/>
          <a:p>
            <a:r>
              <a:rPr lang="en-US" dirty="0" smtClean="0"/>
              <a:t>Click icon to add picture</a:t>
            </a:r>
            <a:endParaRPr lang="en-US" dirty="0"/>
          </a:p>
        </p:txBody>
      </p:sp>
      <p:sp>
        <p:nvSpPr>
          <p:cNvPr id="22" name="Picture Placeholder 10">
            <a:extLst>
              <a:ext uri="{FF2B5EF4-FFF2-40B4-BE49-F238E27FC236}">
                <a16:creationId xmlns:a16="http://schemas.microsoft.com/office/drawing/2014/main" id="{576AB3B4-C874-42EB-AEE7-A8D32DEF98E3}"/>
              </a:ext>
            </a:extLst>
          </p:cNvPr>
          <p:cNvSpPr>
            <a:spLocks noGrp="1"/>
          </p:cNvSpPr>
          <p:nvPr>
            <p:ph type="pic" sz="quarter" idx="25"/>
          </p:nvPr>
        </p:nvSpPr>
        <p:spPr>
          <a:xfrm>
            <a:off x="7391400" y="4251053"/>
            <a:ext cx="1520509" cy="1515835"/>
          </a:xfrm>
        </p:spPr>
        <p:txBody>
          <a:bodyPr/>
          <a:lstStyle/>
          <a:p>
            <a:r>
              <a:rPr lang="en-US" dirty="0" smtClean="0"/>
              <a:t>Click icon to add picture</a:t>
            </a:r>
            <a:endParaRPr lang="en-US" dirty="0"/>
          </a:p>
        </p:txBody>
      </p:sp>
      <p:sp>
        <p:nvSpPr>
          <p:cNvPr id="23" name="Picture Placeholder 10">
            <a:extLst>
              <a:ext uri="{FF2B5EF4-FFF2-40B4-BE49-F238E27FC236}">
                <a16:creationId xmlns:a16="http://schemas.microsoft.com/office/drawing/2014/main" id="{24129921-CA26-4CE6-B994-966E18622107}"/>
              </a:ext>
            </a:extLst>
          </p:cNvPr>
          <p:cNvSpPr>
            <a:spLocks noGrp="1"/>
          </p:cNvSpPr>
          <p:nvPr>
            <p:ph type="pic" sz="quarter" idx="26"/>
          </p:nvPr>
        </p:nvSpPr>
        <p:spPr>
          <a:xfrm>
            <a:off x="8988112" y="2680093"/>
            <a:ext cx="1520509" cy="1515835"/>
          </a:xfrm>
        </p:spPr>
        <p:txBody>
          <a:bodyPr/>
          <a:lstStyle/>
          <a:p>
            <a:r>
              <a:rPr lang="en-US" dirty="0" smtClean="0"/>
              <a:t>Click icon to add picture</a:t>
            </a:r>
            <a:endParaRPr lang="en-US" dirty="0"/>
          </a:p>
        </p:txBody>
      </p:sp>
      <p:sp>
        <p:nvSpPr>
          <p:cNvPr id="24" name="Picture Placeholder 10">
            <a:extLst>
              <a:ext uri="{FF2B5EF4-FFF2-40B4-BE49-F238E27FC236}">
                <a16:creationId xmlns:a16="http://schemas.microsoft.com/office/drawing/2014/main" id="{075BBAA3-1C19-4B1D-B55D-57CDA52CD580}"/>
              </a:ext>
            </a:extLst>
          </p:cNvPr>
          <p:cNvSpPr>
            <a:spLocks noGrp="1"/>
          </p:cNvSpPr>
          <p:nvPr>
            <p:ph type="pic" sz="quarter" idx="27"/>
          </p:nvPr>
        </p:nvSpPr>
        <p:spPr>
          <a:xfrm>
            <a:off x="8988111" y="4251053"/>
            <a:ext cx="1520509" cy="1515835"/>
          </a:xfrm>
        </p:spPr>
        <p:txBody>
          <a:bodyPr/>
          <a:lstStyle/>
          <a:p>
            <a:r>
              <a:rPr lang="en-US" dirty="0" smtClean="0"/>
              <a:t>Click icon to add picture</a:t>
            </a:r>
            <a:endParaRPr lang="en-US" dirty="0"/>
          </a:p>
        </p:txBody>
      </p:sp>
      <p:sp>
        <p:nvSpPr>
          <p:cNvPr id="30" name="Text Placeholder 13">
            <a:extLst>
              <a:ext uri="{FF2B5EF4-FFF2-40B4-BE49-F238E27FC236}">
                <a16:creationId xmlns:a16="http://schemas.microsoft.com/office/drawing/2014/main" id="{0810F247-E66D-4839-A69D-E3D16B523CC4}"/>
              </a:ext>
            </a:extLst>
          </p:cNvPr>
          <p:cNvSpPr>
            <a:spLocks noGrp="1"/>
          </p:cNvSpPr>
          <p:nvPr>
            <p:ph type="body" sz="quarter" idx="28"/>
          </p:nvPr>
        </p:nvSpPr>
        <p:spPr>
          <a:xfrm>
            <a:off x="7391402" y="5777072"/>
            <a:ext cx="2232868" cy="457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pic>
        <p:nvPicPr>
          <p:cNvPr id="2" name="Picture 1">
            <a:extLst>
              <a:ext uri="{FF2B5EF4-FFF2-40B4-BE49-F238E27FC236}">
                <a16:creationId xmlns:a16="http://schemas.microsoft.com/office/drawing/2014/main" id="{B49BCB01-5781-455F-8930-0AE2BE72A433}"/>
              </a:ext>
            </a:extLst>
          </p:cNvPr>
          <p:cNvPicPr>
            <a:picLocks noChangeAspect="1"/>
          </p:cNvPicPr>
          <p:nvPr/>
        </p:nvPicPr>
        <p:blipFill>
          <a:blip r:embed="rId2"/>
          <a:stretch>
            <a:fillRect/>
          </a:stretch>
        </p:blipFill>
        <p:spPr>
          <a:xfrm>
            <a:off x="5166125" y="3796744"/>
            <a:ext cx="1539475" cy="1003856"/>
          </a:xfrm>
          <a:prstGeom prst="rect">
            <a:avLst/>
          </a:prstGeom>
        </p:spPr>
      </p:pic>
    </p:spTree>
    <p:extLst>
      <p:ext uri="{BB962C8B-B14F-4D97-AF65-F5344CB8AC3E}">
        <p14:creationId xmlns:p14="http://schemas.microsoft.com/office/powerpoint/2010/main" val="15651673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2_Custom Layout">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9110CCA0-8A4E-4E08-A02C-075CDBD03BEE}"/>
              </a:ext>
            </a:extLst>
          </p:cNvPr>
          <p:cNvGrpSpPr/>
          <p:nvPr/>
        </p:nvGrpSpPr>
        <p:grpSpPr>
          <a:xfrm>
            <a:off x="2929467" y="13491"/>
            <a:ext cx="9220200" cy="2517835"/>
            <a:chOff x="2971800" y="1600577"/>
            <a:chExt cx="9220200" cy="2517835"/>
          </a:xfrm>
        </p:grpSpPr>
        <p:sp>
          <p:nvSpPr>
            <p:cNvPr id="25" name="Rectangle 24">
              <a:extLst>
                <a:ext uri="{FF2B5EF4-FFF2-40B4-BE49-F238E27FC236}">
                  <a16:creationId xmlns:a16="http://schemas.microsoft.com/office/drawing/2014/main" id="{A4C3ECEC-0567-4BFD-8F1E-CB89BA8BE98B}"/>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26" name="Straight Connector 25">
              <a:extLst>
                <a:ext uri="{FF2B5EF4-FFF2-40B4-BE49-F238E27FC236}">
                  <a16:creationId xmlns:a16="http://schemas.microsoft.com/office/drawing/2014/main" id="{04AC89D0-8ED7-4A02-A405-9798B3592F9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13491"/>
            <a:ext cx="2819400" cy="2517835"/>
          </a:xfrm>
        </p:spPr>
        <p:txBody>
          <a:body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1295400" y="2709335"/>
            <a:ext cx="3200400" cy="3081867"/>
          </a:xfrm>
        </p:spPr>
        <p:txBody>
          <a:bodyPr/>
          <a:lstStyle/>
          <a:p>
            <a:r>
              <a:rPr lang="en-US" dirty="0" smtClean="0"/>
              <a:t>Click icon to add picture</a:t>
            </a:r>
            <a:endParaRPr lang="en-US" dirty="0"/>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1295402" y="5791200"/>
            <a:ext cx="2232868" cy="457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15" name="Picture Placeholder 10">
            <a:extLst>
              <a:ext uri="{FF2B5EF4-FFF2-40B4-BE49-F238E27FC236}">
                <a16:creationId xmlns:a16="http://schemas.microsoft.com/office/drawing/2014/main" id="{EB7E683C-91F3-449D-9519-DB3605B8385B}"/>
              </a:ext>
            </a:extLst>
          </p:cNvPr>
          <p:cNvSpPr>
            <a:spLocks noGrp="1"/>
          </p:cNvSpPr>
          <p:nvPr>
            <p:ph type="pic" sz="quarter" idx="20"/>
          </p:nvPr>
        </p:nvSpPr>
        <p:spPr>
          <a:xfrm>
            <a:off x="7391402" y="2667001"/>
            <a:ext cx="1520509" cy="1515835"/>
          </a:xfrm>
        </p:spPr>
        <p:txBody>
          <a:bodyPr/>
          <a:lstStyle/>
          <a:p>
            <a:r>
              <a:rPr lang="en-US" dirty="0" smtClean="0"/>
              <a:t>Click icon to add picture</a:t>
            </a:r>
            <a:endParaRPr lang="en-US" dirty="0"/>
          </a:p>
        </p:txBody>
      </p:sp>
      <p:sp>
        <p:nvSpPr>
          <p:cNvPr id="22" name="Picture Placeholder 10">
            <a:extLst>
              <a:ext uri="{FF2B5EF4-FFF2-40B4-BE49-F238E27FC236}">
                <a16:creationId xmlns:a16="http://schemas.microsoft.com/office/drawing/2014/main" id="{576AB3B4-C874-42EB-AEE7-A8D32DEF98E3}"/>
              </a:ext>
            </a:extLst>
          </p:cNvPr>
          <p:cNvSpPr>
            <a:spLocks noGrp="1"/>
          </p:cNvSpPr>
          <p:nvPr>
            <p:ph type="pic" sz="quarter" idx="25"/>
          </p:nvPr>
        </p:nvSpPr>
        <p:spPr>
          <a:xfrm>
            <a:off x="7391400" y="4351567"/>
            <a:ext cx="1520509" cy="1515835"/>
          </a:xfrm>
        </p:spPr>
        <p:txBody>
          <a:bodyPr/>
          <a:lstStyle/>
          <a:p>
            <a:r>
              <a:rPr lang="en-US" dirty="0" smtClean="0"/>
              <a:t>Click icon to add picture</a:t>
            </a:r>
            <a:endParaRPr lang="en-US" dirty="0"/>
          </a:p>
        </p:txBody>
      </p:sp>
      <p:sp>
        <p:nvSpPr>
          <p:cNvPr id="23" name="Picture Placeholder 10">
            <a:extLst>
              <a:ext uri="{FF2B5EF4-FFF2-40B4-BE49-F238E27FC236}">
                <a16:creationId xmlns:a16="http://schemas.microsoft.com/office/drawing/2014/main" id="{24129921-CA26-4CE6-B994-966E18622107}"/>
              </a:ext>
            </a:extLst>
          </p:cNvPr>
          <p:cNvSpPr>
            <a:spLocks noGrp="1"/>
          </p:cNvSpPr>
          <p:nvPr>
            <p:ph type="pic" sz="quarter" idx="26"/>
          </p:nvPr>
        </p:nvSpPr>
        <p:spPr>
          <a:xfrm>
            <a:off x="9071292" y="2667001"/>
            <a:ext cx="1520509" cy="1515835"/>
          </a:xfrm>
        </p:spPr>
        <p:txBody>
          <a:bodyPr/>
          <a:lstStyle/>
          <a:p>
            <a:r>
              <a:rPr lang="en-US" dirty="0" smtClean="0"/>
              <a:t>Click icon to add picture</a:t>
            </a:r>
            <a:endParaRPr lang="en-US" dirty="0"/>
          </a:p>
        </p:txBody>
      </p:sp>
      <p:sp>
        <p:nvSpPr>
          <p:cNvPr id="24" name="Picture Placeholder 10">
            <a:extLst>
              <a:ext uri="{FF2B5EF4-FFF2-40B4-BE49-F238E27FC236}">
                <a16:creationId xmlns:a16="http://schemas.microsoft.com/office/drawing/2014/main" id="{075BBAA3-1C19-4B1D-B55D-57CDA52CD580}"/>
              </a:ext>
            </a:extLst>
          </p:cNvPr>
          <p:cNvSpPr>
            <a:spLocks noGrp="1"/>
          </p:cNvSpPr>
          <p:nvPr>
            <p:ph type="pic" sz="quarter" idx="27"/>
          </p:nvPr>
        </p:nvSpPr>
        <p:spPr>
          <a:xfrm>
            <a:off x="9071291" y="4351567"/>
            <a:ext cx="1520509" cy="1515835"/>
          </a:xfrm>
        </p:spPr>
        <p:txBody>
          <a:bodyPr/>
          <a:lstStyle/>
          <a:p>
            <a:r>
              <a:rPr lang="en-US" dirty="0" smtClean="0"/>
              <a:t>Click icon to add picture</a:t>
            </a:r>
            <a:endParaRPr lang="en-US" dirty="0"/>
          </a:p>
        </p:txBody>
      </p:sp>
      <p:sp>
        <p:nvSpPr>
          <p:cNvPr id="30" name="Text Placeholder 13">
            <a:extLst>
              <a:ext uri="{FF2B5EF4-FFF2-40B4-BE49-F238E27FC236}">
                <a16:creationId xmlns:a16="http://schemas.microsoft.com/office/drawing/2014/main" id="{0810F247-E66D-4839-A69D-E3D16B523CC4}"/>
              </a:ext>
            </a:extLst>
          </p:cNvPr>
          <p:cNvSpPr>
            <a:spLocks noGrp="1"/>
          </p:cNvSpPr>
          <p:nvPr>
            <p:ph type="body" sz="quarter" idx="28"/>
          </p:nvPr>
        </p:nvSpPr>
        <p:spPr>
          <a:xfrm>
            <a:off x="7391402" y="5867400"/>
            <a:ext cx="2232868" cy="457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pic>
        <p:nvPicPr>
          <p:cNvPr id="2" name="Picture 1">
            <a:extLst>
              <a:ext uri="{FF2B5EF4-FFF2-40B4-BE49-F238E27FC236}">
                <a16:creationId xmlns:a16="http://schemas.microsoft.com/office/drawing/2014/main" id="{B49BCB01-5781-455F-8930-0AE2BE72A433}"/>
              </a:ext>
            </a:extLst>
          </p:cNvPr>
          <p:cNvPicPr>
            <a:picLocks noChangeAspect="1"/>
          </p:cNvPicPr>
          <p:nvPr/>
        </p:nvPicPr>
        <p:blipFill>
          <a:blip r:embed="rId2"/>
          <a:stretch>
            <a:fillRect/>
          </a:stretch>
        </p:blipFill>
        <p:spPr>
          <a:xfrm>
            <a:off x="5166125" y="3796744"/>
            <a:ext cx="1539475" cy="1003856"/>
          </a:xfrm>
          <a:prstGeom prst="rect">
            <a:avLst/>
          </a:prstGeom>
        </p:spPr>
      </p:pic>
      <p:sp>
        <p:nvSpPr>
          <p:cNvPr id="27" name="Text Placeholder 35">
            <a:extLst>
              <a:ext uri="{FF2B5EF4-FFF2-40B4-BE49-F238E27FC236}">
                <a16:creationId xmlns:a16="http://schemas.microsoft.com/office/drawing/2014/main" id="{16734C0D-60E4-4A6C-87EC-BBA7004D1C34}"/>
              </a:ext>
            </a:extLst>
          </p:cNvPr>
          <p:cNvSpPr>
            <a:spLocks noGrp="1"/>
          </p:cNvSpPr>
          <p:nvPr>
            <p:ph type="body" sz="quarter" idx="17"/>
          </p:nvPr>
        </p:nvSpPr>
        <p:spPr>
          <a:xfrm>
            <a:off x="3429000" y="420689"/>
            <a:ext cx="7848600"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28" name="Text Placeholder 35">
            <a:extLst>
              <a:ext uri="{FF2B5EF4-FFF2-40B4-BE49-F238E27FC236}">
                <a16:creationId xmlns:a16="http://schemas.microsoft.com/office/drawing/2014/main" id="{0C4ADD35-BAD4-4F2C-B9D3-3BAB026F42CB}"/>
              </a:ext>
            </a:extLst>
          </p:cNvPr>
          <p:cNvSpPr>
            <a:spLocks noGrp="1"/>
          </p:cNvSpPr>
          <p:nvPr>
            <p:ph type="body" sz="quarter" idx="18"/>
          </p:nvPr>
        </p:nvSpPr>
        <p:spPr>
          <a:xfrm>
            <a:off x="3396497" y="1362331"/>
            <a:ext cx="7848600"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Tree>
    <p:extLst>
      <p:ext uri="{BB962C8B-B14F-4D97-AF65-F5344CB8AC3E}">
        <p14:creationId xmlns:p14="http://schemas.microsoft.com/office/powerpoint/2010/main" val="32916996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0_Custom Layout">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1DF8491-8798-47C1-BC07-71BE24EEB1B0}"/>
              </a:ext>
            </a:extLst>
          </p:cNvPr>
          <p:cNvGrpSpPr/>
          <p:nvPr/>
        </p:nvGrpSpPr>
        <p:grpSpPr>
          <a:xfrm>
            <a:off x="0" y="-4852"/>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360166"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406983" y="2784001"/>
            <a:ext cx="2547627" cy="2547627"/>
          </a:xfrm>
        </p:spPr>
        <p:txBody>
          <a:bodyPr/>
          <a:lstStyle/>
          <a:p>
            <a:r>
              <a:rPr lang="en-US" dirty="0" smtClean="0"/>
              <a:t>Click icon to add picture</a:t>
            </a:r>
            <a:endParaRPr lang="en-US" dirty="0"/>
          </a:p>
        </p:txBody>
      </p:sp>
      <p:sp>
        <p:nvSpPr>
          <p:cNvPr id="12" name="Picture Placeholder 10">
            <a:extLst>
              <a:ext uri="{FF2B5EF4-FFF2-40B4-BE49-F238E27FC236}">
                <a16:creationId xmlns:a16="http://schemas.microsoft.com/office/drawing/2014/main" id="{8C086F0B-FFDF-41A7-907C-FEA6A8FD512A}"/>
              </a:ext>
            </a:extLst>
          </p:cNvPr>
          <p:cNvSpPr>
            <a:spLocks noGrp="1"/>
          </p:cNvSpPr>
          <p:nvPr>
            <p:ph type="pic" sz="quarter" idx="14"/>
          </p:nvPr>
        </p:nvSpPr>
        <p:spPr>
          <a:xfrm>
            <a:off x="6313592" y="2784001"/>
            <a:ext cx="2547627" cy="2547627"/>
          </a:xfrm>
        </p:spPr>
        <p:txBody>
          <a:bodyPr/>
          <a:lstStyle/>
          <a:p>
            <a:r>
              <a:rPr lang="en-US" dirty="0" smtClean="0"/>
              <a:t>Click icon to add picture</a:t>
            </a:r>
            <a:endParaRPr lang="en-US" dirty="0"/>
          </a:p>
        </p:txBody>
      </p:sp>
      <p:sp>
        <p:nvSpPr>
          <p:cNvPr id="13" name="Picture Placeholder 10">
            <a:extLst>
              <a:ext uri="{FF2B5EF4-FFF2-40B4-BE49-F238E27FC236}">
                <a16:creationId xmlns:a16="http://schemas.microsoft.com/office/drawing/2014/main" id="{302B7E7D-F240-49C2-A77D-DC882EC291EF}"/>
              </a:ext>
            </a:extLst>
          </p:cNvPr>
          <p:cNvSpPr>
            <a:spLocks noGrp="1"/>
          </p:cNvSpPr>
          <p:nvPr>
            <p:ph type="pic" sz="quarter" idx="15"/>
          </p:nvPr>
        </p:nvSpPr>
        <p:spPr>
          <a:xfrm>
            <a:off x="9220201" y="2784001"/>
            <a:ext cx="2547627" cy="2547627"/>
          </a:xfrm>
        </p:spPr>
        <p:txBody>
          <a:bodyPr/>
          <a:lstStyle/>
          <a:p>
            <a:r>
              <a:rPr lang="en-US" dirty="0" smtClean="0"/>
              <a:t>Click icon to add picture</a:t>
            </a:r>
            <a:endParaRPr lang="en-US" dirty="0"/>
          </a:p>
        </p:txBody>
      </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533400" y="420689"/>
            <a:ext cx="10787899"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533400" y="1362331"/>
            <a:ext cx="10787899"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406985" y="5428827"/>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39" name="Text Placeholder 13">
            <a:extLst>
              <a:ext uri="{FF2B5EF4-FFF2-40B4-BE49-F238E27FC236}">
                <a16:creationId xmlns:a16="http://schemas.microsoft.com/office/drawing/2014/main" id="{8038D4A9-2D04-4E84-93CD-5751D8E45C51}"/>
              </a:ext>
            </a:extLst>
          </p:cNvPr>
          <p:cNvSpPr>
            <a:spLocks noGrp="1"/>
          </p:cNvSpPr>
          <p:nvPr>
            <p:ph type="body" sz="quarter" idx="20"/>
          </p:nvPr>
        </p:nvSpPr>
        <p:spPr>
          <a:xfrm>
            <a:off x="6316133" y="5428827"/>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40" name="Text Placeholder 13">
            <a:extLst>
              <a:ext uri="{FF2B5EF4-FFF2-40B4-BE49-F238E27FC236}">
                <a16:creationId xmlns:a16="http://schemas.microsoft.com/office/drawing/2014/main" id="{D04D9411-AE5F-4CBC-8CD3-198617072698}"/>
              </a:ext>
            </a:extLst>
          </p:cNvPr>
          <p:cNvSpPr>
            <a:spLocks noGrp="1"/>
          </p:cNvSpPr>
          <p:nvPr>
            <p:ph type="body" sz="quarter" idx="21"/>
          </p:nvPr>
        </p:nvSpPr>
        <p:spPr>
          <a:xfrm>
            <a:off x="9220202" y="5428827"/>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500373" y="2784001"/>
            <a:ext cx="2547627" cy="2547627"/>
          </a:xfrm>
        </p:spPr>
        <p:txBody>
          <a:bodyPr/>
          <a:lstStyle/>
          <a:p>
            <a:r>
              <a:rPr lang="en-US" dirty="0" smtClean="0"/>
              <a:t>Click icon to add picture</a:t>
            </a:r>
            <a:endParaRPr lang="en-US" dirty="0"/>
          </a:p>
        </p:txBody>
      </p:sp>
      <p:sp>
        <p:nvSpPr>
          <p:cNvPr id="16" name="Text Placeholder 13">
            <a:extLst>
              <a:ext uri="{FF2B5EF4-FFF2-40B4-BE49-F238E27FC236}">
                <a16:creationId xmlns:a16="http://schemas.microsoft.com/office/drawing/2014/main" id="{015F6B5E-5808-463C-817D-EE2DFF83D7BD}"/>
              </a:ext>
            </a:extLst>
          </p:cNvPr>
          <p:cNvSpPr>
            <a:spLocks noGrp="1"/>
          </p:cNvSpPr>
          <p:nvPr>
            <p:ph type="body" sz="quarter" idx="23"/>
          </p:nvPr>
        </p:nvSpPr>
        <p:spPr>
          <a:xfrm>
            <a:off x="500375" y="5428827"/>
            <a:ext cx="2232868"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Tree>
    <p:extLst>
      <p:ext uri="{BB962C8B-B14F-4D97-AF65-F5344CB8AC3E}">
        <p14:creationId xmlns:p14="http://schemas.microsoft.com/office/powerpoint/2010/main" val="25670337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7" name="Picture Placeholder 6">
            <a:extLst>
              <a:ext uri="{FF2B5EF4-FFF2-40B4-BE49-F238E27FC236}">
                <a16:creationId xmlns:a16="http://schemas.microsoft.com/office/drawing/2014/main" id="{33973747-E231-4BC4-846C-B0A7A7596988}"/>
              </a:ext>
            </a:extLst>
          </p:cNvPr>
          <p:cNvSpPr>
            <a:spLocks noGrp="1"/>
          </p:cNvSpPr>
          <p:nvPr>
            <p:ph type="pic" sz="quarter" idx="11"/>
          </p:nvPr>
        </p:nvSpPr>
        <p:spPr>
          <a:xfrm>
            <a:off x="0" y="0"/>
            <a:ext cx="2819400" cy="6248400"/>
          </a:xfrm>
        </p:spPr>
        <p:txBody>
          <a:bodyPr/>
          <a:lstStyle/>
          <a:p>
            <a:r>
              <a:rPr lang="en-US" dirty="0" smtClean="0"/>
              <a:t>Click icon to add picture</a:t>
            </a:r>
            <a:endParaRPr lang="en-US" dirty="0"/>
          </a:p>
        </p:txBody>
      </p:sp>
      <p:sp>
        <p:nvSpPr>
          <p:cNvPr id="11" name="Picture Placeholder 10">
            <a:extLst>
              <a:ext uri="{FF2B5EF4-FFF2-40B4-BE49-F238E27FC236}">
                <a16:creationId xmlns:a16="http://schemas.microsoft.com/office/drawing/2014/main" id="{2C8953C3-095F-42EE-9A69-02895100EF3C}"/>
              </a:ext>
            </a:extLst>
          </p:cNvPr>
          <p:cNvSpPr>
            <a:spLocks noGrp="1"/>
          </p:cNvSpPr>
          <p:nvPr>
            <p:ph type="pic" sz="quarter" idx="13"/>
          </p:nvPr>
        </p:nvSpPr>
        <p:spPr>
          <a:xfrm>
            <a:off x="3002257" y="3046383"/>
            <a:ext cx="2630067" cy="1981200"/>
          </a:xfrm>
        </p:spPr>
        <p:txBody>
          <a:bodyPr/>
          <a:lstStyle/>
          <a:p>
            <a:r>
              <a:rPr lang="en-US" dirty="0" smtClean="0"/>
              <a:t>Click icon to add picture</a:t>
            </a:r>
            <a:endParaRPr lang="en-US" dirty="0"/>
          </a:p>
        </p:txBody>
      </p:sp>
      <p:grpSp>
        <p:nvGrpSpPr>
          <p:cNvPr id="27" name="Group 26">
            <a:extLst>
              <a:ext uri="{FF2B5EF4-FFF2-40B4-BE49-F238E27FC236}">
                <a16:creationId xmlns:a16="http://schemas.microsoft.com/office/drawing/2014/main" id="{E1DF8491-8798-47C1-BC07-71BE24EEB1B0}"/>
              </a:ext>
            </a:extLst>
          </p:cNvPr>
          <p:cNvGrpSpPr/>
          <p:nvPr/>
        </p:nvGrpSpPr>
        <p:grpSpPr>
          <a:xfrm>
            <a:off x="2971800" y="1"/>
            <a:ext cx="9220200" cy="2517835"/>
            <a:chOff x="2971800" y="1600577"/>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71800" y="1600577"/>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400"/>
                </a:spcAft>
              </a:pPr>
              <a:endParaRPr lang="en-US" sz="2400"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7696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3429000" y="420689"/>
            <a:ext cx="7848600"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3396497" y="1362331"/>
            <a:ext cx="7848600"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
        <p:nvSpPr>
          <p:cNvPr id="38" name="Text Placeholder 13">
            <a:extLst>
              <a:ext uri="{FF2B5EF4-FFF2-40B4-BE49-F238E27FC236}">
                <a16:creationId xmlns:a16="http://schemas.microsoft.com/office/drawing/2014/main" id="{E207E100-FC09-45EF-923A-7E3B184DE716}"/>
              </a:ext>
            </a:extLst>
          </p:cNvPr>
          <p:cNvSpPr>
            <a:spLocks noGrp="1"/>
          </p:cNvSpPr>
          <p:nvPr>
            <p:ph type="body" sz="quarter" idx="19"/>
          </p:nvPr>
        </p:nvSpPr>
        <p:spPr>
          <a:xfrm>
            <a:off x="3002258" y="5181600"/>
            <a:ext cx="2630065"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16" name="Picture Placeholder 10">
            <a:extLst>
              <a:ext uri="{FF2B5EF4-FFF2-40B4-BE49-F238E27FC236}">
                <a16:creationId xmlns:a16="http://schemas.microsoft.com/office/drawing/2014/main" id="{3762909D-4C5A-44BA-A7F5-93C1AE27E66B}"/>
              </a:ext>
            </a:extLst>
          </p:cNvPr>
          <p:cNvSpPr>
            <a:spLocks noGrp="1"/>
          </p:cNvSpPr>
          <p:nvPr>
            <p:ph type="pic" sz="quarter" idx="22"/>
          </p:nvPr>
        </p:nvSpPr>
        <p:spPr>
          <a:xfrm>
            <a:off x="6132933" y="3050307"/>
            <a:ext cx="2630067" cy="1981200"/>
          </a:xfrm>
        </p:spPr>
        <p:txBody>
          <a:bodyPr/>
          <a:lstStyle/>
          <a:p>
            <a:r>
              <a:rPr lang="en-US" dirty="0" smtClean="0"/>
              <a:t>Click icon to add picture</a:t>
            </a:r>
            <a:endParaRPr lang="en-US" dirty="0"/>
          </a:p>
        </p:txBody>
      </p:sp>
      <p:sp>
        <p:nvSpPr>
          <p:cNvPr id="17" name="Picture Placeholder 10">
            <a:extLst>
              <a:ext uri="{FF2B5EF4-FFF2-40B4-BE49-F238E27FC236}">
                <a16:creationId xmlns:a16="http://schemas.microsoft.com/office/drawing/2014/main" id="{10B39156-0299-4627-AD4A-278CC1DF18E1}"/>
              </a:ext>
            </a:extLst>
          </p:cNvPr>
          <p:cNvSpPr>
            <a:spLocks noGrp="1"/>
          </p:cNvSpPr>
          <p:nvPr>
            <p:ph type="pic" sz="quarter" idx="23"/>
          </p:nvPr>
        </p:nvSpPr>
        <p:spPr>
          <a:xfrm>
            <a:off x="9257133" y="3046383"/>
            <a:ext cx="2630067" cy="1981200"/>
          </a:xfrm>
        </p:spPr>
        <p:txBody>
          <a:bodyPr/>
          <a:lstStyle/>
          <a:p>
            <a:r>
              <a:rPr lang="en-US" dirty="0" smtClean="0"/>
              <a:t>Click icon to add picture</a:t>
            </a:r>
            <a:endParaRPr lang="en-US" dirty="0"/>
          </a:p>
        </p:txBody>
      </p:sp>
      <p:sp>
        <p:nvSpPr>
          <p:cNvPr id="18" name="Text Placeholder 13">
            <a:extLst>
              <a:ext uri="{FF2B5EF4-FFF2-40B4-BE49-F238E27FC236}">
                <a16:creationId xmlns:a16="http://schemas.microsoft.com/office/drawing/2014/main" id="{0C2DFF91-8571-4A02-92DF-18DD519B7850}"/>
              </a:ext>
            </a:extLst>
          </p:cNvPr>
          <p:cNvSpPr>
            <a:spLocks noGrp="1"/>
          </p:cNvSpPr>
          <p:nvPr>
            <p:ph type="body" sz="quarter" idx="24"/>
          </p:nvPr>
        </p:nvSpPr>
        <p:spPr>
          <a:xfrm>
            <a:off x="9257136" y="5181600"/>
            <a:ext cx="2630065"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
        <p:nvSpPr>
          <p:cNvPr id="20" name="Text Placeholder 13">
            <a:extLst>
              <a:ext uri="{FF2B5EF4-FFF2-40B4-BE49-F238E27FC236}">
                <a16:creationId xmlns:a16="http://schemas.microsoft.com/office/drawing/2014/main" id="{3AE7DE0B-71AD-409C-81F3-5017DFA2BAB4}"/>
              </a:ext>
            </a:extLst>
          </p:cNvPr>
          <p:cNvSpPr>
            <a:spLocks noGrp="1"/>
          </p:cNvSpPr>
          <p:nvPr>
            <p:ph type="body" sz="quarter" idx="25"/>
          </p:nvPr>
        </p:nvSpPr>
        <p:spPr>
          <a:xfrm>
            <a:off x="6132937" y="5181600"/>
            <a:ext cx="2630065" cy="838200"/>
          </a:xfrm>
          <a:noFill/>
        </p:spPr>
        <p:txBody>
          <a:bodyPr wrap="square" lIns="45720" rIns="45720" rtlCol="0" anchor="t" anchorCtr="0">
            <a:noAutofit/>
          </a:bodyPr>
          <a:lstStyle>
            <a:lvl1pPr>
              <a:defRPr lang="en-US" sz="2667" b="0" dirty="0" smtClean="0">
                <a:solidFill>
                  <a:srgbClr val="004875"/>
                </a:solidFill>
              </a:defRPr>
            </a:lvl1pPr>
          </a:lstStyle>
          <a:p>
            <a:pPr lvl="0" defTabSz="1219170">
              <a:spcAft>
                <a:spcPts val="400"/>
              </a:spcAft>
            </a:pPr>
            <a:r>
              <a:rPr lang="en-US" smtClean="0"/>
              <a:t>Edit Master text styles</a:t>
            </a:r>
          </a:p>
        </p:txBody>
      </p:sp>
    </p:spTree>
    <p:extLst>
      <p:ext uri="{BB962C8B-B14F-4D97-AF65-F5344CB8AC3E}">
        <p14:creationId xmlns:p14="http://schemas.microsoft.com/office/powerpoint/2010/main" val="27835652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3352800" y="338336"/>
            <a:ext cx="8686800" cy="576064"/>
          </a:xfrm>
        </p:spPr>
        <p:txBody>
          <a:bodyPr/>
          <a:lstStyle/>
          <a:p>
            <a:r>
              <a:rPr lang="en-US" smtClean="0"/>
              <a:t>Click to edit Master title style</a:t>
            </a:r>
            <a:endParaRPr lang="en-US" dirty="0"/>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3352800" y="914400"/>
            <a:ext cx="8686800" cy="1600200"/>
          </a:xfrm>
        </p:spPr>
        <p:txBody>
          <a:bodyPr>
            <a:noAutofit/>
          </a:bodyPr>
          <a:lstStyle>
            <a:lvl1pPr>
              <a:defRPr sz="2667">
                <a:solidFill>
                  <a:srgbClr val="59595B"/>
                </a:solidFill>
                <a:latin typeface="Calibri" panose="020F0502020204030204" pitchFamily="34" charset="0"/>
              </a:defRPr>
            </a:lvl1pPr>
            <a:lvl2pPr marL="615935" indent="-309026">
              <a:buFont typeface="Arial" panose="020B0604020202020204" pitchFamily="34" charset="0"/>
              <a:buChar char="•"/>
              <a:defRPr sz="2400">
                <a:solidFill>
                  <a:srgbClr val="59595B"/>
                </a:solidFill>
                <a:latin typeface="Calibri" panose="020F0502020204030204" pitchFamily="34" charset="0"/>
              </a:defRPr>
            </a:lvl2pPr>
            <a:lvl3pPr marL="1221287" indent="-302676">
              <a:buFont typeface="Myriad Pro" pitchFamily="34" charset="0"/>
              <a:buChar char="º"/>
              <a:defRPr lang="en-US" sz="2400"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400">
                <a:solidFill>
                  <a:srgbClr val="59595B"/>
                </a:solidFill>
                <a:latin typeface="Calibri" panose="020F0502020204030204" pitchFamily="34" charset="0"/>
              </a:defRPr>
            </a:lvl4pPr>
            <a:lvl5pPr marL="2440456" indent="-302676">
              <a:buFont typeface="Arial" panose="020B0604020202020204" pitchFamily="34" charset="0"/>
              <a:buChar char="‒"/>
              <a:defRPr sz="2400">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2667000"/>
            <a:ext cx="12192000" cy="3581400"/>
          </a:xfrm>
        </p:spPr>
        <p:txBody>
          <a:bodyPr/>
          <a:lstStyle/>
          <a:p>
            <a:r>
              <a:rPr lang="en-US" dirty="0" smtClean="0"/>
              <a:t>Click icon to add picture</a:t>
            </a:r>
            <a:endParaRPr lang="en-US" dirty="0"/>
          </a:p>
        </p:txBody>
      </p:sp>
      <p:sp>
        <p:nvSpPr>
          <p:cNvPr id="10" name="Picture Placeholder 9">
            <a:extLst>
              <a:ext uri="{FF2B5EF4-FFF2-40B4-BE49-F238E27FC236}">
                <a16:creationId xmlns:a16="http://schemas.microsoft.com/office/drawing/2014/main" id="{734EEFA3-1B07-464F-9BE6-5FEF51E0E854}"/>
              </a:ext>
            </a:extLst>
          </p:cNvPr>
          <p:cNvSpPr>
            <a:spLocks noGrp="1"/>
          </p:cNvSpPr>
          <p:nvPr>
            <p:ph type="pic" sz="quarter" idx="12"/>
          </p:nvPr>
        </p:nvSpPr>
        <p:spPr>
          <a:xfrm>
            <a:off x="0" y="0"/>
            <a:ext cx="3200400" cy="251460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968682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2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0" y="12395"/>
            <a:ext cx="68580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914400" y="1955305"/>
            <a:ext cx="4953000" cy="576064"/>
          </a:xfrm>
        </p:spPr>
        <p:txBody>
          <a:bodyPr anchor="b">
            <a:noAutofit/>
          </a:bodyPr>
          <a:lstStyle>
            <a:lvl1pPr>
              <a:lnSpc>
                <a:spcPct val="70000"/>
              </a:lnSpc>
              <a:defRPr sz="5000" b="0" spc="-15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914400" y="2802632"/>
            <a:ext cx="5562600" cy="2912368"/>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010400" y="1"/>
            <a:ext cx="5181600" cy="6248400"/>
          </a:xfrm>
        </p:spPr>
        <p:txBody>
          <a:bodyPr/>
          <a:lstStyle/>
          <a:p>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914400" y="26670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9963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B3B5E-F2FC-411E-821A-F1A580FDB6C9}"/>
              </a:ext>
            </a:extLst>
          </p:cNvPr>
          <p:cNvSpPr>
            <a:spLocks noGrp="1"/>
          </p:cNvSpPr>
          <p:nvPr>
            <p:ph type="title"/>
          </p:nvPr>
        </p:nvSpPr>
        <p:spPr>
          <a:xfrm>
            <a:off x="7467600" y="338336"/>
            <a:ext cx="4572000" cy="576064"/>
          </a:xfrm>
        </p:spPr>
        <p:txBody>
          <a:bodyPr/>
          <a:lstStyle/>
          <a:p>
            <a:r>
              <a:rPr lang="en-US" smtClean="0"/>
              <a:t>Click to edit Master title style</a:t>
            </a:r>
            <a:endParaRPr lang="en-US" dirty="0"/>
          </a:p>
        </p:txBody>
      </p:sp>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6" name="Content Placeholder 2">
            <a:extLst>
              <a:ext uri="{FF2B5EF4-FFF2-40B4-BE49-F238E27FC236}">
                <a16:creationId xmlns:a16="http://schemas.microsoft.com/office/drawing/2014/main" id="{BB397C64-F63D-449C-9A51-34193A48D5F5}"/>
              </a:ext>
            </a:extLst>
          </p:cNvPr>
          <p:cNvSpPr>
            <a:spLocks noGrp="1"/>
          </p:cNvSpPr>
          <p:nvPr>
            <p:ph idx="1"/>
          </p:nvPr>
        </p:nvSpPr>
        <p:spPr>
          <a:xfrm>
            <a:off x="7467600" y="914400"/>
            <a:ext cx="4572000" cy="5334000"/>
          </a:xfrm>
        </p:spPr>
        <p:txBody>
          <a:bodyPr>
            <a:noAutofit/>
          </a:bodyPr>
          <a:lstStyle>
            <a:lvl1pPr>
              <a:defRPr sz="2667">
                <a:solidFill>
                  <a:srgbClr val="59595B"/>
                </a:solidFill>
                <a:latin typeface="Calibri" panose="020F0502020204030204" pitchFamily="34" charset="0"/>
              </a:defRPr>
            </a:lvl1pPr>
            <a:lvl2pPr marL="615935" indent="-309026">
              <a:buFont typeface="Arial" panose="020B0604020202020204" pitchFamily="34" charset="0"/>
              <a:buChar char="•"/>
              <a:defRPr sz="2400">
                <a:solidFill>
                  <a:srgbClr val="59595B"/>
                </a:solidFill>
                <a:latin typeface="Calibri" panose="020F0502020204030204" pitchFamily="34" charset="0"/>
              </a:defRPr>
            </a:lvl2pPr>
            <a:lvl3pPr marL="1221287" indent="-302676">
              <a:buFont typeface="Myriad Pro" pitchFamily="34" charset="0"/>
              <a:buChar char="º"/>
              <a:defRPr lang="en-US" sz="2400" kern="1200" dirty="0" smtClean="0">
                <a:solidFill>
                  <a:srgbClr val="59595B"/>
                </a:solidFill>
                <a:latin typeface="Calibri" panose="020F0502020204030204" pitchFamily="34" charset="0"/>
                <a:ea typeface="+mn-ea"/>
                <a:cs typeface="+mn-cs"/>
              </a:defRPr>
            </a:lvl3pPr>
            <a:lvl4pPr marL="1828754" indent="-302676">
              <a:buFont typeface="Arial" panose="020B0604020202020204" pitchFamily="34" charset="0"/>
              <a:buChar char="‒"/>
              <a:defRPr sz="2400">
                <a:solidFill>
                  <a:srgbClr val="59595B"/>
                </a:solidFill>
                <a:latin typeface="Calibri" panose="020F0502020204030204" pitchFamily="34" charset="0"/>
              </a:defRPr>
            </a:lvl4pPr>
            <a:lvl5pPr marL="2440456" indent="-302676">
              <a:buFont typeface="Arial" panose="020B0604020202020204" pitchFamily="34" charset="0"/>
              <a:buChar char="‒"/>
              <a:defRPr sz="2400">
                <a:solidFill>
                  <a:srgbClr val="59595B"/>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248400"/>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4144106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7315200" cy="6248400"/>
          </a:xfrm>
        </p:spPr>
        <p:txBody>
          <a:bodyPr/>
          <a:lstStyle/>
          <a:p>
            <a:r>
              <a:rPr lang="en-US" dirty="0" smtClean="0"/>
              <a:t>Click icon to add picture</a:t>
            </a:r>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7924800" y="990600"/>
            <a:ext cx="3505200" cy="990600"/>
          </a:xfrm>
        </p:spPr>
        <p:txBody>
          <a:bodyPr>
            <a:noAutofit/>
          </a:bodyPr>
          <a:lstStyle>
            <a:lvl1pPr>
              <a:defRPr sz="10666">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8621849" y="2133600"/>
            <a:ext cx="2791219" cy="1524000"/>
          </a:xfrm>
        </p:spPr>
        <p:txBody>
          <a:bodyPr>
            <a:normAutofit/>
          </a:bodyPr>
          <a:lstStyle>
            <a:lvl1pPr algn="r">
              <a:defRPr sz="3733"/>
            </a:lvl1pPr>
            <a:lvl2pPr marL="306910" indent="0">
              <a:buNone/>
              <a:defRPr/>
            </a:lvl2pPr>
          </a:lstStyle>
          <a:p>
            <a:pPr lvl="0"/>
            <a:r>
              <a:rPr lang="en-US" smtClean="0"/>
              <a:t>Edit Master text styles</a:t>
            </a:r>
          </a:p>
        </p:txBody>
      </p:sp>
    </p:spTree>
    <p:extLst>
      <p:ext uri="{BB962C8B-B14F-4D97-AF65-F5344CB8AC3E}">
        <p14:creationId xmlns:p14="http://schemas.microsoft.com/office/powerpoint/2010/main" val="36872263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0" y="0"/>
            <a:ext cx="5029200" cy="6248400"/>
          </a:xfrm>
        </p:spPr>
        <p:txBody>
          <a:bodyPr/>
          <a:lstStyle/>
          <a:p>
            <a:r>
              <a:rPr lang="en-US" dirty="0" smtClean="0"/>
              <a:t>Click icon to add picture</a:t>
            </a:r>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5486400" y="990600"/>
            <a:ext cx="6248400" cy="990600"/>
          </a:xfrm>
        </p:spPr>
        <p:txBody>
          <a:bodyPr>
            <a:noAutofit/>
          </a:bodyPr>
          <a:lstStyle>
            <a:lvl1pPr>
              <a:defRPr sz="10666">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562600" y="2133600"/>
            <a:ext cx="6155267" cy="2514600"/>
          </a:xfrm>
        </p:spPr>
        <p:txBody>
          <a:bodyPr>
            <a:normAutofit/>
          </a:bodyPr>
          <a:lstStyle>
            <a:lvl1pPr algn="l">
              <a:defRPr sz="3733"/>
            </a:lvl1pPr>
            <a:lvl2pPr marL="306910" indent="0">
              <a:buNone/>
              <a:defRPr/>
            </a:lvl2pPr>
          </a:lstStyle>
          <a:p>
            <a:pPr lvl="0"/>
            <a:r>
              <a:rPr lang="en-US" smtClean="0"/>
              <a:t>Edit Master text styles</a:t>
            </a:r>
          </a:p>
        </p:txBody>
      </p:sp>
    </p:spTree>
    <p:extLst>
      <p:ext uri="{BB962C8B-B14F-4D97-AF65-F5344CB8AC3E}">
        <p14:creationId xmlns:p14="http://schemas.microsoft.com/office/powerpoint/2010/main" val="29474404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7162800" y="0"/>
            <a:ext cx="5029200" cy="6248400"/>
          </a:xfrm>
        </p:spPr>
        <p:txBody>
          <a:bodyPr/>
          <a:lstStyle/>
          <a:p>
            <a:r>
              <a:rPr lang="en-US" dirty="0" smtClean="0"/>
              <a:t>Click icon to add picture</a:t>
            </a:r>
            <a:endParaRPr lang="en-US" dirty="0"/>
          </a:p>
        </p:txBody>
      </p:sp>
      <p:sp>
        <p:nvSpPr>
          <p:cNvPr id="9" name="Text Placeholder 9">
            <a:extLst>
              <a:ext uri="{FF2B5EF4-FFF2-40B4-BE49-F238E27FC236}">
                <a16:creationId xmlns:a16="http://schemas.microsoft.com/office/drawing/2014/main" id="{33493DA8-3594-4F60-AFCF-4580037462AC}"/>
              </a:ext>
            </a:extLst>
          </p:cNvPr>
          <p:cNvSpPr>
            <a:spLocks noGrp="1"/>
          </p:cNvSpPr>
          <p:nvPr>
            <p:ph type="body" sz="quarter" idx="12" hasCustomPrompt="1"/>
          </p:nvPr>
        </p:nvSpPr>
        <p:spPr>
          <a:xfrm>
            <a:off x="457200" y="990600"/>
            <a:ext cx="6248400" cy="990600"/>
          </a:xfrm>
        </p:spPr>
        <p:txBody>
          <a:bodyPr>
            <a:noAutofit/>
          </a:bodyPr>
          <a:lstStyle>
            <a:lvl1pPr>
              <a:defRPr sz="10666">
                <a:solidFill>
                  <a:srgbClr val="0072BC"/>
                </a:solidFill>
              </a:defRPr>
            </a:lvl1pPr>
          </a:lstStyle>
          <a:p>
            <a:pPr lvl="0"/>
            <a:r>
              <a:rPr lang="en-US" dirty="0"/>
              <a:t>Big Fact</a:t>
            </a:r>
          </a:p>
        </p:txBody>
      </p:sp>
      <p:sp>
        <p:nvSpPr>
          <p:cNvPr id="10" name="Text Placeholder 13">
            <a:extLst>
              <a:ext uri="{FF2B5EF4-FFF2-40B4-BE49-F238E27FC236}">
                <a16:creationId xmlns:a16="http://schemas.microsoft.com/office/drawing/2014/main" id="{4E748999-2559-4F61-92B7-AD7DAB0CC97C}"/>
              </a:ext>
            </a:extLst>
          </p:cNvPr>
          <p:cNvSpPr>
            <a:spLocks noGrp="1"/>
          </p:cNvSpPr>
          <p:nvPr>
            <p:ph type="body" sz="quarter" idx="13"/>
          </p:nvPr>
        </p:nvSpPr>
        <p:spPr>
          <a:xfrm>
            <a:off x="533401" y="2133600"/>
            <a:ext cx="6155267" cy="2514600"/>
          </a:xfrm>
        </p:spPr>
        <p:txBody>
          <a:bodyPr>
            <a:normAutofit/>
          </a:bodyPr>
          <a:lstStyle>
            <a:lvl1pPr algn="l">
              <a:defRPr sz="3733"/>
            </a:lvl1pPr>
            <a:lvl2pPr marL="306910" indent="0">
              <a:buNone/>
              <a:defRPr/>
            </a:lvl2pPr>
          </a:lstStyle>
          <a:p>
            <a:pPr lvl="0"/>
            <a:r>
              <a:rPr lang="en-US" smtClean="0"/>
              <a:t>Edit Master text styles</a:t>
            </a:r>
          </a:p>
        </p:txBody>
      </p:sp>
    </p:spTree>
    <p:extLst>
      <p:ext uri="{BB962C8B-B14F-4D97-AF65-F5344CB8AC3E}">
        <p14:creationId xmlns:p14="http://schemas.microsoft.com/office/powerpoint/2010/main" val="3460138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96F272-1969-4427-835B-A2A6521498D4}"/>
              </a:ext>
            </a:extLst>
          </p:cNvPr>
          <p:cNvSpPr>
            <a:spLocks noGrp="1"/>
          </p:cNvSpPr>
          <p:nvPr>
            <p:ph type="sldNum" sz="quarter" idx="10"/>
          </p:nvPr>
        </p:nvSpPr>
        <p:spPr/>
        <p:txBody>
          <a:bodyPr/>
          <a:lstStyle/>
          <a:p>
            <a:fld id="{9601C2A5-D6F0-419E-8B2A-09D8903D5C45}" type="slidenum">
              <a:rPr lang="en-US" smtClean="0"/>
              <a:t>‹#›</a:t>
            </a:fld>
            <a:endParaRPr lang="en-US" dirty="0"/>
          </a:p>
        </p:txBody>
      </p:sp>
      <p:sp>
        <p:nvSpPr>
          <p:cNvPr id="8" name="Picture Placeholder 7">
            <a:extLst>
              <a:ext uri="{FF2B5EF4-FFF2-40B4-BE49-F238E27FC236}">
                <a16:creationId xmlns:a16="http://schemas.microsoft.com/office/drawing/2014/main" id="{D1A58C24-6136-44AE-A436-9A60BD22F45A}"/>
              </a:ext>
            </a:extLst>
          </p:cNvPr>
          <p:cNvSpPr>
            <a:spLocks noGrp="1"/>
          </p:cNvSpPr>
          <p:nvPr>
            <p:ph type="pic" sz="quarter" idx="11"/>
          </p:nvPr>
        </p:nvSpPr>
        <p:spPr>
          <a:xfrm>
            <a:off x="4857108" y="0"/>
            <a:ext cx="7315200" cy="6248400"/>
          </a:xfrm>
        </p:spPr>
        <p:txBody>
          <a:bodyPr/>
          <a:lstStyle/>
          <a:p>
            <a:r>
              <a:rPr lang="en-US" dirty="0" smtClean="0"/>
              <a:t>Click icon to add picture</a:t>
            </a:r>
            <a:endParaRPr lang="en-US" dirty="0"/>
          </a:p>
        </p:txBody>
      </p:sp>
      <p:sp>
        <p:nvSpPr>
          <p:cNvPr id="10" name="Text Placeholder 9">
            <a:extLst>
              <a:ext uri="{FF2B5EF4-FFF2-40B4-BE49-F238E27FC236}">
                <a16:creationId xmlns:a16="http://schemas.microsoft.com/office/drawing/2014/main" id="{67EC31F5-38FD-4982-B65F-DC98AB6F41A6}"/>
              </a:ext>
            </a:extLst>
          </p:cNvPr>
          <p:cNvSpPr>
            <a:spLocks noGrp="1"/>
          </p:cNvSpPr>
          <p:nvPr>
            <p:ph type="body" sz="quarter" idx="12" hasCustomPrompt="1"/>
          </p:nvPr>
        </p:nvSpPr>
        <p:spPr>
          <a:xfrm>
            <a:off x="609600" y="1371600"/>
            <a:ext cx="3505200" cy="990600"/>
          </a:xfrm>
        </p:spPr>
        <p:txBody>
          <a:bodyPr>
            <a:noAutofit/>
          </a:bodyPr>
          <a:lstStyle>
            <a:lvl1pPr>
              <a:defRPr sz="9600">
                <a:solidFill>
                  <a:srgbClr val="0072BC"/>
                </a:solidFill>
              </a:defRPr>
            </a:lvl1pPr>
          </a:lstStyle>
          <a:p>
            <a:pPr lvl="0"/>
            <a:r>
              <a:rPr lang="en-US" dirty="0"/>
              <a:t>Big Fact</a:t>
            </a:r>
          </a:p>
        </p:txBody>
      </p:sp>
      <p:sp>
        <p:nvSpPr>
          <p:cNvPr id="14" name="Text Placeholder 13">
            <a:extLst>
              <a:ext uri="{FF2B5EF4-FFF2-40B4-BE49-F238E27FC236}">
                <a16:creationId xmlns:a16="http://schemas.microsoft.com/office/drawing/2014/main" id="{D92C42DC-2C17-40EC-BDEE-98CA1B851929}"/>
              </a:ext>
            </a:extLst>
          </p:cNvPr>
          <p:cNvSpPr>
            <a:spLocks noGrp="1"/>
          </p:cNvSpPr>
          <p:nvPr>
            <p:ph type="body" sz="quarter" idx="13"/>
          </p:nvPr>
        </p:nvSpPr>
        <p:spPr>
          <a:xfrm>
            <a:off x="1306649" y="2514600"/>
            <a:ext cx="2791219" cy="1524000"/>
          </a:xfrm>
        </p:spPr>
        <p:txBody>
          <a:bodyPr/>
          <a:lstStyle>
            <a:lvl1pPr algn="r">
              <a:defRPr/>
            </a:lvl1pPr>
            <a:lvl2pPr marL="306910" indent="0">
              <a:buNone/>
              <a:defRPr/>
            </a:lvl2pPr>
          </a:lstStyle>
          <a:p>
            <a:pPr lvl="0"/>
            <a:r>
              <a:rPr lang="en-US" smtClean="0"/>
              <a:t>Edit Master text styles</a:t>
            </a:r>
          </a:p>
        </p:txBody>
      </p:sp>
    </p:spTree>
    <p:extLst>
      <p:ext uri="{BB962C8B-B14F-4D97-AF65-F5344CB8AC3E}">
        <p14:creationId xmlns:p14="http://schemas.microsoft.com/office/powerpoint/2010/main" val="28709322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Appendix Slid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9601C2A5-D6F0-419E-8B2A-09D8903D5C45}" type="slidenum">
              <a:rPr lang="en-US" smtClean="0"/>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443728"/>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a:extLst>
              <a:ext uri="{FF2B5EF4-FFF2-40B4-BE49-F238E27FC236}">
                <a16:creationId xmlns:a16="http://schemas.microsoft.com/office/drawing/2014/main" id="{5D930A23-EAF3-497F-8E4D-0179FF3F62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4188160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fidential">
    <p:spTree>
      <p:nvGrpSpPr>
        <p:cNvPr id="1" name=""/>
        <p:cNvGrpSpPr/>
        <p:nvPr/>
      </p:nvGrpSpPr>
      <p:grpSpPr>
        <a:xfrm>
          <a:off x="0" y="0"/>
          <a:ext cx="0" cy="0"/>
          <a:chOff x="0" y="0"/>
          <a:chExt cx="0" cy="0"/>
        </a:xfrm>
      </p:grpSpPr>
      <p:sp>
        <p:nvSpPr>
          <p:cNvPr id="5" name="TextBox 4"/>
          <p:cNvSpPr txBox="1"/>
          <p:nvPr/>
        </p:nvSpPr>
        <p:spPr>
          <a:xfrm>
            <a:off x="4845333" y="5954633"/>
            <a:ext cx="3168352" cy="584775"/>
          </a:xfrm>
          <a:prstGeom prst="rect">
            <a:avLst/>
          </a:prstGeom>
          <a:noFill/>
        </p:spPr>
        <p:txBody>
          <a:bodyPr wrap="square" rtlCol="0">
            <a:spAutoFit/>
          </a:bodyPr>
          <a:lstStyle/>
          <a:p>
            <a:pPr algn="ctr"/>
            <a:r>
              <a:rPr lang="en-US" sz="3200" dirty="0">
                <a:solidFill>
                  <a:srgbClr val="FF0000"/>
                </a:solidFill>
                <a:latin typeface="Myriad Pro Light" pitchFamily="34" charset="0"/>
              </a:rPr>
              <a:t>Confidential</a:t>
            </a:r>
          </a:p>
        </p:txBody>
      </p:sp>
      <p:sp>
        <p:nvSpPr>
          <p:cNvPr id="6" name="Slide Number Placeholder 5"/>
          <p:cNvSpPr>
            <a:spLocks noGrp="1"/>
          </p:cNvSpPr>
          <p:nvPr>
            <p:ph type="sldNum" sz="quarter" idx="10"/>
          </p:nvPr>
        </p:nvSpPr>
        <p:spPr/>
        <p:txBody>
          <a:bodyPr/>
          <a:lstStyle/>
          <a:p>
            <a:fld id="{9601C2A5-D6F0-419E-8B2A-09D8903D5C45}" type="slidenum">
              <a:rPr lang="en-US" smtClean="0"/>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a:extLst>
              <a:ext uri="{FF2B5EF4-FFF2-40B4-BE49-F238E27FC236}">
                <a16:creationId xmlns:a16="http://schemas.microsoft.com/office/drawing/2014/main" id="{57B67CA4-A96E-4EB9-B3D9-131388AB3D9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14353804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9601C2A5-D6F0-419E-8B2A-09D8903D5C45}" type="slidenum">
              <a:rPr lang="en-US" smtClean="0"/>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smtClean="0"/>
              <a:t>Click to edit Master title style</a:t>
            </a:r>
            <a:endParaRPr lang="en-US" dirty="0"/>
          </a:p>
        </p:txBody>
      </p:sp>
    </p:spTree>
    <p:extLst>
      <p:ext uri="{BB962C8B-B14F-4D97-AF65-F5344CB8AC3E}">
        <p14:creationId xmlns:p14="http://schemas.microsoft.com/office/powerpoint/2010/main" val="2225934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Only" preserve="1">
  <p:cSld name="Title No Logo">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601C2A5-D6F0-419E-8B2A-09D8903D5C45}" type="slidenum">
              <a:rPr lang="en-US" smtClean="0"/>
              <a:t>‹#›</a:t>
            </a:fld>
            <a:endParaRPr lang="en-US" dirty="0"/>
          </a:p>
        </p:txBody>
      </p:sp>
      <p:sp>
        <p:nvSpPr>
          <p:cNvPr id="2" name="Title 1"/>
          <p:cNvSpPr>
            <a:spLocks noGrp="1"/>
          </p:cNvSpPr>
          <p:nvPr>
            <p:ph type="title"/>
          </p:nvPr>
        </p:nvSpPr>
        <p:spPr>
          <a:xfrm>
            <a:off x="816864" y="118872"/>
            <a:ext cx="10765536" cy="576072"/>
          </a:xfrm>
        </p:spPr>
        <p:txBody>
          <a:bodyPr anchor="ctr" anchorCtr="0"/>
          <a:lstStyle/>
          <a:p>
            <a:r>
              <a:rPr lang="en-US" smtClean="0"/>
              <a:t>Click to edit Master title style</a:t>
            </a:r>
            <a:endParaRPr lang="en-US" dirty="0"/>
          </a:p>
        </p:txBody>
      </p:sp>
    </p:spTree>
    <p:extLst>
      <p:ext uri="{BB962C8B-B14F-4D97-AF65-F5344CB8AC3E}">
        <p14:creationId xmlns:p14="http://schemas.microsoft.com/office/powerpoint/2010/main" val="2701960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691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marL="0" indent="0">
              <a:buFont typeface="Arial" panose="020B0604020202020204" pitchFamily="34" charset="0"/>
              <a:buNone/>
              <a:defRPr sz="2400">
                <a:solidFill>
                  <a:srgbClr val="333333"/>
                </a:solidFill>
                <a:latin typeface="Calibri" panose="020F0502020204030204" pitchFamily="34" charset="0"/>
              </a:defRPr>
            </a:lvl1pPr>
            <a:lvl2pPr marL="461963" indent="-231775">
              <a:buFont typeface="Arial" panose="020B0604020202020204" pitchFamily="34" charset="0"/>
              <a:buChar char="•"/>
              <a:tabLst>
                <a:tab pos="342900" algn="l"/>
                <a:tab pos="855663" algn="l"/>
                <a:tab pos="1257300" algn="l"/>
                <a:tab pos="1598613" algn="l"/>
              </a:tabLst>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0035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Blac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398596"/>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2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2563893386"/>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3_Title &amp; Content No Logo">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00075"/>
            <a:ext cx="406400" cy="565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1216191625"/>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10_Title &amp; Content No Logo">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00075"/>
            <a:ext cx="406400" cy="565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3530508603"/>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13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332676541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14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2410531243"/>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cSld name="15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2165470381"/>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cSld name="17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3103704209"/>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16_Title &amp; Content No Logo">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00075"/>
            <a:ext cx="406400" cy="565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15413" y="116632"/>
            <a:ext cx="10766987" cy="576064"/>
          </a:xfrm>
        </p:spPr>
        <p:txBody>
          <a:bodyPr>
            <a:noAutofit/>
          </a:bodyPr>
          <a:lstStyle>
            <a:lvl1pPr>
              <a:defRPr sz="4800">
                <a:solidFill>
                  <a:srgbClr val="0070C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815413" y="804672"/>
            <a:ext cx="10766987" cy="5212080"/>
          </a:xfrm>
        </p:spPr>
        <p:txBody>
          <a:bodyPr>
            <a:normAutofit/>
          </a:bodyPr>
          <a:lstStyle>
            <a:lvl1pPr>
              <a:defRPr sz="3200">
                <a:solidFill>
                  <a:srgbClr val="333333"/>
                </a:solidFill>
                <a:latin typeface="Calibri" panose="020F0502020204030204" pitchFamily="34" charset="0"/>
              </a:defRPr>
            </a:lvl1pPr>
            <a:lvl2pPr marL="615935" indent="-309026">
              <a:buFont typeface="Arial" panose="020B0604020202020204" pitchFamily="34" charset="0"/>
              <a:buChar char="•"/>
              <a:defRPr sz="2667">
                <a:solidFill>
                  <a:srgbClr val="333333"/>
                </a:solidFill>
                <a:latin typeface="Calibri" panose="020F0502020204030204" pitchFamily="34" charset="0"/>
              </a:defRPr>
            </a:lvl2pPr>
            <a:lvl3pPr marL="1221287" indent="-302676">
              <a:buFont typeface="Myriad Pro" pitchFamily="34" charset="0"/>
              <a:buChar char="º"/>
              <a:defRPr lang="en-US" sz="2667" kern="1200" dirty="0" smtClean="0">
                <a:solidFill>
                  <a:srgbClr val="333333"/>
                </a:solidFill>
                <a:latin typeface="Calibri" panose="020F0502020204030204" pitchFamily="34" charset="0"/>
                <a:ea typeface="+mn-ea"/>
                <a:cs typeface="+mn-cs"/>
              </a:defRPr>
            </a:lvl3pPr>
            <a:lvl4pPr marL="1828754" indent="-302676">
              <a:buFont typeface="Arial" panose="020B0604020202020204" pitchFamily="34" charset="0"/>
              <a:buChar char="‒"/>
              <a:defRPr sz="2667">
                <a:solidFill>
                  <a:srgbClr val="333333"/>
                </a:solidFill>
                <a:latin typeface="Calibri" panose="020F0502020204030204" pitchFamily="34" charset="0"/>
              </a:defRPr>
            </a:lvl4pPr>
            <a:lvl5pPr marL="2440456" indent="-302676">
              <a:buFont typeface="Arial" panose="020B0604020202020204" pitchFamily="34" charset="0"/>
              <a:buChar char="‒"/>
              <a:defRPr sz="2667">
                <a:solidFill>
                  <a:srgbClr val="333333"/>
                </a:solidFill>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601C2A5-D6F0-419E-8B2A-09D8903D5C45}" type="slidenum">
              <a:rPr lang="en-US" smtClean="0"/>
              <a:t>‹#›</a:t>
            </a:fld>
            <a:endParaRPr lang="en-US" dirty="0"/>
          </a:p>
        </p:txBody>
      </p:sp>
    </p:spTree>
    <p:extLst>
      <p:ext uri="{BB962C8B-B14F-4D97-AF65-F5344CB8AC3E}">
        <p14:creationId xmlns:p14="http://schemas.microsoft.com/office/powerpoint/2010/main" val="1765749645"/>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11_Title &amp; Content No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0EAB7B6-D8D4-764A-AF6F-4F9BFA624F8B}"/>
              </a:ext>
            </a:extLst>
          </p:cNvPr>
          <p:cNvSpPr/>
          <p:nvPr/>
        </p:nvSpPr>
        <p:spPr>
          <a:xfrm>
            <a:off x="-7345" y="0"/>
            <a:ext cx="2806991" cy="2514600"/>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60960" rIns="60960" rtlCol="0" anchor="ctr">
            <a:noAutofit/>
          </a:bodyPr>
          <a:lstStyle/>
          <a:p>
            <a:pPr algn="ctr">
              <a:spcAft>
                <a:spcPts val="400"/>
              </a:spcAft>
            </a:pPr>
            <a:endParaRPr lang="en-US" sz="2400" dirty="0">
              <a:latin typeface="Calibri" panose="020F0502020204030204" pitchFamily="34" charset="0"/>
            </a:endParaRP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27586"/>
            <a:ext cx="480053" cy="297454"/>
          </a:xfrm>
        </p:spPr>
        <p:txBody>
          <a:bodyPr/>
          <a:lstStyle>
            <a:lvl1pPr>
              <a:defRPr>
                <a:solidFill>
                  <a:schemeClr val="bg1"/>
                </a:solidFill>
              </a:defRPr>
            </a:lvl1pPr>
          </a:lstStyle>
          <a:p>
            <a:fld id="{9601C2A5-D6F0-419E-8B2A-09D8903D5C45}" type="slidenum">
              <a:rPr lang="en-US" smtClean="0"/>
              <a:t>‹#›</a:t>
            </a:fld>
            <a:endParaRPr lang="en-US" dirty="0"/>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12" name="Straight Connector 11">
            <a:extLst>
              <a:ext uri="{FF2B5EF4-FFF2-40B4-BE49-F238E27FC236}">
                <a16:creationId xmlns:a16="http://schemas.microsoft.com/office/drawing/2014/main" id="{417BF937-7A8C-FB48-A568-C70BC604697B}"/>
              </a:ext>
            </a:extLst>
          </p:cNvPr>
          <p:cNvCxnSpPr>
            <a:cxnSpLocks/>
          </p:cNvCxnSpPr>
          <p:nvPr/>
        </p:nvCxnSpPr>
        <p:spPr>
          <a:xfrm>
            <a:off x="304800" y="1224661"/>
            <a:ext cx="2133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35">
            <a:extLst>
              <a:ext uri="{FF2B5EF4-FFF2-40B4-BE49-F238E27FC236}">
                <a16:creationId xmlns:a16="http://schemas.microsoft.com/office/drawing/2014/main" id="{70C722EB-EB33-164A-84CD-22F8A24E8FAD}"/>
              </a:ext>
            </a:extLst>
          </p:cNvPr>
          <p:cNvSpPr>
            <a:spLocks noGrp="1"/>
          </p:cNvSpPr>
          <p:nvPr>
            <p:ph type="body" sz="quarter" idx="17"/>
          </p:nvPr>
        </p:nvSpPr>
        <p:spPr>
          <a:xfrm>
            <a:off x="324052" y="420689"/>
            <a:ext cx="2114349" cy="722313"/>
          </a:xfrm>
        </p:spPr>
        <p:txBody>
          <a:bodyPr>
            <a:noAutofit/>
          </a:bodyPr>
          <a:lstStyle>
            <a:lvl1pPr>
              <a:defRPr sz="4800" b="0" spc="-200">
                <a:solidFill>
                  <a:schemeClr val="bg1"/>
                </a:solidFill>
              </a:defRPr>
            </a:lvl1pPr>
            <a:lvl2pPr>
              <a:defRPr sz="4800" b="1" spc="-200">
                <a:solidFill>
                  <a:schemeClr val="bg1"/>
                </a:solidFill>
              </a:defRPr>
            </a:lvl2pPr>
            <a:lvl3pPr>
              <a:defRPr sz="4800" b="1" spc="-200">
                <a:solidFill>
                  <a:schemeClr val="bg1"/>
                </a:solidFill>
              </a:defRPr>
            </a:lvl3pPr>
            <a:lvl4pPr>
              <a:defRPr sz="4800" b="1" spc="-200">
                <a:solidFill>
                  <a:schemeClr val="bg1"/>
                </a:solidFill>
              </a:defRPr>
            </a:lvl4pPr>
            <a:lvl5pPr>
              <a:defRPr sz="4800" b="1" spc="-200">
                <a:solidFill>
                  <a:schemeClr val="bg1"/>
                </a:solidFill>
              </a:defRPr>
            </a:lvl5pPr>
          </a:lstStyle>
          <a:p>
            <a:pPr lvl="0"/>
            <a:r>
              <a:rPr lang="en-US" smtClean="0"/>
              <a:t>Edit Master text styles</a:t>
            </a:r>
          </a:p>
        </p:txBody>
      </p:sp>
      <p:sp>
        <p:nvSpPr>
          <p:cNvPr id="16" name="Text Placeholder 35">
            <a:extLst>
              <a:ext uri="{FF2B5EF4-FFF2-40B4-BE49-F238E27FC236}">
                <a16:creationId xmlns:a16="http://schemas.microsoft.com/office/drawing/2014/main" id="{0C21626F-6645-6649-9A96-B1F644CB3973}"/>
              </a:ext>
            </a:extLst>
          </p:cNvPr>
          <p:cNvSpPr>
            <a:spLocks noGrp="1"/>
          </p:cNvSpPr>
          <p:nvPr>
            <p:ph type="body" sz="quarter" idx="18"/>
          </p:nvPr>
        </p:nvSpPr>
        <p:spPr>
          <a:xfrm>
            <a:off x="291550" y="1362331"/>
            <a:ext cx="2146852" cy="847471"/>
          </a:xfrm>
        </p:spPr>
        <p:txBody>
          <a:bodyPr>
            <a:noAutofit/>
          </a:bodyPr>
          <a:lstStyle>
            <a:lvl1pPr>
              <a:defRPr sz="3200" b="0" spc="0">
                <a:solidFill>
                  <a:schemeClr val="bg1"/>
                </a:solidFill>
              </a:defRPr>
            </a:lvl1pPr>
            <a:lvl2pPr>
              <a:defRPr sz="3200" b="0" spc="0">
                <a:solidFill>
                  <a:schemeClr val="bg1"/>
                </a:solidFill>
              </a:defRPr>
            </a:lvl2pPr>
            <a:lvl3pPr>
              <a:defRPr sz="3200" b="0" spc="0">
                <a:solidFill>
                  <a:schemeClr val="bg1"/>
                </a:solidFill>
              </a:defRPr>
            </a:lvl3pPr>
            <a:lvl4pPr>
              <a:defRPr sz="3200" b="0" spc="0">
                <a:solidFill>
                  <a:schemeClr val="bg1"/>
                </a:solidFill>
              </a:defRPr>
            </a:lvl4pPr>
            <a:lvl5pPr>
              <a:defRPr sz="3200" b="0" spc="0">
                <a:solidFill>
                  <a:schemeClr val="bg1"/>
                </a:solidFill>
              </a:defRPr>
            </a:lvl5pPr>
          </a:lstStyle>
          <a:p>
            <a:pPr lvl="0"/>
            <a:r>
              <a:rPr lang="en-US" smtClean="0"/>
              <a:t>Edit Master text styles</a:t>
            </a:r>
          </a:p>
        </p:txBody>
      </p:sp>
      <p:sp>
        <p:nvSpPr>
          <p:cNvPr id="17" name="Picture Placeholder 8">
            <a:extLst>
              <a:ext uri="{FF2B5EF4-FFF2-40B4-BE49-F238E27FC236}">
                <a16:creationId xmlns:a16="http://schemas.microsoft.com/office/drawing/2014/main" id="{E1FD24A8-06D7-8840-968A-37A951735A70}"/>
              </a:ext>
            </a:extLst>
          </p:cNvPr>
          <p:cNvSpPr>
            <a:spLocks noGrp="1"/>
          </p:cNvSpPr>
          <p:nvPr>
            <p:ph type="pic" sz="quarter" idx="11"/>
          </p:nvPr>
        </p:nvSpPr>
        <p:spPr>
          <a:xfrm>
            <a:off x="2971801" y="2"/>
            <a:ext cx="9220200" cy="6294119"/>
          </a:xfrm>
        </p:spPr>
        <p:txBody>
          <a:bodyPr/>
          <a:lstStyle/>
          <a:p>
            <a:r>
              <a:rPr lang="en-US" dirty="0" smtClean="0"/>
              <a:t>Click icon to add picture</a:t>
            </a:r>
            <a:endParaRPr lang="en-US" dirty="0"/>
          </a:p>
        </p:txBody>
      </p:sp>
      <p:sp>
        <p:nvSpPr>
          <p:cNvPr id="14" name="Picture Placeholder 8">
            <a:extLst>
              <a:ext uri="{FF2B5EF4-FFF2-40B4-BE49-F238E27FC236}">
                <a16:creationId xmlns:a16="http://schemas.microsoft.com/office/drawing/2014/main" id="{C0A5D325-1FDE-F84D-BD86-2FF7BCB16563}"/>
              </a:ext>
            </a:extLst>
          </p:cNvPr>
          <p:cNvSpPr>
            <a:spLocks noGrp="1"/>
          </p:cNvSpPr>
          <p:nvPr>
            <p:ph type="pic" sz="quarter" idx="19"/>
          </p:nvPr>
        </p:nvSpPr>
        <p:spPr>
          <a:xfrm>
            <a:off x="-7345" y="2661563"/>
            <a:ext cx="2806991" cy="3632559"/>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1047490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2971800" y="12395"/>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3484033" y="566936"/>
            <a:ext cx="8707967" cy="576064"/>
          </a:xfrm>
        </p:spPr>
        <p:txBody>
          <a:bodyPr>
            <a:noAutofit/>
          </a:bodyPr>
          <a:lstStyle>
            <a:lvl1pPr>
              <a:defRPr sz="3600" b="0" spc="-15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84033" y="1295400"/>
            <a:ext cx="8707967"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3581400"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Picture Placeholder 8">
            <a:extLst>
              <a:ext uri="{FF2B5EF4-FFF2-40B4-BE49-F238E27FC236}">
                <a16:creationId xmlns:a16="http://schemas.microsoft.com/office/drawing/2014/main" id="{C0A96344-4730-41AF-80F5-414671E9FAEE}"/>
              </a:ext>
            </a:extLst>
          </p:cNvPr>
          <p:cNvSpPr>
            <a:spLocks noGrp="1"/>
          </p:cNvSpPr>
          <p:nvPr>
            <p:ph type="pic" sz="quarter" idx="11"/>
          </p:nvPr>
        </p:nvSpPr>
        <p:spPr>
          <a:xfrm>
            <a:off x="0" y="2661561"/>
            <a:ext cx="2799792" cy="3586839"/>
          </a:xfrm>
        </p:spPr>
        <p:txBody>
          <a:bodyPr/>
          <a:lstStyle/>
          <a:p>
            <a:endParaRPr lang="en-US" dirty="0"/>
          </a:p>
        </p:txBody>
      </p:sp>
      <p:sp>
        <p:nvSpPr>
          <p:cNvPr id="13" name="Picture Placeholder 8">
            <a:extLst>
              <a:ext uri="{FF2B5EF4-FFF2-40B4-BE49-F238E27FC236}">
                <a16:creationId xmlns:a16="http://schemas.microsoft.com/office/drawing/2014/main" id="{01EEE639-A46A-4799-BE78-D82C2A1C6287}"/>
              </a:ext>
            </a:extLst>
          </p:cNvPr>
          <p:cNvSpPr>
            <a:spLocks noGrp="1"/>
          </p:cNvSpPr>
          <p:nvPr>
            <p:ph type="pic" sz="quarter" idx="12"/>
          </p:nvPr>
        </p:nvSpPr>
        <p:spPr>
          <a:xfrm>
            <a:off x="7198" y="7716"/>
            <a:ext cx="2799792" cy="2506884"/>
          </a:xfrm>
        </p:spPr>
        <p:txBody>
          <a:bodyPr/>
          <a:lstStyle/>
          <a:p>
            <a:endParaRPr lang="en-US" dirty="0"/>
          </a:p>
        </p:txBody>
      </p:sp>
    </p:spTree>
    <p:extLst>
      <p:ext uri="{BB962C8B-B14F-4D97-AF65-F5344CB8AC3E}">
        <p14:creationId xmlns:p14="http://schemas.microsoft.com/office/powerpoint/2010/main" val="40387507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Text Placeholder 8"/>
          <p:cNvSpPr>
            <a:spLocks noGrp="1"/>
          </p:cNvSpPr>
          <p:nvPr>
            <p:ph type="body" sz="quarter" idx="12" hasCustomPrompt="1"/>
          </p:nvPr>
        </p:nvSpPr>
        <p:spPr>
          <a:xfrm>
            <a:off x="609600" y="3733800"/>
            <a:ext cx="5486400" cy="1066800"/>
          </a:xfrm>
        </p:spPr>
        <p:txBody>
          <a:bodyPr/>
          <a:lstStyle>
            <a:lvl1pPr marL="0" algn="l" defTabSz="914491" rtl="0" eaLnBrk="1" latinLnBrk="0" hangingPunct="1">
              <a:spcBef>
                <a:spcPct val="0"/>
              </a:spcBef>
              <a:buNone/>
              <a:defRPr lang="en-CA" sz="1400" b="0" kern="1200" spc="0" baseline="0" dirty="0">
                <a:solidFill>
                  <a:schemeClr val="tx2"/>
                </a:solidFill>
                <a:latin typeface="+mn-lt"/>
                <a:ea typeface="+mj-ea"/>
                <a:cs typeface="Gilroy" panose="00000500000000000000" pitchFamily="2" charset="0"/>
              </a:defRPr>
            </a:lvl1pPr>
          </a:lstStyle>
          <a:p>
            <a:pPr lvl="0"/>
            <a:r>
              <a:rPr lang="en-US" dirty="0"/>
              <a:t>Subtitle</a:t>
            </a:r>
            <a:endParaRPr lang="en-CA" dirty="0"/>
          </a:p>
        </p:txBody>
      </p:sp>
      <p:sp>
        <p:nvSpPr>
          <p:cNvPr id="10" name="Title 9"/>
          <p:cNvSpPr>
            <a:spLocks noGrp="1"/>
          </p:cNvSpPr>
          <p:nvPr>
            <p:ph type="title" hasCustomPrompt="1"/>
          </p:nvPr>
        </p:nvSpPr>
        <p:spPr>
          <a:xfrm>
            <a:off x="609601" y="3262312"/>
            <a:ext cx="5486400" cy="304800"/>
          </a:xfrm>
        </p:spPr>
        <p:txBody>
          <a:bodyPr anchor="ctr"/>
          <a:lstStyle>
            <a:lvl1pPr>
              <a:defRPr sz="1800"/>
            </a:lvl1pPr>
          </a:lstStyle>
          <a:p>
            <a:r>
              <a:rPr lang="en-US" dirty="0"/>
              <a:t>Title</a:t>
            </a:r>
            <a:endParaRPr lang="en-CA" dirty="0"/>
          </a:p>
        </p:txBody>
      </p:sp>
      <p:sp>
        <p:nvSpPr>
          <p:cNvPr id="13" name="Text Placeholder 12"/>
          <p:cNvSpPr>
            <a:spLocks noGrp="1"/>
          </p:cNvSpPr>
          <p:nvPr>
            <p:ph type="body" sz="quarter" idx="13" hasCustomPrompt="1"/>
          </p:nvPr>
        </p:nvSpPr>
        <p:spPr>
          <a:xfrm>
            <a:off x="614362" y="5867401"/>
            <a:ext cx="5483226" cy="152399"/>
          </a:xfrm>
        </p:spPr>
        <p:txBody>
          <a:bodyPr/>
          <a:lstStyle>
            <a:lvl1pPr marL="0" algn="l" defTabSz="914491" rtl="0" eaLnBrk="1" latinLnBrk="0" hangingPunct="1">
              <a:spcBef>
                <a:spcPct val="0"/>
              </a:spcBef>
              <a:buNone/>
              <a:defRPr lang="en-CA" sz="1000" b="0" kern="1200" spc="0" baseline="0" dirty="0">
                <a:solidFill>
                  <a:schemeClr val="tx2"/>
                </a:solidFill>
                <a:latin typeface="+mn-lt"/>
                <a:ea typeface="+mj-ea"/>
                <a:cs typeface="Gilroy" panose="00000500000000000000" pitchFamily="2" charset="0"/>
              </a:defRPr>
            </a:lvl1pPr>
          </a:lstStyle>
          <a:p>
            <a:pPr lvl="0"/>
            <a:r>
              <a:rPr lang="en-US" dirty="0"/>
              <a:t>Presented to &lt;Customer Name&gt;  |  &lt;Date&gt;</a:t>
            </a:r>
            <a:endParaRPr lang="en-CA" dirty="0"/>
          </a:p>
        </p:txBody>
      </p:sp>
      <p:pic>
        <p:nvPicPr>
          <p:cNvPr id="69" name="Picture 68"/>
          <p:cNvPicPr>
            <a:picLocks noChangeAspect="1"/>
          </p:cNvPicPr>
          <p:nvPr userDrawn="1"/>
        </p:nvPicPr>
        <p:blipFill>
          <a:blip r:embed="rId2"/>
          <a:stretch>
            <a:fillRect/>
          </a:stretch>
        </p:blipFill>
        <p:spPr>
          <a:xfrm>
            <a:off x="9753600" y="5820811"/>
            <a:ext cx="1828800" cy="198989"/>
          </a:xfrm>
          <a:prstGeom prst="rect">
            <a:avLst/>
          </a:prstGeom>
        </p:spPr>
      </p:pic>
      <p:pic>
        <p:nvPicPr>
          <p:cNvPr id="3" name="Picture 2"/>
          <p:cNvPicPr>
            <a:picLocks noChangeAspect="1"/>
          </p:cNvPicPr>
          <p:nvPr userDrawn="1"/>
        </p:nvPicPr>
        <p:blipFill>
          <a:blip r:embed="rId3"/>
          <a:stretch>
            <a:fillRect/>
          </a:stretch>
        </p:blipFill>
        <p:spPr>
          <a:xfrm>
            <a:off x="6858000" y="2954860"/>
            <a:ext cx="4724400" cy="593992"/>
          </a:xfrm>
          <a:prstGeom prst="rect">
            <a:avLst/>
          </a:prstGeom>
        </p:spPr>
      </p:pic>
    </p:spTree>
    <p:extLst>
      <p:ext uri="{BB962C8B-B14F-4D97-AF65-F5344CB8AC3E}">
        <p14:creationId xmlns:p14="http://schemas.microsoft.com/office/powerpoint/2010/main" val="921989358"/>
      </p:ext>
    </p:extLst>
  </p:cSld>
  <p:clrMapOvr>
    <a:masterClrMapping/>
  </p:clrMapOvr>
  <p:extLst>
    <p:ext uri="{DCECCB84-F9BA-43D5-87BE-67443E8EF086}">
      <p15:sldGuideLst xmlns:p15="http://schemas.microsoft.com/office/powerpoint/2012/main">
        <p15:guide id="1" pos="384">
          <p15:clr>
            <a:srgbClr val="FBAE40"/>
          </p15:clr>
        </p15:guide>
        <p15:guide id="2" pos="7296">
          <p15:clr>
            <a:srgbClr val="FBAE40"/>
          </p15:clr>
        </p15:guide>
        <p15:guide id="3" pos="3840">
          <p15:clr>
            <a:srgbClr val="FBAE40"/>
          </p15:clr>
        </p15:guide>
        <p15:guide id="4" orient="horz" pos="43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p:bg>
      <p:bgRef idx="1001">
        <a:schemeClr val="bg1"/>
      </p:bgRef>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1000" y="990600"/>
            <a:ext cx="11430000" cy="50292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8" name="Title 7"/>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369007815"/>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Content">
    <p:bg>
      <p:bgRef idx="1001">
        <a:schemeClr val="bg1"/>
      </p:bgRef>
    </p:bg>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1000" y="1524000"/>
            <a:ext cx="11430000" cy="44958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8" name="Text Placeholder 7"/>
          <p:cNvSpPr>
            <a:spLocks noGrp="1"/>
          </p:cNvSpPr>
          <p:nvPr>
            <p:ph type="body" sz="quarter" idx="13"/>
          </p:nvPr>
        </p:nvSpPr>
        <p:spPr>
          <a:xfrm>
            <a:off x="379413" y="990600"/>
            <a:ext cx="11431587" cy="304800"/>
          </a:xfrm>
        </p:spPr>
        <p:txBody>
          <a:bodyPr/>
          <a:lstStyle>
            <a:lvl1pPr marL="0" algn="l" defTabSz="914491" rtl="0" eaLnBrk="1" latinLnBrk="0" hangingPunct="1">
              <a:spcBef>
                <a:spcPct val="0"/>
              </a:spcBef>
              <a:buNone/>
              <a:defRPr lang="en-CA" sz="1800" b="0" kern="1200" spc="0" baseline="0" dirty="0">
                <a:solidFill>
                  <a:schemeClr val="tx2"/>
                </a:solidFill>
                <a:latin typeface="+mn-lt"/>
                <a:ea typeface="+mj-ea"/>
                <a:cs typeface="Gilroy" panose="00000500000000000000" pitchFamily="2" charset="0"/>
              </a:defRPr>
            </a:lvl1pPr>
          </a:lstStyle>
          <a:p>
            <a:pPr lvl="0"/>
            <a:r>
              <a:rPr lang="en-US" dirty="0"/>
              <a:t>Click to edit Master text styles</a:t>
            </a:r>
            <a:endParaRPr lang="en-CA" dirty="0"/>
          </a:p>
        </p:txBody>
      </p:sp>
      <p:sp>
        <p:nvSpPr>
          <p:cNvPr id="9" name="Title 8"/>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345149749"/>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306121" y="8070"/>
            <a:ext cx="11046910" cy="941161"/>
          </a:xfrm>
          <a:prstGeom prst="rect">
            <a:avLst/>
          </a:prstGeom>
        </p:spPr>
        <p:txBody>
          <a:bodyPr vert="horz" lIns="91440" tIns="45720" rIns="91440" bIns="45720" rtlCol="0" anchor="ctr">
            <a:normAutofit/>
          </a:bodyPr>
          <a:lstStyle>
            <a:lvl1pPr>
              <a:defRPr sz="2800" b="1"/>
            </a:lvl1pPr>
          </a:lstStyle>
          <a:p>
            <a:r>
              <a:rPr lang="en-US" dirty="0"/>
              <a:t>Click to edit header title style</a:t>
            </a:r>
            <a:br>
              <a:rPr lang="en-US" dirty="0"/>
            </a:br>
            <a:r>
              <a:rPr lang="en-US" dirty="0"/>
              <a:t>Secondary line for title if needed.</a:t>
            </a:r>
          </a:p>
        </p:txBody>
      </p:sp>
      <p:sp>
        <p:nvSpPr>
          <p:cNvPr id="15" name="Date Placeholder 3"/>
          <p:cNvSpPr txBox="1">
            <a:spLocks/>
          </p:cNvSpPr>
          <p:nvPr userDrawn="1"/>
        </p:nvSpPr>
        <p:spPr>
          <a:xfrm>
            <a:off x="10486621" y="6320608"/>
            <a:ext cx="1230762"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007FF2-EC3A-49D6-9F83-61B88A62796F}" type="datetimeFigureOut">
              <a:rPr lang="en-US" sz="1000" smtClean="0"/>
              <a:pPr/>
              <a:t>9/28/2021</a:t>
            </a:fld>
            <a:endParaRPr lang="en-US" sz="1000" dirty="0"/>
          </a:p>
        </p:txBody>
      </p:sp>
      <p:sp>
        <p:nvSpPr>
          <p:cNvPr id="17"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18856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6121" y="8070"/>
            <a:ext cx="11046910" cy="941161"/>
          </a:xfrm>
          <a:prstGeom prst="rect">
            <a:avLst/>
          </a:prstGeom>
        </p:spPr>
        <p:txBody>
          <a:bodyPr vert="horz" lIns="91440" tIns="45720" rIns="91440" bIns="45720" rtlCol="0" anchor="ctr">
            <a:normAutofit/>
          </a:bodyPr>
          <a:lstStyle>
            <a:lvl1pPr>
              <a:defRPr sz="2800"/>
            </a:lvl1pPr>
          </a:lstStyle>
          <a:p>
            <a:r>
              <a:rPr lang="en-US" dirty="0"/>
              <a:t>Click to edit header title style</a:t>
            </a:r>
            <a:br>
              <a:rPr lang="en-US" dirty="0"/>
            </a:br>
            <a:r>
              <a:rPr lang="en-US" dirty="0"/>
              <a:t>Secondary line for title if needed.</a:t>
            </a:r>
            <a:br>
              <a:rPr lang="en-US" dirty="0"/>
            </a:br>
            <a:endParaRPr lang="en-US" dirty="0"/>
          </a:p>
        </p:txBody>
      </p:sp>
      <p:sp>
        <p:nvSpPr>
          <p:cNvPr id="17"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63917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3500"/>
            <a:ext cx="10972800" cy="1295400"/>
          </a:xfrm>
        </p:spPr>
        <p:txBody>
          <a:bodyPr anchor="b" anchorCtr="0"/>
          <a:lstStyle>
            <a:lvl1pPr>
              <a:defRPr>
                <a:solidFill>
                  <a:srgbClr val="002752"/>
                </a:solidFill>
                <a:effectLst/>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marL="342900" indent="-342900">
              <a:lnSpc>
                <a:spcPts val="3360"/>
              </a:lnSpc>
              <a:spcAft>
                <a:spcPts val="600"/>
              </a:spcAft>
              <a:buClr>
                <a:srgbClr val="BF311A"/>
              </a:buClr>
              <a:buFont typeface="Wingdings" charset="2"/>
              <a:buChar char="§"/>
              <a:defRPr>
                <a:latin typeface="Arial" pitchFamily="34" charset="0"/>
                <a:cs typeface="Arial" pitchFamily="34" charset="0"/>
              </a:defRPr>
            </a:lvl1pPr>
            <a:lvl2pPr marL="742950" indent="-285750">
              <a:buClr>
                <a:srgbClr val="767B8C"/>
              </a:buClr>
              <a:buSzPct val="100000"/>
              <a:buFont typeface="Wingdings" pitchFamily="2" charset="2"/>
              <a:buChar char="§"/>
              <a:defRPr>
                <a:solidFill>
                  <a:srgbClr val="002752"/>
                </a:solidFill>
                <a:latin typeface="Arial" pitchFamily="34" charset="0"/>
                <a:cs typeface="Arial" pitchFamily="34" charset="0"/>
              </a:defRPr>
            </a:lvl2pPr>
            <a:lvl3pPr marL="1143000" indent="-228600">
              <a:buClr>
                <a:schemeClr val="accent2">
                  <a:lumMod val="50000"/>
                </a:schemeClr>
              </a:buClr>
              <a:buFont typeface="Wingdings" charset="2"/>
              <a:buChar char="§"/>
              <a:defRPr>
                <a:solidFill>
                  <a:schemeClr val="tx1">
                    <a:lumMod val="65000"/>
                    <a:lumOff val="35000"/>
                  </a:schemeClr>
                </a:solidFill>
                <a:latin typeface="Arial" pitchFamily="34" charset="0"/>
                <a:cs typeface="Arial" pitchFamily="34" charset="0"/>
              </a:defRPr>
            </a:lvl3pPr>
            <a:lvl4pPr>
              <a:buClr>
                <a:srgbClr val="A43221"/>
              </a:buClr>
              <a:defRPr>
                <a:solidFill>
                  <a:srgbClr val="002752"/>
                </a:solidFill>
                <a:latin typeface="Arial" pitchFamily="34" charset="0"/>
                <a:cs typeface="Arial" pitchFamily="34" charset="0"/>
              </a:defRPr>
            </a:lvl4pPr>
            <a:lvl5pPr>
              <a:buFont typeface="Wingdings" pitchFamily="2" charset="2"/>
              <a:buChar cha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p:cNvSpPr txBox="1"/>
          <p:nvPr userDrawn="1"/>
        </p:nvSpPr>
        <p:spPr>
          <a:xfrm>
            <a:off x="9195452" y="6654453"/>
            <a:ext cx="2472152" cy="261610"/>
          </a:xfrm>
          <a:prstGeom prst="rect">
            <a:avLst/>
          </a:prstGeom>
          <a:noFill/>
        </p:spPr>
        <p:txBody>
          <a:bodyPr wrap="none" rtlCol="0">
            <a:spAutoFit/>
          </a:bodyPr>
          <a:lstStyle/>
          <a:p>
            <a:pPr>
              <a:buClr>
                <a:srgbClr val="BF311A"/>
              </a:buClr>
            </a:pPr>
            <a:r>
              <a:rPr lang="en-US" sz="1100" dirty="0">
                <a:solidFill>
                  <a:schemeClr val="tx1"/>
                </a:solidFill>
                <a:latin typeface="+mn-lt"/>
              </a:rPr>
              <a:t>MICROSCAN INTERNAL CONFIDENTIAL</a:t>
            </a:r>
          </a:p>
        </p:txBody>
      </p:sp>
    </p:spTree>
    <p:extLst>
      <p:ext uri="{BB962C8B-B14F-4D97-AF65-F5344CB8AC3E}">
        <p14:creationId xmlns:p14="http://schemas.microsoft.com/office/powerpoint/2010/main" val="384247534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External_Secondary Slid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6121" y="8070"/>
            <a:ext cx="11046910" cy="941161"/>
          </a:xfrm>
          <a:prstGeom prst="rect">
            <a:avLst/>
          </a:prstGeom>
        </p:spPr>
        <p:txBody>
          <a:bodyPr vert="horz" lIns="91440" tIns="45720" rIns="91440" bIns="45720" rtlCol="0" anchor="ctr">
            <a:normAutofit/>
          </a:bodyPr>
          <a:lstStyle>
            <a:lvl1pPr>
              <a:defRPr sz="2800"/>
            </a:lvl1pPr>
          </a:lstStyle>
          <a:p>
            <a:r>
              <a:rPr lang="en-US" dirty="0"/>
              <a:t>Click to edit Master title style</a:t>
            </a:r>
          </a:p>
        </p:txBody>
      </p:sp>
      <p:sp>
        <p:nvSpPr>
          <p:cNvPr id="18" name="Text Placeholder 2"/>
          <p:cNvSpPr>
            <a:spLocks noGrp="1"/>
          </p:cNvSpPr>
          <p:nvPr>
            <p:ph idx="1"/>
          </p:nvPr>
        </p:nvSpPr>
        <p:spPr>
          <a:xfrm>
            <a:off x="306120" y="1303111"/>
            <a:ext cx="11690816" cy="4351338"/>
          </a:xfrm>
          <a:prstGeom prst="rect">
            <a:avLst/>
          </a:prstGeom>
        </p:spPr>
        <p:txBody>
          <a:bodyPr vert="horz" lIns="91440" tIns="45720" rIns="91440" bIns="45720" rtlCol="0">
            <a:normAutofit/>
          </a:bodyPr>
          <a:lstStyle>
            <a:lvl3pPr marL="1143000" indent="-228600">
              <a:buClr>
                <a:srgbClr val="C00000"/>
              </a:buClr>
              <a:buFont typeface="Wingdings" panose="05000000000000000000" pitchFamily="2" charset="2"/>
              <a:buChar char="ü"/>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302470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3"/>
            <a:ext cx="2743200" cy="365125"/>
          </a:xfrm>
          <a:prstGeom prst="rect">
            <a:avLst/>
          </a:prstGeom>
        </p:spPr>
        <p:txBody>
          <a:bodyPr/>
          <a:lstStyle/>
          <a:p>
            <a:fld id="{2ACFB2B6-262F-41EC-917B-1F9CD1387049}" type="datetimeFigureOut">
              <a:rPr lang="en-US" smtClean="0"/>
              <a:t>9/28/2021</a:t>
            </a:fld>
            <a:endParaRPr lang="en-US" dirty="0"/>
          </a:p>
        </p:txBody>
      </p:sp>
      <p:sp>
        <p:nvSpPr>
          <p:cNvPr id="3" name="Footer Placeholder 2"/>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10600" y="6356353"/>
            <a:ext cx="2743200" cy="365125"/>
          </a:xfrm>
          <a:prstGeom prst="rect">
            <a:avLst/>
          </a:prstGeom>
        </p:spPr>
        <p:txBody>
          <a:bodyPr/>
          <a:lstStyle/>
          <a:p>
            <a:fld id="{53361A19-DD0A-4B54-9294-7F55D176BD25}" type="slidenum">
              <a:rPr lang="en-US" smtClean="0"/>
              <a:t>‹#›</a:t>
            </a:fld>
            <a:endParaRPr lang="en-US" dirty="0"/>
          </a:p>
        </p:txBody>
      </p:sp>
    </p:spTree>
    <p:extLst>
      <p:ext uri="{BB962C8B-B14F-4D97-AF65-F5344CB8AC3E}">
        <p14:creationId xmlns:p14="http://schemas.microsoft.com/office/powerpoint/2010/main" val="306621179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ordary_Title Slide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16175" y="2987040"/>
            <a:ext cx="4945633" cy="1053737"/>
          </a:xfrm>
          <a:prstGeom prst="rect">
            <a:avLst/>
          </a:prstGeom>
        </p:spPr>
        <p:txBody>
          <a:bodyPr vert="horz" lIns="91440" tIns="45720" rIns="91440" bIns="45720" rtlCol="0" anchor="ctr">
            <a:normAutofit/>
          </a:bodyPr>
          <a:lstStyle/>
          <a:p>
            <a:r>
              <a:rPr lang="en-US" dirty="0"/>
              <a:t>Click to edit Master title style</a:t>
            </a:r>
          </a:p>
        </p:txBody>
      </p:sp>
      <p:sp>
        <p:nvSpPr>
          <p:cNvPr id="9" name="Text Placeholder 2"/>
          <p:cNvSpPr>
            <a:spLocks noGrp="1"/>
          </p:cNvSpPr>
          <p:nvPr>
            <p:ph type="body" idx="1" hasCustomPrompt="1"/>
          </p:nvPr>
        </p:nvSpPr>
        <p:spPr>
          <a:xfrm>
            <a:off x="216174" y="4760414"/>
            <a:ext cx="4945633" cy="917575"/>
          </a:xfrm>
          <a:prstGeom prst="rect">
            <a:avLst/>
          </a:prstGeom>
        </p:spPr>
        <p:txBody>
          <a:bodyPr vert="horz" lIns="91440" tIns="45720" rIns="91440" bIns="45720" rtlCol="0">
            <a:normAutofit/>
          </a:bodyPr>
          <a:lstStyle>
            <a:lvl1pPr>
              <a:defRPr>
                <a:latin typeface="+mj-lt"/>
              </a:defRPr>
            </a:lvl1pPr>
          </a:lstStyle>
          <a:p>
            <a:pPr lvl="0"/>
            <a:r>
              <a:rPr lang="en-US" dirty="0"/>
              <a:t>Click to edit text styles</a:t>
            </a:r>
          </a:p>
        </p:txBody>
      </p:sp>
    </p:spTree>
    <p:extLst>
      <p:ext uri="{BB962C8B-B14F-4D97-AF65-F5344CB8AC3E}">
        <p14:creationId xmlns:p14="http://schemas.microsoft.com/office/powerpoint/2010/main" val="7288081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B3203BD-9E8A-4211-B774-4137BE2FEAAD}"/>
              </a:ext>
            </a:extLst>
          </p:cNvPr>
          <p:cNvSpPr>
            <a:spLocks noGrp="1"/>
          </p:cNvSpPr>
          <p:nvPr>
            <p:ph type="sldNum" sz="quarter" idx="10"/>
          </p:nvPr>
        </p:nvSpPr>
        <p:spPr/>
        <p:txBody>
          <a:bodyPr/>
          <a:lstStyle/>
          <a:p>
            <a:fld id="{852567EB-E0F5-45D9-B008-D1999D3890B3}" type="slidenum">
              <a:rPr lang="en-US" smtClean="0"/>
              <a:pPr/>
              <a:t>‹#›</a:t>
            </a:fld>
            <a:endParaRPr lang="en-US" dirty="0"/>
          </a:p>
        </p:txBody>
      </p:sp>
      <p:grpSp>
        <p:nvGrpSpPr>
          <p:cNvPr id="27" name="Group 26">
            <a:extLst>
              <a:ext uri="{FF2B5EF4-FFF2-40B4-BE49-F238E27FC236}">
                <a16:creationId xmlns:a16="http://schemas.microsoft.com/office/drawing/2014/main" id="{E1DF8491-8798-47C1-BC07-71BE24EEB1B0}"/>
              </a:ext>
            </a:extLst>
          </p:cNvPr>
          <p:cNvGrpSpPr/>
          <p:nvPr userDrawn="1"/>
        </p:nvGrpSpPr>
        <p:grpSpPr>
          <a:xfrm>
            <a:off x="-9698" y="3733800"/>
            <a:ext cx="12192000" cy="2517835"/>
            <a:chOff x="2964466" y="1595725"/>
            <a:chExt cx="9220200" cy="2517835"/>
          </a:xfrm>
        </p:grpSpPr>
        <p:sp>
          <p:nvSpPr>
            <p:cNvPr id="19" name="Rectangle 18">
              <a:extLst>
                <a:ext uri="{FF2B5EF4-FFF2-40B4-BE49-F238E27FC236}">
                  <a16:creationId xmlns:a16="http://schemas.microsoft.com/office/drawing/2014/main" id="{888B3E11-AD36-4F97-B219-CAC05624A5D9}"/>
                </a:ext>
              </a:extLst>
            </p:cNvPr>
            <p:cNvSpPr/>
            <p:nvPr userDrawn="1"/>
          </p:nvSpPr>
          <p:spPr>
            <a:xfrm>
              <a:off x="2964466" y="1595725"/>
              <a:ext cx="9220200" cy="251783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cxnSp>
          <p:nvCxnSpPr>
            <p:cNvPr id="21" name="Straight Connector 20">
              <a:extLst>
                <a:ext uri="{FF2B5EF4-FFF2-40B4-BE49-F238E27FC236}">
                  <a16:creationId xmlns:a16="http://schemas.microsoft.com/office/drawing/2014/main" id="{6E8B6806-74F1-4963-90CB-0784E09CC377}"/>
                </a:ext>
              </a:extLst>
            </p:cNvPr>
            <p:cNvCxnSpPr>
              <a:cxnSpLocks/>
            </p:cNvCxnSpPr>
            <p:nvPr userDrawn="1"/>
          </p:nvCxnSpPr>
          <p:spPr>
            <a:xfrm>
              <a:off x="3505200" y="2825238"/>
              <a:ext cx="82834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Text Placeholder 35">
            <a:extLst>
              <a:ext uri="{FF2B5EF4-FFF2-40B4-BE49-F238E27FC236}">
                <a16:creationId xmlns:a16="http://schemas.microsoft.com/office/drawing/2014/main" id="{3AEFF514-3864-439D-BB3B-133A30D3A244}"/>
              </a:ext>
            </a:extLst>
          </p:cNvPr>
          <p:cNvSpPr>
            <a:spLocks noGrp="1"/>
          </p:cNvSpPr>
          <p:nvPr>
            <p:ph type="body" sz="quarter" idx="17"/>
          </p:nvPr>
        </p:nvSpPr>
        <p:spPr>
          <a:xfrm>
            <a:off x="718302" y="4159339"/>
            <a:ext cx="10787898" cy="722313"/>
          </a:xfrm>
        </p:spPr>
        <p:txBody>
          <a:bodyPr>
            <a:noAutofit/>
          </a:bodyPr>
          <a:lstStyle>
            <a:lvl1pPr>
              <a:defRPr sz="3600" b="0" spc="-150">
                <a:solidFill>
                  <a:schemeClr val="bg1"/>
                </a:solidFill>
              </a:defRPr>
            </a:lvl1pPr>
            <a:lvl2pPr>
              <a:defRPr sz="3600" b="1" spc="-150">
                <a:solidFill>
                  <a:schemeClr val="bg1"/>
                </a:solidFill>
              </a:defRPr>
            </a:lvl2pPr>
            <a:lvl3pPr>
              <a:defRPr sz="3600" b="1" spc="-150">
                <a:solidFill>
                  <a:schemeClr val="bg1"/>
                </a:solidFill>
              </a:defRPr>
            </a:lvl3pPr>
            <a:lvl4pPr>
              <a:defRPr sz="3600" b="1" spc="-150">
                <a:solidFill>
                  <a:schemeClr val="bg1"/>
                </a:solidFill>
              </a:defRPr>
            </a:lvl4pPr>
            <a:lvl5pPr>
              <a:defRPr sz="3600" b="1" spc="-150">
                <a:solidFill>
                  <a:schemeClr val="bg1"/>
                </a:solidFill>
              </a:defRPr>
            </a:lvl5pPr>
          </a:lstStyle>
          <a:p>
            <a:pPr lvl="0"/>
            <a:r>
              <a:rPr lang="en-US"/>
              <a:t>Click to edit Master text styles</a:t>
            </a:r>
          </a:p>
        </p:txBody>
      </p:sp>
      <p:sp>
        <p:nvSpPr>
          <p:cNvPr id="37" name="Text Placeholder 35">
            <a:extLst>
              <a:ext uri="{FF2B5EF4-FFF2-40B4-BE49-F238E27FC236}">
                <a16:creationId xmlns:a16="http://schemas.microsoft.com/office/drawing/2014/main" id="{02A4E3BC-595C-40A8-B305-409CEC422560}"/>
              </a:ext>
            </a:extLst>
          </p:cNvPr>
          <p:cNvSpPr>
            <a:spLocks noGrp="1"/>
          </p:cNvSpPr>
          <p:nvPr>
            <p:ph type="body" sz="quarter" idx="18"/>
          </p:nvPr>
        </p:nvSpPr>
        <p:spPr>
          <a:xfrm>
            <a:off x="685799" y="5100981"/>
            <a:ext cx="10787898" cy="847471"/>
          </a:xfrm>
        </p:spPr>
        <p:txBody>
          <a:bodyPr>
            <a:noAutofit/>
          </a:bodyPr>
          <a:lstStyle>
            <a:lvl1pPr>
              <a:defRPr sz="2400" b="0" spc="0">
                <a:solidFill>
                  <a:schemeClr val="bg1"/>
                </a:solidFill>
              </a:defRPr>
            </a:lvl1pPr>
            <a:lvl2pPr>
              <a:defRPr sz="2400" b="0" spc="0">
                <a:solidFill>
                  <a:schemeClr val="bg1"/>
                </a:solidFill>
              </a:defRPr>
            </a:lvl2pPr>
            <a:lvl3pPr>
              <a:defRPr sz="2400" b="0" spc="0">
                <a:solidFill>
                  <a:schemeClr val="bg1"/>
                </a:solidFill>
              </a:defRPr>
            </a:lvl3pPr>
            <a:lvl4pPr>
              <a:defRPr sz="2400" b="0" spc="0">
                <a:solidFill>
                  <a:schemeClr val="bg1"/>
                </a:solidFill>
              </a:defRPr>
            </a:lvl4pPr>
            <a:lvl5pPr>
              <a:defRPr sz="2400" b="0" spc="0">
                <a:solidFill>
                  <a:schemeClr val="bg1"/>
                </a:solidFill>
              </a:defRPr>
            </a:lvl5pPr>
          </a:lstStyle>
          <a:p>
            <a:pPr lvl="0"/>
            <a:r>
              <a:rPr lang="en-US"/>
              <a:t>Click to edit Master text styles</a:t>
            </a:r>
          </a:p>
        </p:txBody>
      </p:sp>
      <p:sp>
        <p:nvSpPr>
          <p:cNvPr id="15" name="Picture Placeholder 10">
            <a:extLst>
              <a:ext uri="{FF2B5EF4-FFF2-40B4-BE49-F238E27FC236}">
                <a16:creationId xmlns:a16="http://schemas.microsoft.com/office/drawing/2014/main" id="{965E55E5-5151-484C-88C4-09DA4F207CF3}"/>
              </a:ext>
            </a:extLst>
          </p:cNvPr>
          <p:cNvSpPr>
            <a:spLocks noGrp="1"/>
          </p:cNvSpPr>
          <p:nvPr>
            <p:ph type="pic" sz="quarter" idx="22"/>
          </p:nvPr>
        </p:nvSpPr>
        <p:spPr>
          <a:xfrm>
            <a:off x="0" y="0"/>
            <a:ext cx="12200467" cy="3581400"/>
          </a:xfrm>
        </p:spPr>
        <p:txBody>
          <a:bodyPr/>
          <a:lstStyle/>
          <a:p>
            <a:r>
              <a:rPr lang="en-US" dirty="0"/>
              <a:t>Click icon to add picture</a:t>
            </a:r>
          </a:p>
        </p:txBody>
      </p:sp>
    </p:spTree>
    <p:extLst>
      <p:ext uri="{BB962C8B-B14F-4D97-AF65-F5344CB8AC3E}">
        <p14:creationId xmlns:p14="http://schemas.microsoft.com/office/powerpoint/2010/main" val="693511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9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2971800" y="12395"/>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3484033" y="566936"/>
            <a:ext cx="8707967" cy="576064"/>
          </a:xfrm>
        </p:spPr>
        <p:txBody>
          <a:bodyPr>
            <a:noAutofit/>
          </a:bodyPr>
          <a:lstStyle>
            <a:lvl1pPr>
              <a:defRPr sz="3600" b="0" spc="-15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484033" y="1295400"/>
            <a:ext cx="8707967"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3581400"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B406A129-D357-4EB6-9CF5-BC76B7676E9B}"/>
              </a:ext>
            </a:extLst>
          </p:cNvPr>
          <p:cNvSpPr>
            <a:spLocks noGrp="1"/>
          </p:cNvSpPr>
          <p:nvPr>
            <p:ph type="pic" sz="quarter" idx="12"/>
          </p:nvPr>
        </p:nvSpPr>
        <p:spPr>
          <a:xfrm>
            <a:off x="-7345" y="0"/>
            <a:ext cx="2801957" cy="2008742"/>
          </a:xfrm>
        </p:spPr>
        <p:txBody>
          <a:bodyPr/>
          <a:lstStyle/>
          <a:p>
            <a:endParaRPr lang="en-US" dirty="0"/>
          </a:p>
        </p:txBody>
      </p:sp>
      <p:sp>
        <p:nvSpPr>
          <p:cNvPr id="15" name="Picture Placeholder 8">
            <a:extLst>
              <a:ext uri="{FF2B5EF4-FFF2-40B4-BE49-F238E27FC236}">
                <a16:creationId xmlns:a16="http://schemas.microsoft.com/office/drawing/2014/main" id="{B706C461-E91E-446B-970C-8757721B77A9}"/>
              </a:ext>
            </a:extLst>
          </p:cNvPr>
          <p:cNvSpPr>
            <a:spLocks noGrp="1"/>
          </p:cNvSpPr>
          <p:nvPr>
            <p:ph type="pic" sz="quarter" idx="13"/>
          </p:nvPr>
        </p:nvSpPr>
        <p:spPr>
          <a:xfrm>
            <a:off x="-7346" y="4239658"/>
            <a:ext cx="2801957" cy="2008742"/>
          </a:xfrm>
        </p:spPr>
        <p:txBody>
          <a:bodyPr/>
          <a:lstStyle/>
          <a:p>
            <a:endParaRPr lang="en-US" dirty="0"/>
          </a:p>
        </p:txBody>
      </p:sp>
      <p:sp>
        <p:nvSpPr>
          <p:cNvPr id="16" name="Picture Placeholder 8">
            <a:extLst>
              <a:ext uri="{FF2B5EF4-FFF2-40B4-BE49-F238E27FC236}">
                <a16:creationId xmlns:a16="http://schemas.microsoft.com/office/drawing/2014/main" id="{EB32A8AB-C6F2-41F0-96FE-E4BFE9855FC9}"/>
              </a:ext>
            </a:extLst>
          </p:cNvPr>
          <p:cNvSpPr>
            <a:spLocks noGrp="1"/>
          </p:cNvSpPr>
          <p:nvPr>
            <p:ph type="pic" sz="quarter" idx="14"/>
          </p:nvPr>
        </p:nvSpPr>
        <p:spPr>
          <a:xfrm>
            <a:off x="-7345" y="2119829"/>
            <a:ext cx="2801957" cy="2008742"/>
          </a:xfrm>
        </p:spPr>
        <p:txBody>
          <a:bodyPr/>
          <a:lstStyle/>
          <a:p>
            <a:endParaRPr lang="en-US" dirty="0"/>
          </a:p>
        </p:txBody>
      </p:sp>
    </p:spTree>
    <p:extLst>
      <p:ext uri="{BB962C8B-B14F-4D97-AF65-F5344CB8AC3E}">
        <p14:creationId xmlns:p14="http://schemas.microsoft.com/office/powerpoint/2010/main" val="22533784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1" name="Title 10"/>
          <p:cNvSpPr>
            <a:spLocks noGrp="1"/>
          </p:cNvSpPr>
          <p:nvPr>
            <p:ph type="title"/>
          </p:nvPr>
        </p:nvSpPr>
        <p:spPr>
          <a:xfrm>
            <a:off x="914400" y="2130552"/>
            <a:ext cx="10363200" cy="914400"/>
          </a:xfrm>
        </p:spPr>
        <p:txBody>
          <a:bodyPr/>
          <a:lstStyle>
            <a:lvl1pPr>
              <a:defRPr sz="4000"/>
            </a:lvl1pPr>
          </a:lstStyle>
          <a:p>
            <a:r>
              <a:rPr lang="en-US"/>
              <a:t>Click to edit Master title style</a:t>
            </a:r>
            <a:endParaRPr lang="en-US" dirty="0"/>
          </a:p>
        </p:txBody>
      </p:sp>
      <p:sp>
        <p:nvSpPr>
          <p:cNvPr id="15" name="Text Placeholder 14"/>
          <p:cNvSpPr>
            <a:spLocks noGrp="1"/>
          </p:cNvSpPr>
          <p:nvPr>
            <p:ph type="body" sz="quarter" idx="10" hasCustomPrompt="1"/>
          </p:nvPr>
        </p:nvSpPr>
        <p:spPr>
          <a:xfrm>
            <a:off x="914400" y="3886200"/>
            <a:ext cx="10363200" cy="1828800"/>
          </a:xfrm>
        </p:spPr>
        <p:txBody>
          <a:bodyPr>
            <a:normAutofit/>
          </a:bodyPr>
          <a:lstStyle>
            <a:lvl1pPr marL="0" indent="0">
              <a:buNone/>
              <a:defRPr sz="2800"/>
            </a:lvl1pPr>
          </a:lstStyle>
          <a:p>
            <a:pPr lvl="0"/>
            <a:r>
              <a:rPr lang="en-US" dirty="0"/>
              <a:t>Click to add subtitle</a:t>
            </a:r>
          </a:p>
        </p:txBody>
      </p:sp>
    </p:spTree>
    <p:extLst>
      <p:ext uri="{BB962C8B-B14F-4D97-AF65-F5344CB8AC3E}">
        <p14:creationId xmlns:p14="http://schemas.microsoft.com/office/powerpoint/2010/main" val="13958513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6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5334000" y="12396"/>
            <a:ext cx="6858000" cy="6236004"/>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5715000" y="566936"/>
            <a:ext cx="6477000" cy="576064"/>
          </a:xfrm>
        </p:spPr>
        <p:txBody>
          <a:bodyPr>
            <a:noAutofit/>
          </a:bodyPr>
          <a:lstStyle>
            <a:lvl1pPr>
              <a:defRPr sz="3600" b="0" spc="-15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15000" y="1295400"/>
            <a:ext cx="6477000"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1"/>
            <a:ext cx="5181600" cy="6248400"/>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5715000"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5131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7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0" y="12395"/>
            <a:ext cx="68580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76200" y="566936"/>
            <a:ext cx="6477000" cy="576064"/>
          </a:xfrm>
        </p:spPr>
        <p:txBody>
          <a:bodyPr>
            <a:noAutofit/>
          </a:bodyPr>
          <a:lstStyle>
            <a:lvl1pPr>
              <a:defRPr sz="3600" b="0" spc="-15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76200" y="1295400"/>
            <a:ext cx="6477000"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7010400" y="1"/>
            <a:ext cx="5181600" cy="6248400"/>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76201" y="1219200"/>
            <a:ext cx="4953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2672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2" name="Title 1"/>
          <p:cNvSpPr>
            <a:spLocks noGrp="1"/>
          </p:cNvSpPr>
          <p:nvPr>
            <p:ph type="title"/>
          </p:nvPr>
        </p:nvSpPr>
        <p:spPr>
          <a:xfrm>
            <a:off x="815413" y="116632"/>
            <a:ext cx="10766987" cy="576064"/>
          </a:xfrm>
        </p:spPr>
        <p:txBody>
          <a:bodyPr>
            <a:noAutofit/>
          </a:bodyPr>
          <a:lstStyle>
            <a:lvl1pPr>
              <a:defRPr sz="360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815413" y="804672"/>
            <a:ext cx="10766987" cy="5443728"/>
          </a:xfrm>
        </p:spPr>
        <p:txBody>
          <a:bodyPr>
            <a:normAutofit/>
          </a:bodyPr>
          <a:lstStyle>
            <a:lvl1pPr marL="0" indent="0">
              <a:buFont typeface="Arial" panose="020B0604020202020204" pitchFamily="34" charset="0"/>
              <a:buNone/>
              <a:defRPr sz="2400">
                <a:solidFill>
                  <a:srgbClr val="333333"/>
                </a:solidFill>
                <a:latin typeface="Calibri" panose="020F0502020204030204" pitchFamily="34" charset="0"/>
              </a:defRPr>
            </a:lvl1pPr>
            <a:lvl2pPr marL="461963" indent="-231775">
              <a:buFont typeface="Arial" panose="020B0604020202020204" pitchFamily="34" charset="0"/>
              <a:buChar char="•"/>
              <a:tabLst>
                <a:tab pos="342900" algn="l"/>
                <a:tab pos="855663" algn="l"/>
                <a:tab pos="1257300" algn="l"/>
                <a:tab pos="1598613" algn="l"/>
              </a:tabLst>
              <a:defRPr sz="2000">
                <a:solidFill>
                  <a:srgbClr val="333333"/>
                </a:solidFill>
                <a:latin typeface="Calibri" panose="020F0502020204030204" pitchFamily="34" charset="0"/>
              </a:defRPr>
            </a:lvl2pPr>
            <a:lvl3pPr marL="915988" indent="-227013">
              <a:buFont typeface="Myriad Pro" pitchFamily="34" charset="0"/>
              <a:buChar char="º"/>
              <a:defRPr lang="en-US" sz="2000" kern="1200" dirty="0" smtClean="0">
                <a:solidFill>
                  <a:srgbClr val="333333"/>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333333"/>
                </a:solidFill>
                <a:latin typeface="Calibri" panose="020F0502020204030204" pitchFamily="34" charset="0"/>
              </a:defRPr>
            </a:lvl4pPr>
            <a:lvl5pPr marL="1830388" indent="-227013">
              <a:buFont typeface="Arial" panose="020B0604020202020204" pitchFamily="34" charset="0"/>
              <a:buChar char="‒"/>
              <a:defRPr sz="2000">
                <a:solidFill>
                  <a:srgbClr val="333333"/>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321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8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2971800" y="12395"/>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3484033" y="566936"/>
            <a:ext cx="8707967" cy="576064"/>
          </a:xfrm>
        </p:spPr>
        <p:txBody>
          <a:bodyPr>
            <a:noAutofit/>
          </a:bodyPr>
          <a:lstStyle>
            <a:lvl1pPr>
              <a:defRPr sz="3600" b="0" spc="-15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3484033" y="1295400"/>
            <a:ext cx="8707967"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3581400"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Picture Placeholder 8">
            <a:extLst>
              <a:ext uri="{FF2B5EF4-FFF2-40B4-BE49-F238E27FC236}">
                <a16:creationId xmlns:a16="http://schemas.microsoft.com/office/drawing/2014/main" id="{C0A96344-4730-41AF-80F5-414671E9FAEE}"/>
              </a:ext>
            </a:extLst>
          </p:cNvPr>
          <p:cNvSpPr>
            <a:spLocks noGrp="1"/>
          </p:cNvSpPr>
          <p:nvPr>
            <p:ph type="pic" sz="quarter" idx="11"/>
          </p:nvPr>
        </p:nvSpPr>
        <p:spPr>
          <a:xfrm>
            <a:off x="0" y="2661561"/>
            <a:ext cx="2799792" cy="3586839"/>
          </a:xfrm>
        </p:spPr>
        <p:txBody>
          <a:bodyPr/>
          <a:lstStyle/>
          <a:p>
            <a:r>
              <a:rPr lang="en-US" dirty="0"/>
              <a:t>Click icon to add picture</a:t>
            </a:r>
          </a:p>
        </p:txBody>
      </p:sp>
      <p:sp>
        <p:nvSpPr>
          <p:cNvPr id="13" name="Picture Placeholder 8">
            <a:extLst>
              <a:ext uri="{FF2B5EF4-FFF2-40B4-BE49-F238E27FC236}">
                <a16:creationId xmlns:a16="http://schemas.microsoft.com/office/drawing/2014/main" id="{01EEE639-A46A-4799-BE78-D82C2A1C6287}"/>
              </a:ext>
            </a:extLst>
          </p:cNvPr>
          <p:cNvSpPr>
            <a:spLocks noGrp="1"/>
          </p:cNvSpPr>
          <p:nvPr>
            <p:ph type="pic" sz="quarter" idx="12"/>
          </p:nvPr>
        </p:nvSpPr>
        <p:spPr>
          <a:xfrm>
            <a:off x="7198" y="7716"/>
            <a:ext cx="2799792" cy="2506884"/>
          </a:xfrm>
        </p:spPr>
        <p:txBody>
          <a:bodyPr/>
          <a:lstStyle/>
          <a:p>
            <a:r>
              <a:rPr lang="en-US" dirty="0"/>
              <a:t>Click icon to add picture</a:t>
            </a:r>
          </a:p>
        </p:txBody>
      </p:sp>
    </p:spTree>
    <p:extLst>
      <p:ext uri="{BB962C8B-B14F-4D97-AF65-F5344CB8AC3E}">
        <p14:creationId xmlns:p14="http://schemas.microsoft.com/office/powerpoint/2010/main" val="35774487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9_Title &amp; Content No Log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BC28804-E0B1-42D7-BE2A-755ACA18C518}"/>
              </a:ext>
            </a:extLst>
          </p:cNvPr>
          <p:cNvSpPr/>
          <p:nvPr userDrawn="1"/>
        </p:nvSpPr>
        <p:spPr>
          <a:xfrm>
            <a:off x="2971800" y="12395"/>
            <a:ext cx="9220200" cy="6236005"/>
          </a:xfrm>
          <a:prstGeom prst="rect">
            <a:avLst/>
          </a:prstGeom>
          <a:solidFill>
            <a:srgbClr val="004875"/>
          </a:solidFill>
          <a:ln>
            <a:solidFill>
              <a:srgbClr val="004875"/>
            </a:solid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algn="ctr">
              <a:spcAft>
                <a:spcPts val="300"/>
              </a:spcAft>
            </a:pPr>
            <a:endParaRPr lang="en-US" dirty="0">
              <a:latin typeface="Calibri" panose="020F0502020204030204" pitchFamily="34" charset="0"/>
            </a:endParaRPr>
          </a:p>
        </p:txBody>
      </p:sp>
      <p:sp>
        <p:nvSpPr>
          <p:cNvPr id="2" name="Title 1"/>
          <p:cNvSpPr>
            <a:spLocks noGrp="1"/>
          </p:cNvSpPr>
          <p:nvPr>
            <p:ph type="title"/>
          </p:nvPr>
        </p:nvSpPr>
        <p:spPr>
          <a:xfrm>
            <a:off x="3484033" y="566936"/>
            <a:ext cx="8707967" cy="576064"/>
          </a:xfrm>
        </p:spPr>
        <p:txBody>
          <a:bodyPr>
            <a:noAutofit/>
          </a:bodyPr>
          <a:lstStyle>
            <a:lvl1pPr>
              <a:defRPr sz="3600" b="0" spc="-15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3484033" y="1295400"/>
            <a:ext cx="8707967" cy="4953000"/>
          </a:xfrm>
        </p:spPr>
        <p:txBody>
          <a:bodyPr>
            <a:normAutofit/>
          </a:bodyPr>
          <a:lstStyle>
            <a:lvl1pPr>
              <a:defRPr sz="2400">
                <a:solidFill>
                  <a:schemeClr val="bg1"/>
                </a:solidFill>
                <a:latin typeface="Calibri" panose="020F0502020204030204" pitchFamily="34" charset="0"/>
              </a:defRPr>
            </a:lvl1pPr>
            <a:lvl2pPr marL="461963" indent="-231775">
              <a:buFont typeface="Arial" panose="020B0604020202020204" pitchFamily="34" charset="0"/>
              <a:buChar char="•"/>
              <a:defRPr sz="2000">
                <a:solidFill>
                  <a:schemeClr val="bg1"/>
                </a:solidFill>
                <a:latin typeface="Calibri" panose="020F0502020204030204" pitchFamily="34" charset="0"/>
              </a:defRPr>
            </a:lvl2pPr>
            <a:lvl3pPr marL="915988" indent="-227013">
              <a:buFont typeface="Myriad Pro" pitchFamily="34" charset="0"/>
              <a:buChar char="º"/>
              <a:defRPr lang="en-US" sz="2000" kern="1200" dirty="0" smtClean="0">
                <a:solidFill>
                  <a:schemeClr val="bg1"/>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chemeClr val="bg1"/>
                </a:solidFill>
                <a:latin typeface="Calibri" panose="020F0502020204030204" pitchFamily="34" charset="0"/>
              </a:defRPr>
            </a:lvl4pPr>
            <a:lvl5pPr marL="1830388" indent="-227013">
              <a:buFont typeface="Arial" panose="020B0604020202020204" pitchFamily="34" charset="0"/>
              <a:buChar char="‒"/>
              <a:defRPr sz="2000">
                <a:solidFill>
                  <a:schemeClr val="bg1"/>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cxnSp>
        <p:nvCxnSpPr>
          <p:cNvPr id="8" name="Straight Connector 7">
            <a:extLst>
              <a:ext uri="{FF2B5EF4-FFF2-40B4-BE49-F238E27FC236}">
                <a16:creationId xmlns:a16="http://schemas.microsoft.com/office/drawing/2014/main" id="{3CAA53B8-6FE2-4A8D-9398-DD93478FDB19}"/>
              </a:ext>
            </a:extLst>
          </p:cNvPr>
          <p:cNvCxnSpPr>
            <a:cxnSpLocks/>
          </p:cNvCxnSpPr>
          <p:nvPr userDrawn="1"/>
        </p:nvCxnSpPr>
        <p:spPr>
          <a:xfrm>
            <a:off x="3581400" y="1219200"/>
            <a:ext cx="665903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B406A129-D357-4EB6-9CF5-BC76B7676E9B}"/>
              </a:ext>
            </a:extLst>
          </p:cNvPr>
          <p:cNvSpPr>
            <a:spLocks noGrp="1"/>
          </p:cNvSpPr>
          <p:nvPr>
            <p:ph type="pic" sz="quarter" idx="12"/>
          </p:nvPr>
        </p:nvSpPr>
        <p:spPr>
          <a:xfrm>
            <a:off x="-7345" y="0"/>
            <a:ext cx="2801957" cy="2008742"/>
          </a:xfrm>
        </p:spPr>
        <p:txBody>
          <a:bodyPr/>
          <a:lstStyle/>
          <a:p>
            <a:r>
              <a:rPr lang="en-US" dirty="0"/>
              <a:t>Click icon to add picture</a:t>
            </a:r>
          </a:p>
        </p:txBody>
      </p:sp>
      <p:sp>
        <p:nvSpPr>
          <p:cNvPr id="15" name="Picture Placeholder 8">
            <a:extLst>
              <a:ext uri="{FF2B5EF4-FFF2-40B4-BE49-F238E27FC236}">
                <a16:creationId xmlns:a16="http://schemas.microsoft.com/office/drawing/2014/main" id="{B706C461-E91E-446B-970C-8757721B77A9}"/>
              </a:ext>
            </a:extLst>
          </p:cNvPr>
          <p:cNvSpPr>
            <a:spLocks noGrp="1"/>
          </p:cNvSpPr>
          <p:nvPr>
            <p:ph type="pic" sz="quarter" idx="13"/>
          </p:nvPr>
        </p:nvSpPr>
        <p:spPr>
          <a:xfrm>
            <a:off x="-7346" y="4239658"/>
            <a:ext cx="2801957" cy="2008742"/>
          </a:xfrm>
        </p:spPr>
        <p:txBody>
          <a:bodyPr/>
          <a:lstStyle/>
          <a:p>
            <a:r>
              <a:rPr lang="en-US" dirty="0"/>
              <a:t>Click icon to add picture</a:t>
            </a:r>
          </a:p>
        </p:txBody>
      </p:sp>
      <p:sp>
        <p:nvSpPr>
          <p:cNvPr id="16" name="Picture Placeholder 8">
            <a:extLst>
              <a:ext uri="{FF2B5EF4-FFF2-40B4-BE49-F238E27FC236}">
                <a16:creationId xmlns:a16="http://schemas.microsoft.com/office/drawing/2014/main" id="{EB32A8AB-C6F2-41F0-96FE-E4BFE9855FC9}"/>
              </a:ext>
            </a:extLst>
          </p:cNvPr>
          <p:cNvSpPr>
            <a:spLocks noGrp="1"/>
          </p:cNvSpPr>
          <p:nvPr>
            <p:ph type="pic" sz="quarter" idx="14"/>
          </p:nvPr>
        </p:nvSpPr>
        <p:spPr>
          <a:xfrm>
            <a:off x="-7345" y="2119829"/>
            <a:ext cx="2801957" cy="2008742"/>
          </a:xfrm>
        </p:spPr>
        <p:txBody>
          <a:bodyPr/>
          <a:lstStyle/>
          <a:p>
            <a:r>
              <a:rPr lang="en-US" dirty="0"/>
              <a:t>Click icon to add picture</a:t>
            </a:r>
          </a:p>
        </p:txBody>
      </p:sp>
    </p:spTree>
    <p:extLst>
      <p:ext uri="{BB962C8B-B14F-4D97-AF65-F5344CB8AC3E}">
        <p14:creationId xmlns:p14="http://schemas.microsoft.com/office/powerpoint/2010/main" val="3485954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3600" b="0" spc="-15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3352800" y="960319"/>
            <a:ext cx="8534400" cy="5288081"/>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455D4CD9-CD4E-4141-927C-E67D7A99F117}"/>
              </a:ext>
            </a:extLst>
          </p:cNvPr>
          <p:cNvSpPr>
            <a:spLocks noGrp="1"/>
          </p:cNvSpPr>
          <p:nvPr>
            <p:ph type="pic" sz="quarter" idx="11"/>
          </p:nvPr>
        </p:nvSpPr>
        <p:spPr>
          <a:xfrm>
            <a:off x="0" y="2661561"/>
            <a:ext cx="2799792" cy="3586839"/>
          </a:xfrm>
        </p:spPr>
        <p:txBody>
          <a:bodyPr/>
          <a:lstStyle/>
          <a:p>
            <a:r>
              <a:rPr lang="en-US" dirty="0"/>
              <a:t>Click icon to add picture</a:t>
            </a:r>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198" y="7716"/>
            <a:ext cx="2799792" cy="2514600"/>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pic>
        <p:nvPicPr>
          <p:cNvPr id="12" name="Picture 11">
            <a:extLst>
              <a:ext uri="{FF2B5EF4-FFF2-40B4-BE49-F238E27FC236}">
                <a16:creationId xmlns:a16="http://schemas.microsoft.com/office/drawing/2014/main" id="{357740FA-3651-4771-B5FE-D41286FECA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26687929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3352800" y="308056"/>
            <a:ext cx="8534400" cy="576064"/>
          </a:xfrm>
        </p:spPr>
        <p:txBody>
          <a:bodyPr>
            <a:noAutofit/>
          </a:bodyPr>
          <a:lstStyle>
            <a:lvl1pPr>
              <a:defRPr sz="3600" b="0" spc="-150">
                <a:solidFill>
                  <a:srgbClr val="0070C0"/>
                </a:solidFill>
              </a:defRPr>
            </a:lvl1pPr>
          </a:lstStyle>
          <a:p>
            <a:r>
              <a:rPr lang="en-US"/>
              <a:t>Click to edit Master title style</a:t>
            </a:r>
            <a:endParaRPr lang="en-US" dirty="0"/>
          </a:p>
        </p:txBody>
      </p:sp>
      <p:sp>
        <p:nvSpPr>
          <p:cNvPr id="3" name="Content Placeholder 2"/>
          <p:cNvSpPr>
            <a:spLocks noGrp="1"/>
          </p:cNvSpPr>
          <p:nvPr>
            <p:ph idx="1"/>
          </p:nvPr>
        </p:nvSpPr>
        <p:spPr>
          <a:xfrm>
            <a:off x="3352800" y="960319"/>
            <a:ext cx="8534400" cy="5288081"/>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EF7872EC-E506-4E20-B2D9-164C49C4D45D}"/>
              </a:ext>
            </a:extLst>
          </p:cNvPr>
          <p:cNvSpPr>
            <a:spLocks noGrp="1"/>
          </p:cNvSpPr>
          <p:nvPr>
            <p:ph type="pic" sz="quarter" idx="12"/>
          </p:nvPr>
        </p:nvSpPr>
        <p:spPr>
          <a:xfrm>
            <a:off x="-7345" y="0"/>
            <a:ext cx="2801957" cy="2008742"/>
          </a:xfrm>
        </p:spPr>
        <p:txBody>
          <a:bodyPr/>
          <a:lstStyle/>
          <a:p>
            <a:r>
              <a:rPr lang="en-US" dirty="0"/>
              <a:t>Click icon to add picture</a:t>
            </a:r>
          </a:p>
        </p:txBody>
      </p:sp>
      <p:sp>
        <p:nvSpPr>
          <p:cNvPr id="11" name="Slide Number Placeholder 3">
            <a:extLst>
              <a:ext uri="{FF2B5EF4-FFF2-40B4-BE49-F238E27FC236}">
                <a16:creationId xmlns:a16="http://schemas.microsoft.com/office/drawing/2014/main" id="{AE9B61EB-08C2-45B8-A65A-20042481E1B4}"/>
              </a:ext>
            </a:extLst>
          </p:cNvPr>
          <p:cNvSpPr>
            <a:spLocks noGrp="1"/>
          </p:cNvSpPr>
          <p:nvPr>
            <p:ph type="sldNum" sz="quarter" idx="10"/>
          </p:nvPr>
        </p:nvSpPr>
        <p:spPr>
          <a:xfrm>
            <a:off x="11658600" y="6553200"/>
            <a:ext cx="480053" cy="246221"/>
          </a:xfrm>
        </p:spPr>
        <p:txBody>
          <a:bodyPr/>
          <a:lstStyle>
            <a:lvl1pPr>
              <a:defRPr>
                <a:solidFill>
                  <a:schemeClr val="bg1"/>
                </a:solidFill>
              </a:defRPr>
            </a:lvl1pPr>
          </a:lstStyle>
          <a:p>
            <a:fld id="{852567EB-E0F5-45D9-B008-D1999D3890B3}" type="slidenum">
              <a:rPr lang="en-US" smtClean="0"/>
              <a:pPr/>
              <a:t>‹#›</a:t>
            </a:fld>
            <a:endParaRPr lang="en-US" dirty="0"/>
          </a:p>
        </p:txBody>
      </p:sp>
      <p:sp>
        <p:nvSpPr>
          <p:cNvPr id="13" name="Picture Placeholder 8">
            <a:extLst>
              <a:ext uri="{FF2B5EF4-FFF2-40B4-BE49-F238E27FC236}">
                <a16:creationId xmlns:a16="http://schemas.microsoft.com/office/drawing/2014/main" id="{84C6CE6C-BB03-4740-95EA-D08A7B16511B}"/>
              </a:ext>
            </a:extLst>
          </p:cNvPr>
          <p:cNvSpPr>
            <a:spLocks noGrp="1"/>
          </p:cNvSpPr>
          <p:nvPr>
            <p:ph type="pic" sz="quarter" idx="13"/>
          </p:nvPr>
        </p:nvSpPr>
        <p:spPr>
          <a:xfrm>
            <a:off x="-7345" y="4239658"/>
            <a:ext cx="2801957" cy="2008742"/>
          </a:xfrm>
        </p:spPr>
        <p:txBody>
          <a:bodyPr/>
          <a:lstStyle/>
          <a:p>
            <a:r>
              <a:rPr lang="en-US" dirty="0"/>
              <a:t>Click icon to add picture</a:t>
            </a:r>
          </a:p>
        </p:txBody>
      </p:sp>
      <p:sp>
        <p:nvSpPr>
          <p:cNvPr id="14" name="Picture Placeholder 8">
            <a:extLst>
              <a:ext uri="{FF2B5EF4-FFF2-40B4-BE49-F238E27FC236}">
                <a16:creationId xmlns:a16="http://schemas.microsoft.com/office/drawing/2014/main" id="{10E9F4B8-147E-48AF-AD03-F532E18189DB}"/>
              </a:ext>
            </a:extLst>
          </p:cNvPr>
          <p:cNvSpPr>
            <a:spLocks noGrp="1"/>
          </p:cNvSpPr>
          <p:nvPr>
            <p:ph type="pic" sz="quarter" idx="14"/>
          </p:nvPr>
        </p:nvSpPr>
        <p:spPr>
          <a:xfrm>
            <a:off x="-7345" y="2119829"/>
            <a:ext cx="2801957" cy="2008742"/>
          </a:xfrm>
        </p:spPr>
        <p:txBody>
          <a:bodyPr/>
          <a:lstStyle/>
          <a:p>
            <a:r>
              <a:rPr lang="en-US" dirty="0"/>
              <a:t>Click icon to add picture</a:t>
            </a:r>
          </a:p>
        </p:txBody>
      </p:sp>
      <p:pic>
        <p:nvPicPr>
          <p:cNvPr id="15" name="Picture 14">
            <a:extLst>
              <a:ext uri="{FF2B5EF4-FFF2-40B4-BE49-F238E27FC236}">
                <a16:creationId xmlns:a16="http://schemas.microsoft.com/office/drawing/2014/main" id="{29B5A056-071D-4CFD-BDC8-93EB10B7A8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861487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D42F4F2C-3E91-4981-8D29-DEDB021270E7}"/>
              </a:ext>
            </a:extLst>
          </p:cNvPr>
          <p:cNvSpPr>
            <a:spLocks noGrp="1"/>
          </p:cNvSpPr>
          <p:nvPr>
            <p:ph sz="quarter" idx="16"/>
          </p:nvPr>
        </p:nvSpPr>
        <p:spPr>
          <a:xfrm>
            <a:off x="5791200" y="854075"/>
            <a:ext cx="6248400" cy="5394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6" name="Picture Placeholder 8">
            <a:extLst>
              <a:ext uri="{FF2B5EF4-FFF2-40B4-BE49-F238E27FC236}">
                <a16:creationId xmlns:a16="http://schemas.microsoft.com/office/drawing/2014/main" id="{C15E4B71-17DA-45A8-9B4C-B9537719C432}"/>
              </a:ext>
            </a:extLst>
          </p:cNvPr>
          <p:cNvSpPr>
            <a:spLocks noGrp="1"/>
          </p:cNvSpPr>
          <p:nvPr>
            <p:ph type="pic" sz="quarter" idx="12"/>
          </p:nvPr>
        </p:nvSpPr>
        <p:spPr>
          <a:xfrm>
            <a:off x="-7345" y="0"/>
            <a:ext cx="2801957" cy="2008742"/>
          </a:xfrm>
        </p:spPr>
        <p:txBody>
          <a:bodyPr/>
          <a:lstStyle/>
          <a:p>
            <a:r>
              <a:rPr lang="en-US" dirty="0"/>
              <a:t>Click icon to add picture</a:t>
            </a:r>
          </a:p>
        </p:txBody>
      </p:sp>
      <p:sp>
        <p:nvSpPr>
          <p:cNvPr id="7" name="Picture Placeholder 8">
            <a:extLst>
              <a:ext uri="{FF2B5EF4-FFF2-40B4-BE49-F238E27FC236}">
                <a16:creationId xmlns:a16="http://schemas.microsoft.com/office/drawing/2014/main" id="{976DBAD2-21DB-4209-A793-6DA782AD1C12}"/>
              </a:ext>
            </a:extLst>
          </p:cNvPr>
          <p:cNvSpPr>
            <a:spLocks noGrp="1"/>
          </p:cNvSpPr>
          <p:nvPr>
            <p:ph type="pic" sz="quarter" idx="13"/>
          </p:nvPr>
        </p:nvSpPr>
        <p:spPr>
          <a:xfrm>
            <a:off x="-7345" y="4239658"/>
            <a:ext cx="2801957" cy="2008742"/>
          </a:xfrm>
        </p:spPr>
        <p:txBody>
          <a:bodyPr/>
          <a:lstStyle/>
          <a:p>
            <a:r>
              <a:rPr lang="en-US" dirty="0"/>
              <a:t>Click icon to add picture</a:t>
            </a:r>
          </a:p>
        </p:txBody>
      </p:sp>
      <p:sp>
        <p:nvSpPr>
          <p:cNvPr id="8" name="Picture Placeholder 8">
            <a:extLst>
              <a:ext uri="{FF2B5EF4-FFF2-40B4-BE49-F238E27FC236}">
                <a16:creationId xmlns:a16="http://schemas.microsoft.com/office/drawing/2014/main" id="{49410983-5690-49C5-8C9D-C7B493EF2191}"/>
              </a:ext>
            </a:extLst>
          </p:cNvPr>
          <p:cNvSpPr>
            <a:spLocks noGrp="1"/>
          </p:cNvSpPr>
          <p:nvPr>
            <p:ph type="pic" sz="quarter" idx="14"/>
          </p:nvPr>
        </p:nvSpPr>
        <p:spPr>
          <a:xfrm>
            <a:off x="-7345" y="2119829"/>
            <a:ext cx="2801957" cy="2008742"/>
          </a:xfrm>
        </p:spPr>
        <p:txBody>
          <a:bodyPr/>
          <a:lstStyle/>
          <a:p>
            <a:r>
              <a:rPr lang="en-US" dirty="0"/>
              <a:t>Click icon to add picture</a:t>
            </a:r>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2895599" y="116632"/>
            <a:ext cx="2801957" cy="6131768"/>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3537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46DD8-8F18-48CB-AF08-F98312811D00}"/>
              </a:ext>
            </a:extLst>
          </p:cNvPr>
          <p:cNvSpPr>
            <a:spLocks noGrp="1"/>
          </p:cNvSpPr>
          <p:nvPr>
            <p:ph type="title"/>
          </p:nvPr>
        </p:nvSpPr>
        <p:spPr>
          <a:xfrm>
            <a:off x="5791200" y="116632"/>
            <a:ext cx="6248400" cy="576064"/>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8C261D-801C-4ADD-B235-0054B3D7F3DF}"/>
              </a:ext>
            </a:extLst>
          </p:cNvPr>
          <p:cNvSpPr>
            <a:spLocks noGrp="1"/>
          </p:cNvSpPr>
          <p:nvPr>
            <p:ph type="sldNum" sz="quarter" idx="10"/>
          </p:nvPr>
        </p:nvSpPr>
        <p:spPr/>
        <p:txBody>
          <a:bodyPr/>
          <a:lstStyle/>
          <a:p>
            <a:fld id="{852567EB-E0F5-45D9-B008-D1999D3890B3}" type="slidenum">
              <a:rPr lang="en-US" smtClean="0"/>
              <a:pPr/>
              <a:t>‹#›</a:t>
            </a:fld>
            <a:endParaRPr lang="en-US" dirty="0"/>
          </a:p>
        </p:txBody>
      </p:sp>
      <p:sp>
        <p:nvSpPr>
          <p:cNvPr id="9" name="Content Placeholder 2">
            <a:extLst>
              <a:ext uri="{FF2B5EF4-FFF2-40B4-BE49-F238E27FC236}">
                <a16:creationId xmlns:a16="http://schemas.microsoft.com/office/drawing/2014/main" id="{4F460925-7D58-4DF3-B4E9-2AD23FED70B9}"/>
              </a:ext>
            </a:extLst>
          </p:cNvPr>
          <p:cNvSpPr>
            <a:spLocks noGrp="1"/>
          </p:cNvSpPr>
          <p:nvPr>
            <p:ph idx="1"/>
          </p:nvPr>
        </p:nvSpPr>
        <p:spPr>
          <a:xfrm>
            <a:off x="152400" y="116632"/>
            <a:ext cx="5545156" cy="6131768"/>
          </a:xfrm>
        </p:spPr>
        <p:txBody>
          <a:bodyPr>
            <a:normAutofit/>
          </a:bodyPr>
          <a:lstStyle>
            <a:lvl1pPr>
              <a:defRPr sz="2400">
                <a:solidFill>
                  <a:srgbClr val="59595B"/>
                </a:solidFill>
                <a:latin typeface="Calibri" panose="020F0502020204030204" pitchFamily="34" charset="0"/>
              </a:defRPr>
            </a:lvl1pPr>
            <a:lvl2pPr marL="461963" indent="-231775">
              <a:buFont typeface="Arial" panose="020B0604020202020204" pitchFamily="34" charset="0"/>
              <a:buChar char="•"/>
              <a:defRPr sz="2000">
                <a:solidFill>
                  <a:srgbClr val="59595B"/>
                </a:solidFill>
                <a:latin typeface="Calibri" panose="020F0502020204030204" pitchFamily="34" charset="0"/>
              </a:defRPr>
            </a:lvl2pPr>
            <a:lvl3pPr marL="915988" indent="-227013">
              <a:buFont typeface="Myriad Pro" pitchFamily="34" charset="0"/>
              <a:buChar char="º"/>
              <a:defRPr lang="en-US" sz="2000" kern="1200" dirty="0" smtClean="0">
                <a:solidFill>
                  <a:srgbClr val="59595B"/>
                </a:solidFill>
                <a:latin typeface="Calibri" panose="020F0502020204030204" pitchFamily="34" charset="0"/>
                <a:ea typeface="+mn-ea"/>
                <a:cs typeface="+mn-cs"/>
              </a:defRPr>
            </a:lvl3pPr>
            <a:lvl4pPr marL="1371600" indent="-227013">
              <a:buFont typeface="Arial" panose="020B0604020202020204" pitchFamily="34" charset="0"/>
              <a:buChar char="‒"/>
              <a:defRPr sz="2000">
                <a:solidFill>
                  <a:srgbClr val="59595B"/>
                </a:solidFill>
                <a:latin typeface="Calibri" panose="020F0502020204030204" pitchFamily="34" charset="0"/>
              </a:defRPr>
            </a:lvl4pPr>
            <a:lvl5pPr marL="1830388" indent="-227013">
              <a:buFont typeface="Arial" panose="020B0604020202020204" pitchFamily="34" charset="0"/>
              <a:buChar char="‒"/>
              <a:defRPr sz="2000">
                <a:solidFill>
                  <a:srgbClr val="59595B"/>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15">
            <a:extLst>
              <a:ext uri="{FF2B5EF4-FFF2-40B4-BE49-F238E27FC236}">
                <a16:creationId xmlns:a16="http://schemas.microsoft.com/office/drawing/2014/main" id="{22609A1E-E5C8-4E98-A87C-969C983F6568}"/>
              </a:ext>
            </a:extLst>
          </p:cNvPr>
          <p:cNvSpPr>
            <a:spLocks noGrp="1"/>
          </p:cNvSpPr>
          <p:nvPr>
            <p:ph sz="quarter" idx="16"/>
          </p:nvPr>
        </p:nvSpPr>
        <p:spPr>
          <a:xfrm>
            <a:off x="5791200" y="854075"/>
            <a:ext cx="6248400" cy="5394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2454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8.xml"/><Relationship Id="rId7" Type="http://schemas.openxmlformats.org/officeDocument/2006/relationships/vmlDrawing" Target="../drawings/vmlDrawing1.v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2.xml"/><Relationship Id="rId5" Type="http://schemas.openxmlformats.org/officeDocument/2006/relationships/slideLayout" Target="../slideLayouts/slideLayout40.xml"/><Relationship Id="rId10" Type="http://schemas.openxmlformats.org/officeDocument/2006/relationships/image" Target="../media/image3.emf"/><Relationship Id="rId4" Type="http://schemas.openxmlformats.org/officeDocument/2006/relationships/slideLayout" Target="../slideLayouts/slideLayout39.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image" Target="../media/image1.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85.xml"/><Relationship Id="rId7" Type="http://schemas.openxmlformats.org/officeDocument/2006/relationships/theme" Target="../theme/theme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41" Type="http://schemas.openxmlformats.org/officeDocument/2006/relationships/image" Target="../media/image1.pn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theme" Target="../theme/theme6.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4" Type="http://schemas.openxmlformats.org/officeDocument/2006/relationships/slideLayout" Target="../slideLayouts/slideLayout131.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0" y="6611780"/>
            <a:ext cx="480053" cy="246221"/>
          </a:xfrm>
          <a:prstGeom prst="rect">
            <a:avLst/>
          </a:prstGeom>
        </p:spPr>
        <p:txBody>
          <a:bodyPr vert="horz" wrap="square" lIns="91440" tIns="45720" rIns="91440" bIns="45720" rtlCol="0" anchor="ctr">
            <a:spAutoFit/>
          </a:bodyPr>
          <a:lstStyle>
            <a:lvl1pPr algn="l">
              <a:defRPr sz="1000" b="1">
                <a:solidFill>
                  <a:schemeClr val="tx1">
                    <a:tint val="75000"/>
                  </a:schemeClr>
                </a:solidFill>
                <a:latin typeface="Myriad Pro" pitchFamily="34" charset="0"/>
              </a:defRPr>
            </a:lvl1pPr>
          </a:lstStyle>
          <a:p>
            <a:fld id="{852567EB-E0F5-45D9-B008-D1999D3890B3}" type="slidenum">
              <a:rPr lang="en-US" smtClean="0"/>
              <a:pPr/>
              <a:t>‹#›</a:t>
            </a:fld>
            <a:endParaRPr lang="en-US" dirty="0"/>
          </a:p>
        </p:txBody>
      </p:sp>
      <p:sp>
        <p:nvSpPr>
          <p:cNvPr id="2" name="Title Placeholder 1"/>
          <p:cNvSpPr>
            <a:spLocks noGrp="1"/>
          </p:cNvSpPr>
          <p:nvPr>
            <p:ph type="title"/>
          </p:nvPr>
        </p:nvSpPr>
        <p:spPr>
          <a:xfrm>
            <a:off x="815413" y="116632"/>
            <a:ext cx="10766987" cy="576064"/>
          </a:xfrm>
          <a:prstGeom prst="rect">
            <a:avLst/>
          </a:prstGeom>
        </p:spPr>
        <p:txBody>
          <a:bodyPr vert="horz" lIns="91429" tIns="45715" rIns="91429" bIns="45715" rtlCol="0" anchor="ctr">
            <a:noAutofit/>
          </a:bodyPr>
          <a:lstStyle/>
          <a:p>
            <a:r>
              <a:rPr lang="en-US" dirty="0"/>
              <a:t>Click to edit Master title style</a:t>
            </a:r>
          </a:p>
        </p:txBody>
      </p:sp>
      <p:sp>
        <p:nvSpPr>
          <p:cNvPr id="3" name="Text Placeholder 2"/>
          <p:cNvSpPr>
            <a:spLocks noGrp="1"/>
          </p:cNvSpPr>
          <p:nvPr>
            <p:ph type="body" idx="1"/>
          </p:nvPr>
        </p:nvSpPr>
        <p:spPr>
          <a:xfrm>
            <a:off x="815413" y="803059"/>
            <a:ext cx="10766987" cy="5289451"/>
          </a:xfrm>
          <a:prstGeom prst="rect">
            <a:avLst/>
          </a:prstGeom>
          <a:ln>
            <a:noFill/>
          </a:ln>
        </p:spPr>
        <p:txBody>
          <a:bodyPr vert="horz" lIns="91429" tIns="45715" rIns="91429" bIns="45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F9F69827-6600-4A5E-A808-5CAC83AB6328}"/>
              </a:ext>
            </a:extLst>
          </p:cNvPr>
          <p:cNvPicPr>
            <a:picLocks noChangeAspect="1"/>
          </p:cNvPicPr>
          <p:nvPr userDrawn="1"/>
        </p:nvPicPr>
        <p:blipFill rotWithShape="1">
          <a:blip r:embed="rId37"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209607193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661" r:id="rId3"/>
    <p:sldLayoutId id="2147483757" r:id="rId4"/>
    <p:sldLayoutId id="2147483758" r:id="rId5"/>
    <p:sldLayoutId id="2147483765" r:id="rId6"/>
    <p:sldLayoutId id="2147483662" r:id="rId7"/>
    <p:sldLayoutId id="2147483759" r:id="rId8"/>
    <p:sldLayoutId id="2147483760" r:id="rId9"/>
    <p:sldLayoutId id="2147483691" r:id="rId10"/>
    <p:sldLayoutId id="2147483739" r:id="rId11"/>
    <p:sldLayoutId id="2147483741" r:id="rId12"/>
    <p:sldLayoutId id="2147483742" r:id="rId13"/>
    <p:sldLayoutId id="2147483756" r:id="rId14"/>
    <p:sldLayoutId id="2147483755" r:id="rId15"/>
    <p:sldLayoutId id="2147483763" r:id="rId16"/>
    <p:sldLayoutId id="2147483744" r:id="rId17"/>
    <p:sldLayoutId id="2147483754" r:id="rId18"/>
    <p:sldLayoutId id="2147483751" r:id="rId19"/>
    <p:sldLayoutId id="2147483752" r:id="rId20"/>
    <p:sldLayoutId id="2147483764" r:id="rId21"/>
    <p:sldLayoutId id="2147483745" r:id="rId22"/>
    <p:sldLayoutId id="2147483746" r:id="rId23"/>
    <p:sldLayoutId id="2147483747" r:id="rId24"/>
    <p:sldLayoutId id="2147483749" r:id="rId25"/>
    <p:sldLayoutId id="2147483750" r:id="rId26"/>
    <p:sldLayoutId id="2147483748" r:id="rId27"/>
    <p:sldLayoutId id="2147483686" r:id="rId28"/>
    <p:sldLayoutId id="2147483692" r:id="rId29"/>
    <p:sldLayoutId id="2147483666" r:id="rId30"/>
    <p:sldLayoutId id="2147483690" r:id="rId31"/>
    <p:sldLayoutId id="2147483697" r:id="rId32"/>
    <p:sldLayoutId id="2147483699" r:id="rId33"/>
    <p:sldLayoutId id="2147483766" r:id="rId34"/>
    <p:sldLayoutId id="2147483855" r:id="rId35"/>
  </p:sldLayoutIdLst>
  <p:hf hdr="0" ftr="0" dt="0"/>
  <p:txStyles>
    <p:titleStyle>
      <a:lvl1pPr algn="l" defTabSz="914290" rtl="0" eaLnBrk="1" latinLnBrk="0" hangingPunct="1">
        <a:spcBef>
          <a:spcPct val="0"/>
        </a:spcBef>
        <a:buNone/>
        <a:defRPr sz="3600" b="0" kern="1200" spc="-150">
          <a:solidFill>
            <a:srgbClr val="0070C0"/>
          </a:solidFill>
          <a:latin typeface="Calibri" panose="020F0502020204030204" pitchFamily="34" charset="0"/>
          <a:ea typeface="+mj-ea"/>
          <a:cs typeface="+mj-cs"/>
        </a:defRPr>
      </a:lvl1pPr>
    </p:titleStyle>
    <p:bodyStyle>
      <a:lvl1pPr marL="0" indent="0" algn="l" defTabSz="685800" rtl="0" eaLnBrk="1" latinLnBrk="0" hangingPunct="1">
        <a:spcBef>
          <a:spcPts val="0"/>
        </a:spcBef>
        <a:spcAft>
          <a:spcPts val="600"/>
        </a:spcAft>
        <a:buFont typeface="Arial" pitchFamily="34" charset="0"/>
        <a:buNone/>
        <a:tabLst>
          <a:tab pos="457200" algn="l"/>
          <a:tab pos="914400" algn="l"/>
          <a:tab pos="1371600" algn="l"/>
          <a:tab pos="1828800" algn="l"/>
        </a:tabLst>
        <a:defRPr sz="2400" kern="1200">
          <a:solidFill>
            <a:srgbClr val="59595B"/>
          </a:solidFill>
          <a:latin typeface="Calibri" panose="020F0502020204030204" pitchFamily="34" charset="0"/>
          <a:ea typeface="+mn-ea"/>
          <a:cs typeface="+mn-cs"/>
        </a:defRPr>
      </a:lvl1pPr>
      <a:lvl2pPr marL="461963" indent="-231775" algn="l" defTabSz="685800" rtl="0" eaLnBrk="1" latinLnBrk="0" hangingPunct="1">
        <a:spcBef>
          <a:spcPts val="0"/>
        </a:spcBef>
        <a:spcAft>
          <a:spcPts val="600"/>
        </a:spcAft>
        <a:buFont typeface="Arial" panose="020B0604020202020204"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2pPr>
      <a:lvl3pPr marL="915988" indent="-227013" algn="l" defTabSz="685800" rtl="0" eaLnBrk="1" latinLnBrk="0" hangingPunct="1">
        <a:spcBef>
          <a:spcPts val="0"/>
        </a:spcBef>
        <a:spcAft>
          <a:spcPts val="600"/>
        </a:spcAft>
        <a:buFont typeface="Myriad Pro" pitchFamily="34" charset="0"/>
        <a:buChar char="º"/>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3pPr>
      <a:lvl4pPr marL="1371600" indent="-227013" algn="l" defTabSz="685800" rtl="0" eaLnBrk="1" latinLnBrk="0" hangingPunct="1">
        <a:spcBef>
          <a:spcPts val="0"/>
        </a:spcBef>
        <a:spcAft>
          <a:spcPts val="600"/>
        </a:spcAft>
        <a:buFont typeface="Arial" pitchFamily="34" charset="0"/>
        <a:buChar char="‒"/>
        <a:tabLst>
          <a:tab pos="342900" algn="l"/>
          <a:tab pos="684213" algn="l"/>
          <a:tab pos="1027113" algn="l"/>
          <a:tab pos="1373188" algn="l"/>
        </a:tabLst>
        <a:defRPr sz="2000" kern="1200" spc="-150">
          <a:solidFill>
            <a:srgbClr val="59595B"/>
          </a:solidFill>
          <a:latin typeface="Calibri" panose="020F0502020204030204" pitchFamily="34" charset="0"/>
          <a:ea typeface="+mn-ea"/>
          <a:cs typeface="+mn-cs"/>
        </a:defRPr>
      </a:lvl4pPr>
      <a:lvl5pPr marL="1830388" indent="-227013" algn="l" defTabSz="685800" rtl="0" eaLnBrk="1" latinLnBrk="0" hangingPunct="1">
        <a:spcBef>
          <a:spcPts val="0"/>
        </a:spcBef>
        <a:spcAft>
          <a:spcPts val="600"/>
        </a:spcAft>
        <a:buFont typeface="Arial"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5pPr>
      <a:lvl6pPr marL="2514298"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8"/>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6824" name="think-cell スライド" r:id="rId9" imgW="395" imgH="394" progId="TCLayout.ActiveDocument.1">
                  <p:embed/>
                </p:oleObj>
              </mc:Choice>
              <mc:Fallback>
                <p:oleObj name="think-cell スライド" r:id="rId9" imgW="395" imgH="394" progId="TCLayout.ActiveDocument.1">
                  <p:embed/>
                  <p:pic>
                    <p:nvPicPr>
                      <p:cNvPr id="2" name="オブジェクト 1" hidden="1"/>
                      <p:cNvPicPr/>
                      <p:nvPr/>
                    </p:nvPicPr>
                    <p:blipFill>
                      <a:blip r:embed="rId10"/>
                      <a:stretch>
                        <a:fillRect/>
                      </a:stretch>
                    </p:blipFill>
                    <p:spPr>
                      <a:xfrm>
                        <a:off x="1955" y="1589"/>
                        <a:ext cx="1953" cy="1587"/>
                      </a:xfrm>
                      <a:prstGeom prst="rect">
                        <a:avLst/>
                      </a:prstGeom>
                    </p:spPr>
                  </p:pic>
                </p:oleObj>
              </mc:Fallback>
            </mc:AlternateContent>
          </a:graphicData>
        </a:graphic>
      </p:graphicFrame>
      <p:sp>
        <p:nvSpPr>
          <p:cNvPr id="20" name="TextBox 1"/>
          <p:cNvSpPr txBox="1"/>
          <p:nvPr/>
        </p:nvSpPr>
        <p:spPr>
          <a:xfrm>
            <a:off x="174395" y="6706234"/>
            <a:ext cx="1148712" cy="110287"/>
          </a:xfrm>
          <a:prstGeom prst="rect">
            <a:avLst/>
          </a:prstGeom>
          <a:noFill/>
        </p:spPr>
        <p:txBody>
          <a:bodyPr wrap="none" lIns="0" tIns="0" rIns="0" rtlCol="0">
            <a:spAutoFit/>
          </a:bodyPr>
          <a:lstStyle/>
          <a:p>
            <a:pPr>
              <a:lnSpc>
                <a:spcPts val="500"/>
              </a:lnSpc>
            </a:pPr>
            <a:r>
              <a:rPr lang="en-US" altLang="zh-CN" sz="1000" kern="0" spc="30" dirty="0" smtClean="0">
                <a:solidFill>
                  <a:srgbClr val="005EB8"/>
                </a:solidFill>
                <a:latin typeface="Meiryo UI"/>
                <a:ea typeface="Meiryo UI"/>
                <a:cs typeface="HGP創英角ｺﾞｼｯｸUB"/>
                <a:sym typeface="Meiryo UI"/>
              </a:rPr>
              <a:t>CONFIDENTIAL B</a:t>
            </a:r>
          </a:p>
        </p:txBody>
      </p:sp>
      <p:cxnSp>
        <p:nvCxnSpPr>
          <p:cNvPr id="11" name="直線コネクタ 10"/>
          <p:cNvCxnSpPr/>
          <p:nvPr/>
        </p:nvCxnSpPr>
        <p:spPr>
          <a:xfrm>
            <a:off x="375717" y="732660"/>
            <a:ext cx="11406953" cy="0"/>
          </a:xfrm>
          <a:prstGeom prst="line">
            <a:avLst/>
          </a:prstGeom>
          <a:ln w="38100" cmpd="sng">
            <a:solidFill>
              <a:srgbClr val="005EB8"/>
            </a:solidFill>
          </a:ln>
          <a:effectLst/>
        </p:spPr>
        <p:style>
          <a:lnRef idx="2">
            <a:schemeClr val="accent1"/>
          </a:lnRef>
          <a:fillRef idx="0">
            <a:schemeClr val="accent1"/>
          </a:fillRef>
          <a:effectRef idx="1">
            <a:schemeClr val="accent1"/>
          </a:effectRef>
          <a:fontRef idx="minor">
            <a:schemeClr val="tx1"/>
          </a:fontRef>
        </p:style>
      </p:cxnSp>
      <p:sp>
        <p:nvSpPr>
          <p:cNvPr id="5" name="スライド番号プレースホルダー 3"/>
          <p:cNvSpPr txBox="1">
            <a:spLocks/>
          </p:cNvSpPr>
          <p:nvPr/>
        </p:nvSpPr>
        <p:spPr>
          <a:xfrm>
            <a:off x="9387646" y="6519875"/>
            <a:ext cx="2844800" cy="253894"/>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r" fontAlgn="auto">
              <a:spcBef>
                <a:spcPts val="0"/>
              </a:spcBef>
              <a:spcAft>
                <a:spcPts val="0"/>
              </a:spcAft>
            </a:pPr>
            <a:fld id="{E8BE4B8B-56DD-C042-B68B-6CBB684AA62B}" type="slidenum">
              <a:rPr lang="ja-JP" altLang="en-US" sz="1100" smtClean="0">
                <a:solidFill>
                  <a:prstClr val="black">
                    <a:lumMod val="50000"/>
                    <a:lumOff val="50000"/>
                  </a:prstClr>
                </a:solidFill>
                <a:latin typeface="Meiryo UI"/>
                <a:ea typeface="Meiryo UI"/>
                <a:cs typeface="HGP創英角ｺﾞｼｯｸUB"/>
                <a:sym typeface="Meiryo UI"/>
              </a:rPr>
              <a:pPr algn="r" fontAlgn="auto">
                <a:spcBef>
                  <a:spcPts val="0"/>
                </a:spcBef>
                <a:spcAft>
                  <a:spcPts val="0"/>
                </a:spcAft>
              </a:pPr>
              <a:t>‹#›</a:t>
            </a:fld>
            <a:endParaRPr lang="ja-JP" altLang="en-US" sz="1100" dirty="0">
              <a:solidFill>
                <a:prstClr val="black">
                  <a:lumMod val="50000"/>
                  <a:lumOff val="50000"/>
                </a:prstClr>
              </a:solidFill>
              <a:latin typeface="Meiryo UI"/>
              <a:ea typeface="Meiryo UI"/>
              <a:cs typeface="HGP創英角ｺﾞｼｯｸUB"/>
              <a:sym typeface="Meiryo UI"/>
            </a:endParaRPr>
          </a:p>
        </p:txBody>
      </p:sp>
    </p:spTree>
    <p:extLst>
      <p:ext uri="{BB962C8B-B14F-4D97-AF65-F5344CB8AC3E}">
        <p14:creationId xmlns:p14="http://schemas.microsoft.com/office/powerpoint/2010/main" val="127743917"/>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Lst>
  <p:timing>
    <p:tnLst>
      <p:par>
        <p:cTn id="1" dur="indefinite" restart="never" nodeType="tmRoot"/>
      </p:par>
    </p:tnLst>
  </p:timing>
  <p:hf hdr="0" ftr="0" dt="0"/>
  <p:txStyles>
    <p:titleStyle>
      <a:lvl1pPr algn="ctr" defTabSz="4572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kumimoji="1"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kumimoji="1"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kumimoji="1"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0" y="6586166"/>
            <a:ext cx="480053" cy="297454"/>
          </a:xfrm>
          <a:prstGeom prst="rect">
            <a:avLst/>
          </a:prstGeom>
        </p:spPr>
        <p:txBody>
          <a:bodyPr vert="horz" wrap="square" lIns="91440" tIns="45720" rIns="91440" bIns="45720" rtlCol="0" anchor="ctr">
            <a:spAutoFit/>
          </a:bodyPr>
          <a:lstStyle>
            <a:lvl1pPr algn="l">
              <a:defRPr sz="1333" b="1">
                <a:solidFill>
                  <a:schemeClr val="tx1">
                    <a:tint val="75000"/>
                  </a:schemeClr>
                </a:solidFill>
                <a:latin typeface="Myriad Pro" pitchFamily="34" charset="0"/>
              </a:defRPr>
            </a:lvl1pPr>
          </a:lstStyle>
          <a:p>
            <a:fld id="{9601C2A5-D6F0-419E-8B2A-09D8903D5C45}" type="slidenum">
              <a:rPr lang="en-US" smtClean="0"/>
              <a:t>‹#›</a:t>
            </a:fld>
            <a:endParaRPr lang="en-US" dirty="0"/>
          </a:p>
        </p:txBody>
      </p:sp>
      <p:sp>
        <p:nvSpPr>
          <p:cNvPr id="2" name="Title Placeholder 1"/>
          <p:cNvSpPr>
            <a:spLocks noGrp="1"/>
          </p:cNvSpPr>
          <p:nvPr>
            <p:ph type="title"/>
          </p:nvPr>
        </p:nvSpPr>
        <p:spPr>
          <a:xfrm>
            <a:off x="815413" y="116632"/>
            <a:ext cx="10766987" cy="576064"/>
          </a:xfrm>
          <a:prstGeom prst="rect">
            <a:avLst/>
          </a:prstGeom>
        </p:spPr>
        <p:txBody>
          <a:bodyPr vert="horz" lIns="91429" tIns="45715" rIns="91429" bIns="45715"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15413" y="803060"/>
            <a:ext cx="10766987" cy="5445341"/>
          </a:xfrm>
          <a:prstGeom prst="rect">
            <a:avLst/>
          </a:prstGeom>
          <a:ln>
            <a:noFill/>
          </a:ln>
        </p:spPr>
        <p:txBody>
          <a:bodyPr vert="horz" lIns="91429" tIns="45715" rIns="91429" bIns="45715"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a:extLst>
              <a:ext uri="{FF2B5EF4-FFF2-40B4-BE49-F238E27FC236}">
                <a16:creationId xmlns:a16="http://schemas.microsoft.com/office/drawing/2014/main" id="{F9F69827-6600-4A5E-A808-5CAC83AB6328}"/>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329974231"/>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 id="2147483845" r:id="rId36"/>
    <p:sldLayoutId id="2147483846" r:id="rId37"/>
    <p:sldLayoutId id="2147483847" r:id="rId38"/>
    <p:sldLayoutId id="2147483848" r:id="rId39"/>
  </p:sldLayoutIdLst>
  <p:timing>
    <p:tnLst>
      <p:par>
        <p:cTn id="1" dur="indefinite" restart="never" nodeType="tmRoot"/>
      </p:par>
    </p:tnLst>
  </p:timing>
  <p:txStyles>
    <p:titleStyle>
      <a:lvl1pPr algn="l" defTabSz="1219023" rtl="0" eaLnBrk="1" latinLnBrk="0" hangingPunct="1">
        <a:spcBef>
          <a:spcPct val="0"/>
        </a:spcBef>
        <a:buNone/>
        <a:defRPr sz="4800" b="0" kern="1200" spc="-200">
          <a:solidFill>
            <a:srgbClr val="0070C0"/>
          </a:solidFill>
          <a:latin typeface="Calibri" panose="020F0502020204030204" pitchFamily="34" charset="0"/>
          <a:ea typeface="+mj-ea"/>
          <a:cs typeface="+mj-cs"/>
        </a:defRPr>
      </a:lvl1pPr>
    </p:titleStyle>
    <p:bodyStyle>
      <a:lvl1pPr marL="0" indent="0" algn="l" defTabSz="914377" rtl="0" eaLnBrk="1" latinLnBrk="0" hangingPunct="1">
        <a:spcBef>
          <a:spcPts val="0"/>
        </a:spcBef>
        <a:spcAft>
          <a:spcPts val="800"/>
        </a:spcAft>
        <a:buFont typeface="Arial" pitchFamily="34" charset="0"/>
        <a:buNone/>
        <a:tabLst>
          <a:tab pos="609585" algn="l"/>
          <a:tab pos="1219170" algn="l"/>
          <a:tab pos="1828754" algn="l"/>
          <a:tab pos="2438339" algn="l"/>
        </a:tabLst>
        <a:defRPr sz="3200" kern="1200" spc="0" baseline="0">
          <a:solidFill>
            <a:srgbClr val="59595B"/>
          </a:solidFill>
          <a:latin typeface="Calibri" panose="020F0502020204030204" pitchFamily="34" charset="0"/>
          <a:ea typeface="+mn-ea"/>
          <a:cs typeface="+mn-cs"/>
        </a:defRPr>
      </a:lvl1pPr>
      <a:lvl2pPr marL="615935" indent="-309026" algn="l" defTabSz="914377" rtl="0" eaLnBrk="1" latinLnBrk="0" hangingPunct="1">
        <a:spcBef>
          <a:spcPts val="0"/>
        </a:spcBef>
        <a:spcAft>
          <a:spcPts val="800"/>
        </a:spcAft>
        <a:buFont typeface="Arial" panose="020B0604020202020204" pitchFamily="34" charset="0"/>
        <a:buChar char="•"/>
        <a:tabLst>
          <a:tab pos="609585" algn="l"/>
          <a:tab pos="1219170" algn="l"/>
          <a:tab pos="1828754" algn="l"/>
          <a:tab pos="2438339" algn="l"/>
        </a:tabLst>
        <a:defRPr sz="2667" kern="1200" spc="0" baseline="0">
          <a:solidFill>
            <a:srgbClr val="59595B"/>
          </a:solidFill>
          <a:latin typeface="Calibri" panose="020F0502020204030204" pitchFamily="34" charset="0"/>
          <a:ea typeface="+mn-ea"/>
          <a:cs typeface="+mn-cs"/>
        </a:defRPr>
      </a:lvl2pPr>
      <a:lvl3pPr marL="1221287" indent="-302676" algn="l" defTabSz="914377" rtl="0" eaLnBrk="1" latinLnBrk="0" hangingPunct="1">
        <a:spcBef>
          <a:spcPts val="0"/>
        </a:spcBef>
        <a:spcAft>
          <a:spcPts val="800"/>
        </a:spcAft>
        <a:buFont typeface="Myriad Pro" pitchFamily="34" charset="0"/>
        <a:buChar char="º"/>
        <a:tabLst>
          <a:tab pos="609585" algn="l"/>
          <a:tab pos="1219170" algn="l"/>
          <a:tab pos="1828754" algn="l"/>
          <a:tab pos="2438339" algn="l"/>
        </a:tabLst>
        <a:defRPr sz="2667" kern="1200" spc="0" baseline="0">
          <a:solidFill>
            <a:srgbClr val="59595B"/>
          </a:solidFill>
          <a:latin typeface="Calibri" panose="020F0502020204030204" pitchFamily="34" charset="0"/>
          <a:ea typeface="+mn-ea"/>
          <a:cs typeface="+mn-cs"/>
        </a:defRPr>
      </a:lvl3pPr>
      <a:lvl4pPr marL="1828754" indent="-302676" algn="l" defTabSz="914377" rtl="0" eaLnBrk="1" latinLnBrk="0" hangingPunct="1">
        <a:spcBef>
          <a:spcPts val="0"/>
        </a:spcBef>
        <a:spcAft>
          <a:spcPts val="800"/>
        </a:spcAft>
        <a:buFont typeface="Arial" pitchFamily="34" charset="0"/>
        <a:buChar char="‒"/>
        <a:tabLst>
          <a:tab pos="457189" algn="l"/>
          <a:tab pos="912261" algn="l"/>
          <a:tab pos="1369450" algn="l"/>
          <a:tab pos="1830872" algn="l"/>
        </a:tabLst>
        <a:defRPr sz="2667" kern="1200" spc="0" baseline="0">
          <a:solidFill>
            <a:srgbClr val="59595B"/>
          </a:solidFill>
          <a:latin typeface="Calibri" panose="020F0502020204030204" pitchFamily="34" charset="0"/>
          <a:ea typeface="+mn-ea"/>
          <a:cs typeface="+mn-cs"/>
        </a:defRPr>
      </a:lvl4pPr>
      <a:lvl5pPr marL="2440456" indent="-302676" algn="l" defTabSz="914377" rtl="0" eaLnBrk="1" latinLnBrk="0" hangingPunct="1">
        <a:spcBef>
          <a:spcPts val="0"/>
        </a:spcBef>
        <a:spcAft>
          <a:spcPts val="800"/>
        </a:spcAft>
        <a:buFont typeface="Arial" pitchFamily="34" charset="0"/>
        <a:buChar char="‒"/>
        <a:tabLst>
          <a:tab pos="609585" algn="l"/>
          <a:tab pos="1219170" algn="l"/>
          <a:tab pos="1828754" algn="l"/>
          <a:tab pos="2438339" algn="l"/>
        </a:tabLst>
        <a:defRPr sz="2667" kern="1200" spc="0" baseline="0">
          <a:solidFill>
            <a:srgbClr val="59595B"/>
          </a:solidFill>
          <a:latin typeface="Calibri" panose="020F0502020204030204" pitchFamily="34" charset="0"/>
          <a:ea typeface="+mn-ea"/>
          <a:cs typeface="+mn-cs"/>
        </a:defRPr>
      </a:lvl5pPr>
      <a:lvl6pPr marL="3352314" indent="-304756" algn="l" defTabSz="1219023"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25" indent="-304756" algn="l" defTabSz="1219023"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38" indent="-304756" algn="l" defTabSz="1219023"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49" indent="-304756" algn="l" defTabSz="1219023"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23" rtl="0" eaLnBrk="1" latinLnBrk="0" hangingPunct="1">
        <a:defRPr sz="2400" kern="1200">
          <a:solidFill>
            <a:schemeClr val="tx1"/>
          </a:solidFill>
          <a:latin typeface="+mn-lt"/>
          <a:ea typeface="+mn-ea"/>
          <a:cs typeface="+mn-cs"/>
        </a:defRPr>
      </a:lvl1pPr>
      <a:lvl2pPr marL="609511" algn="l" defTabSz="1219023" rtl="0" eaLnBrk="1" latinLnBrk="0" hangingPunct="1">
        <a:defRPr sz="2400" kern="1200">
          <a:solidFill>
            <a:schemeClr val="tx1"/>
          </a:solidFill>
          <a:latin typeface="+mn-lt"/>
          <a:ea typeface="+mn-ea"/>
          <a:cs typeface="+mn-cs"/>
        </a:defRPr>
      </a:lvl2pPr>
      <a:lvl3pPr marL="1219023" algn="l" defTabSz="1219023" rtl="0" eaLnBrk="1" latinLnBrk="0" hangingPunct="1">
        <a:defRPr sz="2400" kern="1200">
          <a:solidFill>
            <a:schemeClr val="tx1"/>
          </a:solidFill>
          <a:latin typeface="+mn-lt"/>
          <a:ea typeface="+mn-ea"/>
          <a:cs typeface="+mn-cs"/>
        </a:defRPr>
      </a:lvl3pPr>
      <a:lvl4pPr marL="1828534" algn="l" defTabSz="1219023" rtl="0" eaLnBrk="1" latinLnBrk="0" hangingPunct="1">
        <a:defRPr sz="2400" kern="1200">
          <a:solidFill>
            <a:schemeClr val="tx1"/>
          </a:solidFill>
          <a:latin typeface="+mn-lt"/>
          <a:ea typeface="+mn-ea"/>
          <a:cs typeface="+mn-cs"/>
        </a:defRPr>
      </a:lvl4pPr>
      <a:lvl5pPr marL="2438047" algn="l" defTabSz="1219023" rtl="0" eaLnBrk="1" latinLnBrk="0" hangingPunct="1">
        <a:defRPr sz="2400" kern="1200">
          <a:solidFill>
            <a:schemeClr val="tx1"/>
          </a:solidFill>
          <a:latin typeface="+mn-lt"/>
          <a:ea typeface="+mn-ea"/>
          <a:cs typeface="+mn-cs"/>
        </a:defRPr>
      </a:lvl5pPr>
      <a:lvl6pPr marL="3047558" algn="l" defTabSz="1219023" rtl="0" eaLnBrk="1" latinLnBrk="0" hangingPunct="1">
        <a:defRPr sz="2400" kern="1200">
          <a:solidFill>
            <a:schemeClr val="tx1"/>
          </a:solidFill>
          <a:latin typeface="+mn-lt"/>
          <a:ea typeface="+mn-ea"/>
          <a:cs typeface="+mn-cs"/>
        </a:defRPr>
      </a:lvl6pPr>
      <a:lvl7pPr marL="3657070" algn="l" defTabSz="1219023" rtl="0" eaLnBrk="1" latinLnBrk="0" hangingPunct="1">
        <a:defRPr sz="2400" kern="1200">
          <a:solidFill>
            <a:schemeClr val="tx1"/>
          </a:solidFill>
          <a:latin typeface="+mn-lt"/>
          <a:ea typeface="+mn-ea"/>
          <a:cs typeface="+mn-cs"/>
        </a:defRPr>
      </a:lvl7pPr>
      <a:lvl8pPr marL="4266581" algn="l" defTabSz="1219023" rtl="0" eaLnBrk="1" latinLnBrk="0" hangingPunct="1">
        <a:defRPr sz="2400" kern="1200">
          <a:solidFill>
            <a:schemeClr val="tx1"/>
          </a:solidFill>
          <a:latin typeface="+mn-lt"/>
          <a:ea typeface="+mn-ea"/>
          <a:cs typeface="+mn-cs"/>
        </a:defRPr>
      </a:lvl8pPr>
      <a:lvl9pPr marL="4876093" algn="l" defTabSz="1219023"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0"/>
            <a:ext cx="11430000" cy="352968"/>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990600"/>
            <a:ext cx="11430000" cy="5029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10" name="Picture 9"/>
          <p:cNvPicPr>
            <a:picLocks noChangeAspect="1"/>
          </p:cNvPicPr>
          <p:nvPr userDrawn="1"/>
        </p:nvPicPr>
        <p:blipFill>
          <a:blip r:embed="rId5"/>
          <a:stretch>
            <a:fillRect/>
          </a:stretch>
        </p:blipFill>
        <p:spPr>
          <a:xfrm>
            <a:off x="10668000" y="6352632"/>
            <a:ext cx="1143000" cy="124368"/>
          </a:xfrm>
          <a:prstGeom prst="rect">
            <a:avLst/>
          </a:prstGeom>
        </p:spPr>
      </p:pic>
      <p:sp>
        <p:nvSpPr>
          <p:cNvPr id="9" name="TextBox 8"/>
          <p:cNvSpPr txBox="1"/>
          <p:nvPr userDrawn="1"/>
        </p:nvSpPr>
        <p:spPr>
          <a:xfrm>
            <a:off x="381000" y="6352632"/>
            <a:ext cx="685800" cy="124368"/>
          </a:xfrm>
          <a:prstGeom prst="rect">
            <a:avLst/>
          </a:prstGeom>
        </p:spPr>
        <p:txBody>
          <a:bodyPr vert="horz" wrap="square" lIns="0" tIns="0" rIns="0" bIns="0" rtlCol="0" anchor="ctr">
            <a:noAutofit/>
          </a:bodyPr>
          <a:lstStyle/>
          <a:p>
            <a:fld id="{3E51E433-9B5A-4E31-896A-A3979B023306}" type="slidenum">
              <a:rPr lang="en-CA" sz="1000" smtClean="0"/>
              <a:t>‹#›</a:t>
            </a:fld>
            <a:endParaRPr lang="en-CA" sz="1000" dirty="0"/>
          </a:p>
        </p:txBody>
      </p:sp>
      <p:sp>
        <p:nvSpPr>
          <p:cNvPr id="12" name="TextBox 11"/>
          <p:cNvSpPr txBox="1"/>
          <p:nvPr userDrawn="1"/>
        </p:nvSpPr>
        <p:spPr>
          <a:xfrm>
            <a:off x="762000" y="6352632"/>
            <a:ext cx="5257800" cy="124368"/>
          </a:xfrm>
          <a:prstGeom prst="rect">
            <a:avLst/>
          </a:prstGeom>
        </p:spPr>
        <p:txBody>
          <a:bodyPr vert="horz" wrap="square" lIns="0" tIns="0" rIns="0" bIns="0" rtlCol="0" anchor="ctr">
            <a:noAutofit/>
          </a:bodyPr>
          <a:lstStyle/>
          <a:p>
            <a:pPr algn="l"/>
            <a:r>
              <a:rPr lang="en-US" sz="600" dirty="0">
                <a:solidFill>
                  <a:schemeClr val="accent1"/>
                </a:solidFill>
              </a:rPr>
              <a:t>© Valiant TMS. All Rights Reserved. Confidential: This package is not to be copied in whole or in part without the written permission of Valiant TMS.</a:t>
            </a:r>
          </a:p>
        </p:txBody>
      </p:sp>
      <p:pic>
        <p:nvPicPr>
          <p:cNvPr id="61" name="Picture 60"/>
          <p:cNvPicPr>
            <a:picLocks noChangeAspect="1"/>
          </p:cNvPicPr>
          <p:nvPr userDrawn="1"/>
        </p:nvPicPr>
        <p:blipFill>
          <a:blip r:embed="rId6"/>
          <a:stretch>
            <a:fillRect/>
          </a:stretch>
        </p:blipFill>
        <p:spPr>
          <a:xfrm>
            <a:off x="9681617" y="376973"/>
            <a:ext cx="2129383" cy="267724"/>
          </a:xfrm>
          <a:prstGeom prst="rect">
            <a:avLst/>
          </a:prstGeom>
        </p:spPr>
      </p:pic>
    </p:spTree>
    <p:extLst>
      <p:ext uri="{BB962C8B-B14F-4D97-AF65-F5344CB8AC3E}">
        <p14:creationId xmlns:p14="http://schemas.microsoft.com/office/powerpoint/2010/main" val="44767776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Lst>
  <p:hf hdr="0" dt="0"/>
  <p:txStyles>
    <p:titleStyle>
      <a:lvl1pPr algn="l" defTabSz="914491" rtl="0" eaLnBrk="1" latinLnBrk="0" hangingPunct="1">
        <a:spcBef>
          <a:spcPct val="0"/>
        </a:spcBef>
        <a:buNone/>
        <a:defRPr sz="2400" b="0" kern="1200" spc="0" baseline="0">
          <a:solidFill>
            <a:schemeClr val="tx2"/>
          </a:solidFill>
          <a:latin typeface="+mj-lt"/>
          <a:ea typeface="+mj-ea"/>
          <a:cs typeface="Gilroy" panose="00000500000000000000" pitchFamily="2" charset="0"/>
        </a:defRPr>
      </a:lvl1pPr>
    </p:titleStyle>
    <p:bodyStyle>
      <a:lvl1pPr marL="171450" indent="-171450" algn="l" defTabSz="914491" rtl="0" eaLnBrk="1" latinLnBrk="0" hangingPunct="1">
        <a:lnSpc>
          <a:spcPct val="125000"/>
        </a:lnSpc>
        <a:spcBef>
          <a:spcPts val="400"/>
        </a:spcBef>
        <a:spcAft>
          <a:spcPts val="0"/>
        </a:spcAft>
        <a:buFont typeface="Arial" panose="020B0604020202020204" pitchFamily="34" charset="0"/>
        <a:buChar char="•"/>
        <a:defRPr sz="1400" b="0" i="0" u="none" kern="1200" spc="0" baseline="0">
          <a:solidFill>
            <a:schemeClr val="tx1"/>
          </a:solidFill>
          <a:latin typeface="+mn-lt"/>
          <a:ea typeface="+mn-ea"/>
          <a:cs typeface="Gilroy" panose="00000500000000000000" pitchFamily="2" charset="0"/>
        </a:defRPr>
      </a:lvl1pPr>
      <a:lvl2pPr marL="460421" indent="-230211"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2pPr>
      <a:lvl3pPr marL="684281" indent="-173055"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3pPr>
      <a:lvl4pPr marL="1030391" indent="-231798" algn="l" defTabSz="914491" rtl="0" eaLnBrk="1" latinLnBrk="0" hangingPunct="1">
        <a:lnSpc>
          <a:spcPct val="125000"/>
        </a:lnSpc>
        <a:spcBef>
          <a:spcPts val="400"/>
        </a:spcBef>
        <a:spcAft>
          <a:spcPts val="0"/>
        </a:spcAft>
        <a:buFont typeface="Gilroy" panose="020B0604020202020204" pitchFamily="34" charset="0"/>
        <a:buChar char="–"/>
        <a:defRPr lang="en-US" sz="1400" kern="1200" spc="-20" baseline="0" dirty="0" smtClean="0">
          <a:solidFill>
            <a:schemeClr val="tx1"/>
          </a:solidFill>
          <a:latin typeface="+mn-lt"/>
          <a:ea typeface="+mn-ea"/>
          <a:cs typeface="Gilroy" panose="020F0302020204030204" pitchFamily="34" charset="0"/>
        </a:defRPr>
      </a:lvl4pPr>
      <a:lvl5pPr marL="1260601" indent="-173055" algn="l" defTabSz="914491" rtl="0" eaLnBrk="1" latinLnBrk="0" hangingPunct="1">
        <a:lnSpc>
          <a:spcPct val="125000"/>
        </a:lnSpc>
        <a:spcBef>
          <a:spcPts val="400"/>
        </a:spcBef>
        <a:spcAft>
          <a:spcPts val="0"/>
        </a:spcAft>
        <a:buFont typeface="Gilroy" panose="020B0604020202020204" pitchFamily="34" charset="0"/>
        <a:buChar char="•"/>
        <a:defRPr sz="1400" kern="1200" spc="-20" baseline="0">
          <a:solidFill>
            <a:schemeClr val="tx1"/>
          </a:solidFill>
          <a:latin typeface="+mn-lt"/>
          <a:ea typeface="+mn-ea"/>
          <a:cs typeface="Gilroy" panose="020F0302020204030204" pitchFamily="34" charset="0"/>
        </a:defRPr>
      </a:lvl5pPr>
      <a:lvl6pPr marL="2514851"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1">
          <p15:clr>
            <a:srgbClr val="F26B43"/>
          </p15:clr>
        </p15:guide>
        <p15:guide id="3" pos="240">
          <p15:clr>
            <a:srgbClr val="F26B43"/>
          </p15:clr>
        </p15:guide>
        <p15:guide id="4" pos="7440">
          <p15:clr>
            <a:srgbClr val="F26B43"/>
          </p15:clr>
        </p15:guide>
        <p15:guide id="5" orient="horz" pos="240">
          <p15:clr>
            <a:srgbClr val="F26B43"/>
          </p15:clr>
        </p15:guide>
        <p15:guide id="6" orient="horz" pos="4080">
          <p15:clr>
            <a:srgbClr val="F26B43"/>
          </p15:clr>
        </p15:guide>
        <p15:guide id="7" orient="horz" pos="3792">
          <p15:clr>
            <a:srgbClr val="F26B43"/>
          </p15:clr>
        </p15:guide>
        <p15:guide id="8" orient="horz" pos="6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121" y="164827"/>
            <a:ext cx="11046910" cy="941161"/>
          </a:xfrm>
          <a:prstGeom prst="rect">
            <a:avLst/>
          </a:prstGeom>
        </p:spPr>
        <p:txBody>
          <a:bodyPr vert="horz" lIns="91440" tIns="45720" rIns="91440" bIns="45720" rtlCol="0" anchor="ctr">
            <a:normAutofit/>
          </a:bodyPr>
          <a:lstStyle/>
          <a:p>
            <a:r>
              <a:rPr lang="en-US" dirty="0"/>
              <a:t>Click to edit header title style</a:t>
            </a:r>
            <a:br>
              <a:rPr lang="en-US" dirty="0"/>
            </a:br>
            <a:r>
              <a:rPr lang="en-US" dirty="0"/>
              <a:t>Secondary line for title if needed.</a:t>
            </a:r>
            <a:br>
              <a:rPr lang="en-US" dirty="0"/>
            </a:br>
            <a:endParaRPr lang="en-US" dirty="0"/>
          </a:p>
        </p:txBody>
      </p:sp>
      <p:sp>
        <p:nvSpPr>
          <p:cNvPr id="3" name="Text Placeholder 2"/>
          <p:cNvSpPr>
            <a:spLocks noGrp="1"/>
          </p:cNvSpPr>
          <p:nvPr>
            <p:ph type="body" idx="1"/>
          </p:nvPr>
        </p:nvSpPr>
        <p:spPr>
          <a:xfrm>
            <a:off x="306120" y="1303111"/>
            <a:ext cx="11690816"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9684717" y="6387753"/>
            <a:ext cx="1822651" cy="230832"/>
          </a:xfrm>
          <a:prstGeom prst="rect">
            <a:avLst/>
          </a:prstGeom>
          <a:noFill/>
        </p:spPr>
        <p:txBody>
          <a:bodyPr wrap="square" rtlCol="0">
            <a:spAutoFit/>
          </a:bodyPr>
          <a:lstStyle/>
          <a:p>
            <a:r>
              <a:rPr lang="en-US" sz="900" dirty="0">
                <a:solidFill>
                  <a:schemeClr val="tx1">
                    <a:lumMod val="65000"/>
                    <a:lumOff val="35000"/>
                  </a:schemeClr>
                </a:solidFill>
                <a:latin typeface="Arial" panose="020B0604020202020204" pitchFamily="34" charset="0"/>
                <a:cs typeface="Arial" panose="020B0604020202020204" pitchFamily="34" charset="0"/>
              </a:rPr>
              <a:t>© Microscan</a:t>
            </a:r>
            <a:r>
              <a:rPr lang="en-US" sz="900" baseline="0" dirty="0">
                <a:solidFill>
                  <a:schemeClr val="tx1">
                    <a:lumMod val="65000"/>
                    <a:lumOff val="35000"/>
                  </a:schemeClr>
                </a:solidFill>
                <a:latin typeface="Arial" panose="020B0604020202020204" pitchFamily="34" charset="0"/>
                <a:cs typeface="Arial" panose="020B0604020202020204" pitchFamily="34" charset="0"/>
              </a:rPr>
              <a:t> Systems Inc</a:t>
            </a:r>
            <a:r>
              <a:rPr lang="en-US" sz="825" baseline="0" dirty="0">
                <a:solidFill>
                  <a:schemeClr val="tx1">
                    <a:lumMod val="65000"/>
                    <a:lumOff val="35000"/>
                  </a:schemeClr>
                </a:solidFill>
                <a:latin typeface="Arial" panose="020B0604020202020204" pitchFamily="34" charset="0"/>
                <a:cs typeface="Arial" panose="020B0604020202020204" pitchFamily="34" charset="0"/>
              </a:rPr>
              <a:t>.</a:t>
            </a:r>
            <a:endParaRPr lang="en-US" sz="825"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Tree>
    <p:extLst>
      <p:ext uri="{BB962C8B-B14F-4D97-AF65-F5344CB8AC3E}">
        <p14:creationId xmlns:p14="http://schemas.microsoft.com/office/powerpoint/2010/main" val="3935876644"/>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Lst>
  <p:timing>
    <p:tnLst>
      <p:par>
        <p:cTn id="1" dur="indefinite" restart="never" nodeType="tmRoot"/>
      </p:par>
    </p:tnLst>
  </p:timing>
  <p:txStyles>
    <p:titleStyle>
      <a:lvl1pPr algn="l" defTabSz="914400" rtl="0" eaLnBrk="1" latinLnBrk="0" hangingPunct="1">
        <a:lnSpc>
          <a:spcPct val="90000"/>
        </a:lnSpc>
        <a:spcBef>
          <a:spcPct val="0"/>
        </a:spcBef>
        <a:buNone/>
        <a:defRPr sz="2800" kern="1200" baseline="0">
          <a:solidFill>
            <a:srgbClr val="BF2E1A"/>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b="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BF2E1A"/>
        </a:buClr>
        <a:buFont typeface="Arial" panose="020B0604020202020204" pitchFamily="34" charset="0"/>
        <a:buChar char="•"/>
        <a:defRPr sz="2400" b="0" kern="1200">
          <a:solidFill>
            <a:schemeClr val="tx1">
              <a:lumMod val="75000"/>
              <a:lumOff val="25000"/>
            </a:schemeClr>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Wingdings" panose="05000000000000000000" pitchFamily="2" charset="2"/>
        <a:buChar char="ü"/>
        <a:defRPr sz="2000" b="0" kern="1200">
          <a:solidFill>
            <a:srgbClr val="002060"/>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002060"/>
        </a:buClr>
        <a:buFont typeface="Arial" panose="020B0604020202020204" pitchFamily="34" charset="0"/>
        <a:buChar char="•"/>
        <a:defRPr sz="1800" b="0" kern="1200">
          <a:solidFill>
            <a:schemeClr val="bg1">
              <a:lumMod val="50000"/>
            </a:schemeClr>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0" y="6611780"/>
            <a:ext cx="480053" cy="246221"/>
          </a:xfrm>
          <a:prstGeom prst="rect">
            <a:avLst/>
          </a:prstGeom>
        </p:spPr>
        <p:txBody>
          <a:bodyPr vert="horz" wrap="square" lIns="91440" tIns="45720" rIns="91440" bIns="45720" rtlCol="0" anchor="ctr">
            <a:spAutoFit/>
          </a:bodyPr>
          <a:lstStyle>
            <a:lvl1pPr algn="l">
              <a:defRPr sz="1000" b="1">
                <a:solidFill>
                  <a:schemeClr val="tx1">
                    <a:tint val="75000"/>
                  </a:schemeClr>
                </a:solidFill>
                <a:latin typeface="Myriad Pro" pitchFamily="34" charset="0"/>
              </a:defRPr>
            </a:lvl1pPr>
          </a:lstStyle>
          <a:p>
            <a:fld id="{852567EB-E0F5-45D9-B008-D1999D3890B3}" type="slidenum">
              <a:rPr lang="en-US" smtClean="0"/>
              <a:pPr/>
              <a:t>‹#›</a:t>
            </a:fld>
            <a:endParaRPr lang="en-US" dirty="0"/>
          </a:p>
        </p:txBody>
      </p:sp>
      <p:sp>
        <p:nvSpPr>
          <p:cNvPr id="2" name="Title Placeholder 1"/>
          <p:cNvSpPr>
            <a:spLocks noGrp="1"/>
          </p:cNvSpPr>
          <p:nvPr>
            <p:ph type="title"/>
          </p:nvPr>
        </p:nvSpPr>
        <p:spPr>
          <a:xfrm>
            <a:off x="815413" y="116632"/>
            <a:ext cx="10766987" cy="576064"/>
          </a:xfrm>
          <a:prstGeom prst="rect">
            <a:avLst/>
          </a:prstGeom>
        </p:spPr>
        <p:txBody>
          <a:bodyPr vert="horz" lIns="91429" tIns="45715" rIns="91429" bIns="45715"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815413" y="803059"/>
            <a:ext cx="10766987" cy="5445341"/>
          </a:xfrm>
          <a:prstGeom prst="rect">
            <a:avLst/>
          </a:prstGeom>
          <a:ln>
            <a:noFill/>
          </a:ln>
        </p:spPr>
        <p:txBody>
          <a:bodyPr vert="horz" lIns="91429" tIns="45715" rIns="91429"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F9F69827-6600-4A5E-A808-5CAC83AB6328}"/>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a:stretch/>
        </p:blipFill>
        <p:spPr>
          <a:xfrm>
            <a:off x="0" y="6324600"/>
            <a:ext cx="12192000" cy="533400"/>
          </a:xfrm>
          <a:prstGeom prst="rect">
            <a:avLst/>
          </a:prstGeom>
        </p:spPr>
      </p:pic>
    </p:spTree>
    <p:extLst>
      <p:ext uri="{BB962C8B-B14F-4D97-AF65-F5344CB8AC3E}">
        <p14:creationId xmlns:p14="http://schemas.microsoft.com/office/powerpoint/2010/main" val="374432109"/>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 id="2147483944" r:id="rId37"/>
    <p:sldLayoutId id="2147483945" r:id="rId38"/>
    <p:sldLayoutId id="2147483946" r:id="rId3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914290" rtl="0" eaLnBrk="1" latinLnBrk="0" hangingPunct="1">
        <a:spcBef>
          <a:spcPct val="0"/>
        </a:spcBef>
        <a:buNone/>
        <a:defRPr sz="3600" b="0" kern="1200" spc="-150">
          <a:solidFill>
            <a:srgbClr val="0070C0"/>
          </a:solidFill>
          <a:latin typeface="Calibri" panose="020F0502020204030204" pitchFamily="34" charset="0"/>
          <a:ea typeface="+mj-ea"/>
          <a:cs typeface="+mj-cs"/>
        </a:defRPr>
      </a:lvl1pPr>
    </p:titleStyle>
    <p:bodyStyle>
      <a:lvl1pPr marL="0" indent="0" algn="l" defTabSz="685800" rtl="0" eaLnBrk="1" latinLnBrk="0" hangingPunct="1">
        <a:spcBef>
          <a:spcPts val="0"/>
        </a:spcBef>
        <a:spcAft>
          <a:spcPts val="600"/>
        </a:spcAft>
        <a:buFont typeface="Arial" pitchFamily="34" charset="0"/>
        <a:buNone/>
        <a:tabLst>
          <a:tab pos="457200" algn="l"/>
          <a:tab pos="914400" algn="l"/>
          <a:tab pos="1371600" algn="l"/>
          <a:tab pos="1828800" algn="l"/>
        </a:tabLst>
        <a:defRPr sz="2400" kern="1200">
          <a:solidFill>
            <a:srgbClr val="59595B"/>
          </a:solidFill>
          <a:latin typeface="Calibri" panose="020F0502020204030204" pitchFamily="34" charset="0"/>
          <a:ea typeface="+mn-ea"/>
          <a:cs typeface="+mn-cs"/>
        </a:defRPr>
      </a:lvl1pPr>
      <a:lvl2pPr marL="461963" indent="-231775" algn="l" defTabSz="685800" rtl="0" eaLnBrk="1" latinLnBrk="0" hangingPunct="1">
        <a:spcBef>
          <a:spcPts val="0"/>
        </a:spcBef>
        <a:spcAft>
          <a:spcPts val="600"/>
        </a:spcAft>
        <a:buFont typeface="Arial" panose="020B0604020202020204"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2pPr>
      <a:lvl3pPr marL="915988" indent="-227013" algn="l" defTabSz="685800" rtl="0" eaLnBrk="1" latinLnBrk="0" hangingPunct="1">
        <a:spcBef>
          <a:spcPts val="0"/>
        </a:spcBef>
        <a:spcAft>
          <a:spcPts val="600"/>
        </a:spcAft>
        <a:buFont typeface="Myriad Pro" pitchFamily="34" charset="0"/>
        <a:buChar char="º"/>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3pPr>
      <a:lvl4pPr marL="1371600" indent="-227013" algn="l" defTabSz="685800" rtl="0" eaLnBrk="1" latinLnBrk="0" hangingPunct="1">
        <a:spcBef>
          <a:spcPts val="0"/>
        </a:spcBef>
        <a:spcAft>
          <a:spcPts val="600"/>
        </a:spcAft>
        <a:buFont typeface="Arial" pitchFamily="34" charset="0"/>
        <a:buChar char="‒"/>
        <a:tabLst>
          <a:tab pos="342900" algn="l"/>
          <a:tab pos="684213" algn="l"/>
          <a:tab pos="1027113" algn="l"/>
          <a:tab pos="1373188" algn="l"/>
        </a:tabLst>
        <a:defRPr sz="2000" kern="1200" spc="-150">
          <a:solidFill>
            <a:srgbClr val="59595B"/>
          </a:solidFill>
          <a:latin typeface="Calibri" panose="020F0502020204030204" pitchFamily="34" charset="0"/>
          <a:ea typeface="+mn-ea"/>
          <a:cs typeface="+mn-cs"/>
        </a:defRPr>
      </a:lvl4pPr>
      <a:lvl5pPr marL="1830388" indent="-227013" algn="l" defTabSz="685800" rtl="0" eaLnBrk="1" latinLnBrk="0" hangingPunct="1">
        <a:spcBef>
          <a:spcPts val="0"/>
        </a:spcBef>
        <a:spcAft>
          <a:spcPts val="600"/>
        </a:spcAft>
        <a:buFont typeface="Arial"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5pPr>
      <a:lvl6pPr marL="2514298"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121" y="164827"/>
            <a:ext cx="11046910" cy="941161"/>
          </a:xfrm>
          <a:prstGeom prst="rect">
            <a:avLst/>
          </a:prstGeom>
        </p:spPr>
        <p:txBody>
          <a:bodyPr vert="horz" lIns="91440" tIns="45720" rIns="91440" bIns="45720" rtlCol="0" anchor="ctr">
            <a:normAutofit/>
          </a:bodyPr>
          <a:lstStyle/>
          <a:p>
            <a:r>
              <a:rPr lang="en-US" dirty="0"/>
              <a:t>Click to edit header title style</a:t>
            </a:r>
            <a:br>
              <a:rPr lang="en-US" dirty="0"/>
            </a:br>
            <a:r>
              <a:rPr lang="en-US" dirty="0"/>
              <a:t>Secondary line for title if needed.</a:t>
            </a:r>
            <a:br>
              <a:rPr lang="en-US" dirty="0"/>
            </a:br>
            <a:endParaRPr lang="en-US" dirty="0"/>
          </a:p>
        </p:txBody>
      </p:sp>
      <p:sp>
        <p:nvSpPr>
          <p:cNvPr id="3" name="Text Placeholder 2"/>
          <p:cNvSpPr>
            <a:spLocks noGrp="1"/>
          </p:cNvSpPr>
          <p:nvPr>
            <p:ph type="body" idx="1"/>
          </p:nvPr>
        </p:nvSpPr>
        <p:spPr>
          <a:xfrm>
            <a:off x="306120" y="1303111"/>
            <a:ext cx="11690816"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9684717" y="6387753"/>
            <a:ext cx="1822651" cy="230832"/>
          </a:xfrm>
          <a:prstGeom prst="rect">
            <a:avLst/>
          </a:prstGeom>
          <a:noFill/>
        </p:spPr>
        <p:txBody>
          <a:bodyPr wrap="square" rtlCol="0">
            <a:spAutoFit/>
          </a:bodyPr>
          <a:lstStyle/>
          <a:p>
            <a:r>
              <a:rPr lang="en-US" sz="900" dirty="0">
                <a:solidFill>
                  <a:schemeClr val="tx1">
                    <a:lumMod val="65000"/>
                    <a:lumOff val="35000"/>
                  </a:schemeClr>
                </a:solidFill>
                <a:latin typeface="Arial" panose="020B0604020202020204" pitchFamily="34" charset="0"/>
                <a:cs typeface="Arial" panose="020B0604020202020204" pitchFamily="34" charset="0"/>
              </a:rPr>
              <a:t>© Microscan</a:t>
            </a:r>
            <a:r>
              <a:rPr lang="en-US" sz="900" baseline="0" dirty="0">
                <a:solidFill>
                  <a:schemeClr val="tx1">
                    <a:lumMod val="65000"/>
                    <a:lumOff val="35000"/>
                  </a:schemeClr>
                </a:solidFill>
                <a:latin typeface="Arial" panose="020B0604020202020204" pitchFamily="34" charset="0"/>
                <a:cs typeface="Arial" panose="020B0604020202020204" pitchFamily="34" charset="0"/>
              </a:rPr>
              <a:t> Systems Inc</a:t>
            </a:r>
            <a:r>
              <a:rPr lang="en-US" sz="825" baseline="0" dirty="0">
                <a:solidFill>
                  <a:schemeClr val="tx1">
                    <a:lumMod val="65000"/>
                    <a:lumOff val="35000"/>
                  </a:schemeClr>
                </a:solidFill>
                <a:latin typeface="Arial" panose="020B0604020202020204" pitchFamily="34" charset="0"/>
                <a:cs typeface="Arial" panose="020B0604020202020204" pitchFamily="34" charset="0"/>
              </a:rPr>
              <a:t>.</a:t>
            </a:r>
            <a:endParaRPr lang="en-US" sz="825"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Slide Number Placeholder 5"/>
          <p:cNvSpPr txBox="1">
            <a:spLocks/>
          </p:cNvSpPr>
          <p:nvPr userDrawn="1"/>
        </p:nvSpPr>
        <p:spPr>
          <a:xfrm>
            <a:off x="11485151" y="6320608"/>
            <a:ext cx="490673"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3645F1-B4EA-4872-B145-6B7EF8518689}" type="slidenum">
              <a:rPr lang="en-US" sz="1200" smtClean="0">
                <a:solidFill>
                  <a:schemeClr val="bg1"/>
                </a:solidFill>
              </a:rPr>
              <a:pPr/>
              <a:t>‹#›</a:t>
            </a:fld>
            <a:endParaRPr lang="en-US" sz="1200" dirty="0">
              <a:solidFill>
                <a:schemeClr val="bg1"/>
              </a:solidFill>
            </a:endParaRPr>
          </a:p>
        </p:txBody>
      </p:sp>
    </p:spTree>
    <p:extLst>
      <p:ext uri="{BB962C8B-B14F-4D97-AF65-F5344CB8AC3E}">
        <p14:creationId xmlns:p14="http://schemas.microsoft.com/office/powerpoint/2010/main" val="2292282496"/>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Lst>
  <p:timing>
    <p:tnLst>
      <p:par>
        <p:cTn id="1" dur="indefinite" restart="never" nodeType="tmRoot"/>
      </p:par>
    </p:tnLst>
  </p:timing>
  <p:txStyles>
    <p:titleStyle>
      <a:lvl1pPr algn="l" defTabSz="914400" rtl="0" eaLnBrk="1" latinLnBrk="0" hangingPunct="1">
        <a:lnSpc>
          <a:spcPct val="90000"/>
        </a:lnSpc>
        <a:spcBef>
          <a:spcPct val="0"/>
        </a:spcBef>
        <a:buNone/>
        <a:defRPr sz="2800" kern="1200" baseline="0">
          <a:solidFill>
            <a:srgbClr val="BF2E1A"/>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b="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Clr>
          <a:srgbClr val="BF2E1A"/>
        </a:buClr>
        <a:buFont typeface="Arial" panose="020B0604020202020204" pitchFamily="34" charset="0"/>
        <a:buChar char="•"/>
        <a:defRPr sz="2400" b="0" kern="1200">
          <a:solidFill>
            <a:schemeClr val="tx1">
              <a:lumMod val="75000"/>
              <a:lumOff val="25000"/>
            </a:schemeClr>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Wingdings" panose="05000000000000000000" pitchFamily="2" charset="2"/>
        <a:buChar char="ü"/>
        <a:defRPr sz="2000" b="0" kern="1200">
          <a:solidFill>
            <a:srgbClr val="002060"/>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buClr>
          <a:srgbClr val="002060"/>
        </a:buClr>
        <a:buFont typeface="Arial" panose="020B0604020202020204" pitchFamily="34" charset="0"/>
        <a:buChar char="•"/>
        <a:defRPr sz="1800" b="0" kern="1200">
          <a:solidFill>
            <a:schemeClr val="bg1">
              <a:lumMod val="50000"/>
            </a:schemeClr>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2.png"/><Relationship Id="rId7" Type="http://schemas.openxmlformats.org/officeDocument/2006/relationships/image" Target="../media/image57.png"/><Relationship Id="rId2" Type="http://schemas.openxmlformats.org/officeDocument/2006/relationships/image" Target="../media/image47.jpeg"/><Relationship Id="rId1" Type="http://schemas.openxmlformats.org/officeDocument/2006/relationships/slideLayout" Target="../slideLayouts/slideLayout8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hyperlink" Target="VC_example_VTL_2016.avi" TargetMode="External"/><Relationship Id="rId1" Type="http://schemas.openxmlformats.org/officeDocument/2006/relationships/slideLayout" Target="../slideLayouts/slideLayout82.xml"/><Relationship Id="rId5" Type="http://schemas.openxmlformats.org/officeDocument/2006/relationships/image" Target="../media/image62.jpeg"/><Relationship Id="rId4" Type="http://schemas.openxmlformats.org/officeDocument/2006/relationships/image" Target="../media/image61.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9.xml"/><Relationship Id="rId1" Type="http://schemas.openxmlformats.org/officeDocument/2006/relationships/tags" Target="../tags/tag4.xml"/><Relationship Id="rId4"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3.xml"/><Relationship Id="rId1" Type="http://schemas.openxmlformats.org/officeDocument/2006/relationships/tags" Target="../tags/tag5.xml"/><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8.png"/><Relationship Id="rId2" Type="http://schemas.openxmlformats.org/officeDocument/2006/relationships/slideLayout" Target="../slideLayouts/slideLayout93.xml"/><Relationship Id="rId1" Type="http://schemas.openxmlformats.org/officeDocument/2006/relationships/tags" Target="../tags/tag6.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xml"/><Relationship Id="rId1" Type="http://schemas.openxmlformats.org/officeDocument/2006/relationships/slideLayout" Target="../slideLayouts/slideLayout115.xml"/><Relationship Id="rId5" Type="http://schemas.openxmlformats.org/officeDocument/2006/relationships/image" Target="../media/image71.jpeg"/><Relationship Id="rId4" Type="http://schemas.openxmlformats.org/officeDocument/2006/relationships/image" Target="../media/image70.png"/></Relationships>
</file>

<file path=ppt/slides/_rels/slide24.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notesSlide" Target="../notesSlides/notesSlide9.xml"/><Relationship Id="rId21" Type="http://schemas.openxmlformats.org/officeDocument/2006/relationships/image" Target="../media/image88.png"/><Relationship Id="rId7" Type="http://schemas.openxmlformats.org/officeDocument/2006/relationships/image" Target="../media/image75.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slideLayout" Target="../slideLayouts/slideLayout115.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tags" Target="../tags/tag7.xml"/><Relationship Id="rId6" Type="http://schemas.openxmlformats.org/officeDocument/2006/relationships/image" Target="../media/image74.png"/><Relationship Id="rId11" Type="http://schemas.openxmlformats.org/officeDocument/2006/relationships/image" Target="../media/image78.png"/><Relationship Id="rId5" Type="http://schemas.openxmlformats.org/officeDocument/2006/relationships/image" Target="../media/image73.png"/><Relationship Id="rId15" Type="http://schemas.openxmlformats.org/officeDocument/2006/relationships/image" Target="../media/image82.png"/><Relationship Id="rId23" Type="http://schemas.openxmlformats.org/officeDocument/2006/relationships/image" Target="../media/image90.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2.jpeg"/><Relationship Id="rId9" Type="http://schemas.openxmlformats.org/officeDocument/2006/relationships/image" Target="../media/image76.jpeg"/><Relationship Id="rId14" Type="http://schemas.openxmlformats.org/officeDocument/2006/relationships/image" Target="../media/image81.png"/><Relationship Id="rId22" Type="http://schemas.openxmlformats.org/officeDocument/2006/relationships/image" Target="../media/image89.png"/></Relationships>
</file>

<file path=ppt/slides/_rels/slide25.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81.png"/><Relationship Id="rId3" Type="http://schemas.openxmlformats.org/officeDocument/2006/relationships/image" Target="../media/image77.png"/><Relationship Id="rId7" Type="http://schemas.openxmlformats.org/officeDocument/2006/relationships/image" Target="../media/image72.jpeg"/><Relationship Id="rId12" Type="http://schemas.openxmlformats.org/officeDocument/2006/relationships/image" Target="../media/image79.png"/><Relationship Id="rId17" Type="http://schemas.openxmlformats.org/officeDocument/2006/relationships/image" Target="../media/image96.png"/><Relationship Id="rId2" Type="http://schemas.openxmlformats.org/officeDocument/2006/relationships/notesSlide" Target="../notesSlides/notesSlide10.xml"/><Relationship Id="rId16" Type="http://schemas.openxmlformats.org/officeDocument/2006/relationships/image" Target="../media/image95.png"/><Relationship Id="rId1" Type="http://schemas.openxmlformats.org/officeDocument/2006/relationships/slideLayout" Target="../slideLayouts/slideLayout93.xml"/><Relationship Id="rId6" Type="http://schemas.openxmlformats.org/officeDocument/2006/relationships/image" Target="../media/image83.png"/><Relationship Id="rId11" Type="http://schemas.openxmlformats.org/officeDocument/2006/relationships/image" Target="../media/image94.png"/><Relationship Id="rId5" Type="http://schemas.openxmlformats.org/officeDocument/2006/relationships/image" Target="../media/image84.png"/><Relationship Id="rId15" Type="http://schemas.openxmlformats.org/officeDocument/2006/relationships/image" Target="../media/image88.png"/><Relationship Id="rId10" Type="http://schemas.openxmlformats.org/officeDocument/2006/relationships/image" Target="../media/image93.jpeg"/><Relationship Id="rId4" Type="http://schemas.openxmlformats.org/officeDocument/2006/relationships/image" Target="../media/image73.png"/><Relationship Id="rId9" Type="http://schemas.openxmlformats.org/officeDocument/2006/relationships/image" Target="../media/image92.png"/><Relationship Id="rId14" Type="http://schemas.openxmlformats.org/officeDocument/2006/relationships/image" Target="../media/image86.png"/></Relationships>
</file>

<file path=ppt/slides/_rels/slide2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1.xml"/><Relationship Id="rId1" Type="http://schemas.openxmlformats.org/officeDocument/2006/relationships/slideLayout" Target="../slideLayouts/slideLayout134.xml"/><Relationship Id="rId5" Type="http://schemas.openxmlformats.org/officeDocument/2006/relationships/image" Target="../media/image99.png"/><Relationship Id="rId4" Type="http://schemas.openxmlformats.org/officeDocument/2006/relationships/image" Target="../media/image98.png"/></Relationships>
</file>

<file path=ppt/slides/_rels/slide27.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jpe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notesSlide" Target="../notesSlides/notesSlide12.xml"/><Relationship Id="rId1" Type="http://schemas.openxmlformats.org/officeDocument/2006/relationships/slideLayout" Target="../slideLayouts/slideLayout93.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9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112.jp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81.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8.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7.png"/><Relationship Id="rId2" Type="http://schemas.openxmlformats.org/officeDocument/2006/relationships/image" Target="../media/image24.png"/><Relationship Id="rId16" Type="http://schemas.microsoft.com/office/2007/relationships/hdphoto" Target="../media/hdphoto3.wdp"/><Relationship Id="rId20" Type="http://schemas.openxmlformats.org/officeDocument/2006/relationships/image" Target="../media/image40.png"/><Relationship Id="rId1" Type="http://schemas.openxmlformats.org/officeDocument/2006/relationships/slideLayout" Target="../slideLayouts/slideLayout82.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6.png"/><Relationship Id="rId10" Type="http://schemas.openxmlformats.org/officeDocument/2006/relationships/image" Target="../media/image32.png"/><Relationship Id="rId19" Type="http://schemas.openxmlformats.org/officeDocument/2006/relationships/image" Target="../media/image39.png"/><Relationship Id="rId4" Type="http://schemas.openxmlformats.org/officeDocument/2006/relationships/image" Target="../media/image26.png"/><Relationship Id="rId9" Type="http://schemas.openxmlformats.org/officeDocument/2006/relationships/image" Target="../media/image31.png"/><Relationship Id="rId1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image" Target="../media/image41.emf"/><Relationship Id="rId1" Type="http://schemas.openxmlformats.org/officeDocument/2006/relationships/slideLayout" Target="../slideLayouts/slideLayout81.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image" Target="../media/image47.jpeg"/><Relationship Id="rId1" Type="http://schemas.openxmlformats.org/officeDocument/2006/relationships/slideLayout" Target="../slideLayouts/slideLayout81.xml"/><Relationship Id="rId6" Type="http://schemas.openxmlformats.org/officeDocument/2006/relationships/image" Target="../media/image51.jpeg"/><Relationship Id="rId5" Type="http://schemas.openxmlformats.org/officeDocument/2006/relationships/image" Target="../media/image50.png"/><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234762-FB4D-4629-8460-E85696DC7EC5}"/>
              </a:ext>
            </a:extLst>
          </p:cNvPr>
          <p:cNvSpPr>
            <a:spLocks noGrp="1"/>
          </p:cNvSpPr>
          <p:nvPr>
            <p:ph type="body" sz="quarter" idx="17"/>
          </p:nvPr>
        </p:nvSpPr>
        <p:spPr/>
        <p:txBody>
          <a:bodyPr/>
          <a:lstStyle/>
          <a:p>
            <a:r>
              <a:rPr lang="en-US" dirty="0"/>
              <a:t>Building the Automotive Factory of the Future </a:t>
            </a:r>
          </a:p>
        </p:txBody>
      </p:sp>
      <p:sp>
        <p:nvSpPr>
          <p:cNvPr id="3" name="Text Placeholder 2">
            <a:extLst>
              <a:ext uri="{FF2B5EF4-FFF2-40B4-BE49-F238E27FC236}">
                <a16:creationId xmlns:a16="http://schemas.microsoft.com/office/drawing/2014/main" id="{5FDC01FB-8C82-4715-97BD-99F3B214E691}"/>
              </a:ext>
            </a:extLst>
          </p:cNvPr>
          <p:cNvSpPr>
            <a:spLocks noGrp="1"/>
          </p:cNvSpPr>
          <p:nvPr>
            <p:ph type="body" sz="quarter" idx="18"/>
          </p:nvPr>
        </p:nvSpPr>
        <p:spPr>
          <a:xfrm>
            <a:off x="643436" y="4953000"/>
            <a:ext cx="10787898" cy="847471"/>
          </a:xfrm>
        </p:spPr>
        <p:txBody>
          <a:bodyPr/>
          <a:lstStyle/>
          <a:p>
            <a:r>
              <a:rPr lang="en-US" dirty="0"/>
              <a:t>	</a:t>
            </a:r>
          </a:p>
        </p:txBody>
      </p:sp>
      <p:sp>
        <p:nvSpPr>
          <p:cNvPr id="13" name="TextBox 12"/>
          <p:cNvSpPr txBox="1"/>
          <p:nvPr/>
        </p:nvSpPr>
        <p:spPr>
          <a:xfrm>
            <a:off x="762000" y="4986264"/>
            <a:ext cx="4572000" cy="1000274"/>
          </a:xfrm>
          <a:prstGeom prst="rect">
            <a:avLst/>
          </a:prstGeom>
          <a:noFill/>
        </p:spPr>
        <p:txBody>
          <a:bodyPr wrap="square" lIns="45720" rIns="45720" rtlCol="0" anchor="ctr" anchorCtr="0">
            <a:spAutoFit/>
          </a:bodyPr>
          <a:lstStyle/>
          <a:p>
            <a:pPr>
              <a:spcAft>
                <a:spcPts val="300"/>
              </a:spcAft>
            </a:pPr>
            <a:r>
              <a:rPr lang="en-US" dirty="0" smtClean="0">
                <a:solidFill>
                  <a:schemeClr val="bg1"/>
                </a:solidFill>
                <a:latin typeface="Myriad Pro" pitchFamily="34" charset="0"/>
              </a:rPr>
              <a:t>September 2021</a:t>
            </a:r>
          </a:p>
          <a:p>
            <a:pPr>
              <a:spcAft>
                <a:spcPts val="300"/>
              </a:spcAft>
            </a:pPr>
            <a:endParaRPr lang="en-US" dirty="0">
              <a:solidFill>
                <a:schemeClr val="bg1"/>
              </a:solidFill>
              <a:latin typeface="Myriad Pro" pitchFamily="34" charset="0"/>
            </a:endParaRPr>
          </a:p>
          <a:p>
            <a:pPr>
              <a:spcAft>
                <a:spcPts val="300"/>
              </a:spcAft>
            </a:pPr>
            <a:endParaRPr lang="en-US" dirty="0" smtClean="0">
              <a:solidFill>
                <a:schemeClr val="bg1"/>
              </a:solidFill>
              <a:latin typeface="Myriad Pro" pitchFamily="34" charset="0"/>
            </a:endParaRPr>
          </a:p>
        </p:txBody>
      </p:sp>
      <p:pic>
        <p:nvPicPr>
          <p:cNvPr id="7" name="Picture Placeholder 6"/>
          <p:cNvPicPr>
            <a:picLocks noGrp="1" noChangeAspect="1"/>
          </p:cNvPicPr>
          <p:nvPr>
            <p:ph type="pic" sz="quarter" idx="22"/>
          </p:nvPr>
        </p:nvPicPr>
        <p:blipFill>
          <a:blip r:embed="rId3"/>
          <a:srcRect t="50" b="50"/>
          <a:stretch>
            <a:fillRect/>
          </a:stretch>
        </p:blipFill>
        <p:spPr>
          <a:prstGeom prst="rect">
            <a:avLst/>
          </a:prstGeom>
        </p:spPr>
      </p:pic>
    </p:spTree>
    <p:extLst>
      <p:ext uri="{BB962C8B-B14F-4D97-AF65-F5344CB8AC3E}">
        <p14:creationId xmlns:p14="http://schemas.microsoft.com/office/powerpoint/2010/main" val="6882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gmented Reality Use Cases (Microsoft HoloLens)</a:t>
            </a:r>
            <a:endParaRPr lang="en-CA" dirty="0"/>
          </a:p>
        </p:txBody>
      </p:sp>
      <p:sp>
        <p:nvSpPr>
          <p:cNvPr id="48" name="Content Placeholder 2"/>
          <p:cNvSpPr txBox="1">
            <a:spLocks/>
          </p:cNvSpPr>
          <p:nvPr/>
        </p:nvSpPr>
        <p:spPr>
          <a:xfrm>
            <a:off x="6087586" y="1568361"/>
            <a:ext cx="5342414" cy="4003764"/>
          </a:xfrm>
          <a:prstGeom prst="rect">
            <a:avLst/>
          </a:prstGeom>
        </p:spPr>
        <p:txBody>
          <a:bodyPr/>
          <a:lstStyle>
            <a:lvl1pPr marL="171450" indent="-171450" algn="l" defTabSz="914491" rtl="0" eaLnBrk="1" latinLnBrk="0" hangingPunct="1">
              <a:lnSpc>
                <a:spcPct val="125000"/>
              </a:lnSpc>
              <a:spcBef>
                <a:spcPts val="400"/>
              </a:spcBef>
              <a:spcAft>
                <a:spcPts val="0"/>
              </a:spcAft>
              <a:buFont typeface="Arial" panose="020B0604020202020204" pitchFamily="34" charset="0"/>
              <a:buChar char="•"/>
              <a:defRPr sz="1400" b="0" i="0" u="none" kern="1200" spc="0" baseline="0">
                <a:solidFill>
                  <a:schemeClr val="tx1"/>
                </a:solidFill>
                <a:latin typeface="+mn-lt"/>
                <a:ea typeface="+mn-ea"/>
                <a:cs typeface="Gilroy" panose="00000500000000000000" pitchFamily="2" charset="0"/>
              </a:defRPr>
            </a:lvl1pPr>
            <a:lvl2pPr marL="460421" indent="-230211"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2pPr>
            <a:lvl3pPr marL="684281" indent="-173055"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3pPr>
            <a:lvl4pPr marL="1030391" indent="-231798" algn="l" defTabSz="914491" rtl="0" eaLnBrk="1" latinLnBrk="0" hangingPunct="1">
              <a:lnSpc>
                <a:spcPct val="125000"/>
              </a:lnSpc>
              <a:spcBef>
                <a:spcPts val="400"/>
              </a:spcBef>
              <a:spcAft>
                <a:spcPts val="0"/>
              </a:spcAft>
              <a:buFont typeface="Gilroy" panose="020B0604020202020204" pitchFamily="34" charset="0"/>
              <a:buChar char="–"/>
              <a:defRPr lang="en-US" sz="1400" kern="1200" spc="-20" baseline="0" dirty="0" smtClean="0">
                <a:solidFill>
                  <a:schemeClr val="tx1"/>
                </a:solidFill>
                <a:latin typeface="+mn-lt"/>
                <a:ea typeface="+mn-ea"/>
                <a:cs typeface="Gilroy" panose="020F0302020204030204" pitchFamily="34" charset="0"/>
              </a:defRPr>
            </a:lvl4pPr>
            <a:lvl5pPr marL="1260601" indent="-173055" algn="l" defTabSz="914491" rtl="0" eaLnBrk="1" latinLnBrk="0" hangingPunct="1">
              <a:lnSpc>
                <a:spcPct val="125000"/>
              </a:lnSpc>
              <a:spcBef>
                <a:spcPts val="400"/>
              </a:spcBef>
              <a:spcAft>
                <a:spcPts val="0"/>
              </a:spcAft>
              <a:buFont typeface="Gilroy" panose="020B0604020202020204" pitchFamily="34" charset="0"/>
              <a:buChar char="•"/>
              <a:defRPr sz="1400" kern="1200" spc="-20" baseline="0">
                <a:solidFill>
                  <a:schemeClr val="tx1"/>
                </a:solidFill>
                <a:latin typeface="+mn-lt"/>
                <a:ea typeface="+mn-ea"/>
                <a:cs typeface="Gilroy" panose="020F0302020204030204" pitchFamily="34" charset="0"/>
              </a:defRPr>
            </a:lvl5pPr>
            <a:lvl6pPr marL="2514851"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9pPr>
          </a:lstStyle>
          <a:p>
            <a:pPr marL="342900" marR="0" lvl="0" indent="-342900"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Floor Layout Verification</a:t>
            </a:r>
          </a:p>
          <a:p>
            <a:pPr marL="342900" marR="0" lvl="0" indent="-342900"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Direct Weld Marking on Panels</a:t>
            </a:r>
          </a:p>
          <a:p>
            <a:pPr marL="342900" marR="0" lvl="0" indent="-342900"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Fixture Free Rapid Prototype Build</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 Mastic/Sealer Panel Layout </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 Floor Layout Drawing</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 Inspection Checklist Tool</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startAt="8"/>
              <a:tabLst/>
              <a:defRPr/>
            </a:pPr>
            <a:r>
              <a:rPr kumimoji="0" lang="en-US" sz="1800" b="0" i="0" u="none" strike="noStrike" kern="1200" cap="none" spc="0" normalizeH="0" baseline="0" noProof="0" dirty="0">
                <a:ln>
                  <a:noFill/>
                </a:ln>
                <a:solidFill>
                  <a:srgbClr val="54565A"/>
                </a:solidFill>
                <a:effectLst/>
                <a:uLnTx/>
                <a:uFillTx/>
                <a:latin typeface="Gilroy"/>
                <a:ea typeface="+mn-ea"/>
              </a:rPr>
              <a:t> Holographic Audit Tool</a:t>
            </a:r>
          </a:p>
        </p:txBody>
      </p:sp>
      <p:grpSp>
        <p:nvGrpSpPr>
          <p:cNvPr id="49" name="Group 48"/>
          <p:cNvGrpSpPr/>
          <p:nvPr/>
        </p:nvGrpSpPr>
        <p:grpSpPr>
          <a:xfrm>
            <a:off x="5657056" y="1596582"/>
            <a:ext cx="274320" cy="274320"/>
            <a:chOff x="5715000" y="3322639"/>
            <a:chExt cx="457200" cy="457200"/>
          </a:xfrm>
        </p:grpSpPr>
        <p:sp>
          <p:nvSpPr>
            <p:cNvPr id="50" name="Oval 49"/>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51" name="L-Shape 50"/>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52" name="Group 51"/>
          <p:cNvGrpSpPr/>
          <p:nvPr/>
        </p:nvGrpSpPr>
        <p:grpSpPr>
          <a:xfrm>
            <a:off x="5657056" y="4034469"/>
            <a:ext cx="274320" cy="274320"/>
            <a:chOff x="5715000" y="3322639"/>
            <a:chExt cx="457200" cy="457200"/>
          </a:xfrm>
        </p:grpSpPr>
        <p:sp>
          <p:nvSpPr>
            <p:cNvPr id="53" name="Oval 52"/>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54" name="L-Shape 53"/>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55" name="Group 54"/>
          <p:cNvGrpSpPr/>
          <p:nvPr/>
        </p:nvGrpSpPr>
        <p:grpSpPr>
          <a:xfrm>
            <a:off x="5657056" y="4646969"/>
            <a:ext cx="274320" cy="274320"/>
            <a:chOff x="5715000" y="3322639"/>
            <a:chExt cx="457200" cy="457200"/>
          </a:xfrm>
        </p:grpSpPr>
        <p:sp>
          <p:nvSpPr>
            <p:cNvPr id="56" name="Oval 55"/>
            <p:cNvSpPr/>
            <p:nvPr/>
          </p:nvSpPr>
          <p:spPr>
            <a:xfrm>
              <a:off x="5715000" y="3322639"/>
              <a:ext cx="457200" cy="457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57" name="L-Shape 56"/>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58" name="Group 57"/>
          <p:cNvGrpSpPr/>
          <p:nvPr/>
        </p:nvGrpSpPr>
        <p:grpSpPr>
          <a:xfrm>
            <a:off x="5657056" y="3429157"/>
            <a:ext cx="274320" cy="274320"/>
            <a:chOff x="5715000" y="3322639"/>
            <a:chExt cx="457200" cy="457200"/>
          </a:xfrm>
        </p:grpSpPr>
        <p:sp>
          <p:nvSpPr>
            <p:cNvPr id="59" name="Oval 58"/>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60" name="L-Shape 59"/>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61" name="Group 60"/>
          <p:cNvGrpSpPr/>
          <p:nvPr/>
        </p:nvGrpSpPr>
        <p:grpSpPr>
          <a:xfrm>
            <a:off x="5657056" y="2207517"/>
            <a:ext cx="274320" cy="274320"/>
            <a:chOff x="3740525" y="2209800"/>
            <a:chExt cx="457200" cy="457200"/>
          </a:xfrm>
        </p:grpSpPr>
        <p:sp>
          <p:nvSpPr>
            <p:cNvPr id="62" name="Oval 61"/>
            <p:cNvSpPr/>
            <p:nvPr/>
          </p:nvSpPr>
          <p:spPr>
            <a:xfrm>
              <a:off x="3740525" y="22098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63" name="L-Shape 62"/>
            <p:cNvSpPr/>
            <p:nvPr/>
          </p:nvSpPr>
          <p:spPr>
            <a:xfrm rot="18900000">
              <a:off x="3873875" y="2381250"/>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64" name="Group 63"/>
          <p:cNvGrpSpPr/>
          <p:nvPr/>
        </p:nvGrpSpPr>
        <p:grpSpPr>
          <a:xfrm>
            <a:off x="5657056" y="2827126"/>
            <a:ext cx="274320" cy="274320"/>
            <a:chOff x="5715000" y="3322639"/>
            <a:chExt cx="457200" cy="457200"/>
          </a:xfrm>
        </p:grpSpPr>
        <p:sp>
          <p:nvSpPr>
            <p:cNvPr id="65" name="Oval 64"/>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66" name="L-Shape 65"/>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67" name="Group 66"/>
          <p:cNvGrpSpPr/>
          <p:nvPr/>
        </p:nvGrpSpPr>
        <p:grpSpPr>
          <a:xfrm>
            <a:off x="5657056" y="5259411"/>
            <a:ext cx="274320" cy="274320"/>
            <a:chOff x="5715000" y="3322639"/>
            <a:chExt cx="457200" cy="457200"/>
          </a:xfrm>
        </p:grpSpPr>
        <p:sp>
          <p:nvSpPr>
            <p:cNvPr id="68" name="Oval 67"/>
            <p:cNvSpPr/>
            <p:nvPr/>
          </p:nvSpPr>
          <p:spPr>
            <a:xfrm>
              <a:off x="5715000" y="3322639"/>
              <a:ext cx="457200" cy="457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69" name="L-Shape 68"/>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sp>
        <p:nvSpPr>
          <p:cNvPr id="70" name="Rectangle 69"/>
          <p:cNvSpPr/>
          <p:nvPr/>
        </p:nvSpPr>
        <p:spPr>
          <a:xfrm>
            <a:off x="3276805" y="1282165"/>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1" name="Rectangle 70"/>
          <p:cNvSpPr/>
          <p:nvPr/>
        </p:nvSpPr>
        <p:spPr>
          <a:xfrm>
            <a:off x="1469414" y="1892347"/>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2" name="Rectangle 71"/>
          <p:cNvSpPr/>
          <p:nvPr/>
        </p:nvSpPr>
        <p:spPr>
          <a:xfrm>
            <a:off x="3276805" y="2502529"/>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3" name="Rectangle 72"/>
          <p:cNvSpPr/>
          <p:nvPr/>
        </p:nvSpPr>
        <p:spPr>
          <a:xfrm>
            <a:off x="1469414" y="3107841"/>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4" name="Rectangle 73"/>
          <p:cNvSpPr/>
          <p:nvPr/>
        </p:nvSpPr>
        <p:spPr>
          <a:xfrm>
            <a:off x="3276805" y="3718023"/>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pic>
        <p:nvPicPr>
          <p:cNvPr id="75" name="Picture 74"/>
          <p:cNvPicPr>
            <a:picLocks noChangeAspect="1"/>
          </p:cNvPicPr>
          <p:nvPr/>
        </p:nvPicPr>
        <p:blipFill rotWithShape="1">
          <a:blip r:embed="rId2" cstate="print">
            <a:extLst>
              <a:ext uri="{28A0092B-C50C-407E-A947-70E740481C1C}">
                <a14:useLocalDpi xmlns:a14="http://schemas.microsoft.com/office/drawing/2010/main"/>
              </a:ext>
            </a:extLst>
          </a:blip>
          <a:srcRect t="-1"/>
          <a:stretch/>
        </p:blipFill>
        <p:spPr>
          <a:xfrm>
            <a:off x="3275771" y="1282164"/>
            <a:ext cx="1372634" cy="914401"/>
          </a:xfrm>
          <a:prstGeom prst="rect">
            <a:avLst/>
          </a:prstGeom>
        </p:spPr>
      </p:pic>
      <p:pic>
        <p:nvPicPr>
          <p:cNvPr id="76" name="Picture 7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81320" y="2497659"/>
            <a:ext cx="1367085" cy="919270"/>
          </a:xfrm>
          <a:prstGeom prst="rect">
            <a:avLst/>
          </a:prstGeom>
        </p:spPr>
      </p:pic>
      <p:cxnSp>
        <p:nvCxnSpPr>
          <p:cNvPr id="77" name="Straight Arrow Connector 76"/>
          <p:cNvCxnSpPr>
            <a:stCxn id="50" idx="2"/>
            <a:endCxn id="75" idx="3"/>
          </p:cNvCxnSpPr>
          <p:nvPr/>
        </p:nvCxnSpPr>
        <p:spPr>
          <a:xfrm flipH="1">
            <a:off x="4648405" y="1733742"/>
            <a:ext cx="1008651" cy="5623"/>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62" idx="2"/>
          </p:cNvCxnSpPr>
          <p:nvPr/>
        </p:nvCxnSpPr>
        <p:spPr>
          <a:xfrm flipH="1">
            <a:off x="2841013" y="2344677"/>
            <a:ext cx="2816043" cy="4579"/>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65" idx="2"/>
            <a:endCxn id="72" idx="3"/>
          </p:cNvCxnSpPr>
          <p:nvPr/>
        </p:nvCxnSpPr>
        <p:spPr>
          <a:xfrm flipH="1" flipV="1">
            <a:off x="4648405" y="2959729"/>
            <a:ext cx="1008651" cy="455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59" idx="2"/>
            <a:endCxn id="73" idx="3"/>
          </p:cNvCxnSpPr>
          <p:nvPr/>
        </p:nvCxnSpPr>
        <p:spPr>
          <a:xfrm flipH="1" flipV="1">
            <a:off x="2841014" y="3565041"/>
            <a:ext cx="2816042" cy="1276"/>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53" idx="2"/>
          </p:cNvCxnSpPr>
          <p:nvPr/>
        </p:nvCxnSpPr>
        <p:spPr>
          <a:xfrm flipH="1">
            <a:off x="4648406" y="4171629"/>
            <a:ext cx="1008650" cy="359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56" idx="2"/>
          </p:cNvCxnSpPr>
          <p:nvPr/>
        </p:nvCxnSpPr>
        <p:spPr>
          <a:xfrm flipH="1" flipV="1">
            <a:off x="2841013" y="4782524"/>
            <a:ext cx="2816043" cy="1605"/>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68" idx="2"/>
          </p:cNvCxnSpPr>
          <p:nvPr/>
        </p:nvCxnSpPr>
        <p:spPr>
          <a:xfrm flipH="1" flipV="1">
            <a:off x="4648405" y="5390717"/>
            <a:ext cx="1008651" cy="5854"/>
          </a:xfrm>
          <a:prstGeom prst="straightConnector1">
            <a:avLst/>
          </a:prstGeom>
          <a:ln w="190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84" name="Picture 83"/>
          <p:cNvPicPr>
            <a:picLocks noChangeAspect="1"/>
          </p:cNvPicPr>
          <p:nvPr/>
        </p:nvPicPr>
        <p:blipFill>
          <a:blip r:embed="rId4"/>
          <a:stretch>
            <a:fillRect/>
          </a:stretch>
        </p:blipFill>
        <p:spPr>
          <a:xfrm>
            <a:off x="1698939" y="4236287"/>
            <a:ext cx="1138429" cy="1340176"/>
          </a:xfrm>
          <a:prstGeom prst="rect">
            <a:avLst/>
          </a:prstGeom>
        </p:spPr>
      </p:pic>
      <p:pic>
        <p:nvPicPr>
          <p:cNvPr id="85" name="Picture 84"/>
          <p:cNvPicPr>
            <a:picLocks noChangeAspect="1"/>
          </p:cNvPicPr>
          <p:nvPr/>
        </p:nvPicPr>
        <p:blipFill>
          <a:blip r:embed="rId5"/>
          <a:stretch>
            <a:fillRect/>
          </a:stretch>
        </p:blipFill>
        <p:spPr>
          <a:xfrm>
            <a:off x="3285243" y="4848787"/>
            <a:ext cx="1363162" cy="1054586"/>
          </a:xfrm>
          <a:prstGeom prst="rect">
            <a:avLst/>
          </a:prstGeom>
        </p:spPr>
      </p:pic>
      <p:pic>
        <p:nvPicPr>
          <p:cNvPr id="86" name="Picture 85"/>
          <p:cNvPicPr>
            <a:picLocks noChangeAspect="1"/>
          </p:cNvPicPr>
          <p:nvPr/>
        </p:nvPicPr>
        <p:blipFill>
          <a:blip r:embed="rId6"/>
          <a:stretch>
            <a:fillRect/>
          </a:stretch>
        </p:blipFill>
        <p:spPr>
          <a:xfrm>
            <a:off x="1480464" y="1933188"/>
            <a:ext cx="1365066" cy="893938"/>
          </a:xfrm>
          <a:prstGeom prst="rect">
            <a:avLst/>
          </a:prstGeom>
        </p:spPr>
      </p:pic>
      <p:pic>
        <p:nvPicPr>
          <p:cNvPr id="87" name="Picture 86"/>
          <p:cNvPicPr>
            <a:picLocks noChangeAspect="1"/>
          </p:cNvPicPr>
          <p:nvPr/>
        </p:nvPicPr>
        <p:blipFill rotWithShape="1">
          <a:blip r:embed="rId7"/>
          <a:srcRect l="7043" t="8329"/>
          <a:stretch/>
        </p:blipFill>
        <p:spPr>
          <a:xfrm>
            <a:off x="1493361" y="3086940"/>
            <a:ext cx="1365941" cy="903250"/>
          </a:xfrm>
          <a:prstGeom prst="rect">
            <a:avLst/>
          </a:prstGeom>
        </p:spPr>
      </p:pic>
      <p:pic>
        <p:nvPicPr>
          <p:cNvPr id="88" name="Content Placeholder 8"/>
          <p:cNvPicPr>
            <a:picLocks noChangeAspect="1"/>
          </p:cNvPicPr>
          <p:nvPr/>
        </p:nvPicPr>
        <p:blipFill rotWithShape="1">
          <a:blip r:embed="rId8" cstate="print">
            <a:extLst>
              <a:ext uri="{28A0092B-C50C-407E-A947-70E740481C1C}">
                <a14:useLocalDpi xmlns:a14="http://schemas.microsoft.com/office/drawing/2010/main" val="0"/>
              </a:ext>
            </a:extLst>
          </a:blip>
          <a:srcRect l="16920"/>
          <a:stretch/>
        </p:blipFill>
        <p:spPr>
          <a:xfrm>
            <a:off x="3276600" y="2497369"/>
            <a:ext cx="1371804" cy="928790"/>
          </a:xfrm>
          <a:prstGeom prst="rect">
            <a:avLst/>
          </a:prstGeom>
        </p:spPr>
      </p:pic>
      <p:pic>
        <p:nvPicPr>
          <p:cNvPr id="89" name="Picture 88"/>
          <p:cNvPicPr>
            <a:picLocks noChangeAspect="1"/>
          </p:cNvPicPr>
          <p:nvPr/>
        </p:nvPicPr>
        <p:blipFill>
          <a:blip r:embed="rId9"/>
          <a:stretch>
            <a:fillRect/>
          </a:stretch>
        </p:blipFill>
        <p:spPr>
          <a:xfrm>
            <a:off x="3274742" y="3714429"/>
            <a:ext cx="1373664" cy="917994"/>
          </a:xfrm>
          <a:prstGeom prst="rect">
            <a:avLst/>
          </a:prstGeom>
        </p:spPr>
      </p:pic>
      <p:grpSp>
        <p:nvGrpSpPr>
          <p:cNvPr id="112" name="Group 111"/>
          <p:cNvGrpSpPr/>
          <p:nvPr/>
        </p:nvGrpSpPr>
        <p:grpSpPr>
          <a:xfrm>
            <a:off x="10058400" y="1109256"/>
            <a:ext cx="1857523" cy="648204"/>
            <a:chOff x="9191477" y="1520381"/>
            <a:chExt cx="1857523" cy="648204"/>
          </a:xfrm>
        </p:grpSpPr>
        <p:grpSp>
          <p:nvGrpSpPr>
            <p:cNvPr id="113" name="Group 112"/>
            <p:cNvGrpSpPr/>
            <p:nvPr/>
          </p:nvGrpSpPr>
          <p:grpSpPr>
            <a:xfrm>
              <a:off x="9191477" y="1520381"/>
              <a:ext cx="1636161" cy="297683"/>
              <a:chOff x="7010400" y="475998"/>
              <a:chExt cx="1636161" cy="297683"/>
            </a:xfrm>
          </p:grpSpPr>
          <p:sp>
            <p:nvSpPr>
              <p:cNvPr id="119" name="TextBox 118"/>
              <p:cNvSpPr txBox="1"/>
              <p:nvPr/>
            </p:nvSpPr>
            <p:spPr>
              <a:xfrm>
                <a:off x="7366287" y="475998"/>
                <a:ext cx="1280274" cy="29768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ABF4B"/>
                    </a:solidFill>
                    <a:effectLst/>
                    <a:uLnTx/>
                    <a:uFillTx/>
                    <a:latin typeface="Gilroy"/>
                    <a:ea typeface="+mn-ea"/>
                    <a:cs typeface="+mn-cs"/>
                  </a:rPr>
                  <a:t>User Acceptance</a:t>
                </a:r>
              </a:p>
            </p:txBody>
          </p:sp>
          <p:grpSp>
            <p:nvGrpSpPr>
              <p:cNvPr id="120" name="Group 119"/>
              <p:cNvGrpSpPr/>
              <p:nvPr/>
            </p:nvGrpSpPr>
            <p:grpSpPr>
              <a:xfrm>
                <a:off x="7010400" y="475998"/>
                <a:ext cx="274320" cy="274320"/>
                <a:chOff x="691774" y="5554095"/>
                <a:chExt cx="347472" cy="347472"/>
              </a:xfrm>
            </p:grpSpPr>
            <p:sp>
              <p:nvSpPr>
                <p:cNvPr id="121" name="Oval 120"/>
                <p:cNvSpPr/>
                <p:nvPr/>
              </p:nvSpPr>
              <p:spPr>
                <a:xfrm>
                  <a:off x="691774" y="5554095"/>
                  <a:ext cx="347472" cy="3474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22" name="L-Shape 121"/>
                <p:cNvSpPr/>
                <p:nvPr/>
              </p:nvSpPr>
              <p:spPr>
                <a:xfrm rot="18900000">
                  <a:off x="793120" y="5684397"/>
                  <a:ext cx="144780" cy="86868"/>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grpSp>
          <p:nvGrpSpPr>
            <p:cNvPr id="114" name="Group 113"/>
            <p:cNvGrpSpPr/>
            <p:nvPr/>
          </p:nvGrpSpPr>
          <p:grpSpPr>
            <a:xfrm>
              <a:off x="9200295" y="1870902"/>
              <a:ext cx="1848705" cy="297683"/>
              <a:chOff x="7019218" y="826519"/>
              <a:chExt cx="1848705" cy="297683"/>
            </a:xfrm>
          </p:grpSpPr>
          <p:grpSp>
            <p:nvGrpSpPr>
              <p:cNvPr id="115" name="Group 114"/>
              <p:cNvGrpSpPr/>
              <p:nvPr/>
            </p:nvGrpSpPr>
            <p:grpSpPr>
              <a:xfrm>
                <a:off x="7019218" y="849882"/>
                <a:ext cx="274320" cy="274320"/>
                <a:chOff x="7019218" y="849882"/>
                <a:chExt cx="274320" cy="274320"/>
              </a:xfrm>
            </p:grpSpPr>
            <p:sp>
              <p:nvSpPr>
                <p:cNvPr id="117" name="Oval 116"/>
                <p:cNvSpPr/>
                <p:nvPr/>
              </p:nvSpPr>
              <p:spPr>
                <a:xfrm>
                  <a:off x="7019218" y="84988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18" name="L-Shape 117"/>
                <p:cNvSpPr/>
                <p:nvPr/>
              </p:nvSpPr>
              <p:spPr>
                <a:xfrm rot="18900000">
                  <a:off x="7099228" y="952752"/>
                  <a:ext cx="114300" cy="6858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sp>
            <p:nvSpPr>
              <p:cNvPr id="116" name="TextBox 115"/>
              <p:cNvSpPr txBox="1"/>
              <p:nvPr/>
            </p:nvSpPr>
            <p:spPr>
              <a:xfrm>
                <a:off x="7366286" y="826519"/>
                <a:ext cx="1501637" cy="29768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C000"/>
                    </a:solidFill>
                    <a:effectLst/>
                    <a:uLnTx/>
                    <a:uFillTx/>
                    <a:latin typeface="Gilroy"/>
                    <a:ea typeface="+mn-ea"/>
                    <a:cs typeface="+mn-cs"/>
                  </a:rPr>
                  <a:t>Under development</a:t>
                </a:r>
              </a:p>
            </p:txBody>
          </p:sp>
        </p:grpSp>
      </p:grpSp>
    </p:spTree>
    <p:extLst>
      <p:ext uri="{BB962C8B-B14F-4D97-AF65-F5344CB8AC3E}">
        <p14:creationId xmlns:p14="http://schemas.microsoft.com/office/powerpoint/2010/main" val="4797437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2-valianttms-augmented-reality-ergonomics-review.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30269224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3-valianttms-augmented-reality-remote-design-review.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27167941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4-valianttms-augmented-reality-virtual-line-walk.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19490742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5-valianttms-augmented-reality-floor-layout-verification.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12296354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6-valianttms-augmented-reality-qr-code.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21804807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p:cNvSpPr>
            <a:spLocks noGrp="1"/>
          </p:cNvSpPr>
          <p:nvPr>
            <p:ph type="body" sz="quarter" idx="13"/>
          </p:nvPr>
        </p:nvSpPr>
        <p:spPr/>
        <p:txBody>
          <a:bodyPr/>
          <a:lstStyle/>
          <a:p>
            <a:r>
              <a:rPr lang="en-US" dirty="0"/>
              <a:t>PLC and Robot Offline Programming</a:t>
            </a:r>
          </a:p>
        </p:txBody>
      </p:sp>
      <p:sp>
        <p:nvSpPr>
          <p:cNvPr id="3" name="Title 2"/>
          <p:cNvSpPr>
            <a:spLocks noGrp="1"/>
          </p:cNvSpPr>
          <p:nvPr>
            <p:ph type="title"/>
          </p:nvPr>
        </p:nvSpPr>
        <p:spPr/>
        <p:txBody>
          <a:bodyPr/>
          <a:lstStyle/>
          <a:p>
            <a:r>
              <a:rPr lang="en-US" dirty="0"/>
              <a:t>Simulation and Virtual Commissioning</a:t>
            </a:r>
            <a:endParaRPr lang="en-CA" dirty="0"/>
          </a:p>
        </p:txBody>
      </p:sp>
      <p:pic>
        <p:nvPicPr>
          <p:cNvPr id="5" name="Picture 2" descr="Y:\camera\IMG_20140721_150544.jpg">
            <a:hlinkClick r:id="rId2" action="ppaction://hlinkfile"/>
          </p:cNvPr>
          <p:cNvPicPr>
            <a:picLocks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62431" y="2667000"/>
            <a:ext cx="3055474" cy="203451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455066" y="2258373"/>
            <a:ext cx="3564713" cy="2851771"/>
            <a:chOff x="2601292" y="1219200"/>
            <a:chExt cx="2433637" cy="1946910"/>
          </a:xfrm>
        </p:grpSpPr>
        <p:sp>
          <p:nvSpPr>
            <p:cNvPr id="12" name="Oval 11"/>
            <p:cNvSpPr/>
            <p:nvPr/>
          </p:nvSpPr>
          <p:spPr>
            <a:xfrm>
              <a:off x="2680721" y="1332190"/>
              <a:ext cx="2242423" cy="778764"/>
            </a:xfrm>
            <a:prstGeom prst="ellipse">
              <a:avLst/>
            </a:prstGeom>
            <a:scene3d>
              <a:camera prst="orthographicFront"/>
              <a:lightRig rig="flat" dir="t"/>
            </a:scene3d>
            <a:sp3d z="-190500" extrusionH="12700" prstMaterial="matte"/>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15" name="Freeform 14"/>
            <p:cNvSpPr/>
            <p:nvPr/>
          </p:nvSpPr>
          <p:spPr>
            <a:xfrm>
              <a:off x="3601729" y="1867591"/>
              <a:ext cx="782240" cy="782240"/>
            </a:xfrm>
            <a:custGeom>
              <a:avLst/>
              <a:gdLst>
                <a:gd name="connsiteX0" fmla="*/ 0 w 782240"/>
                <a:gd name="connsiteY0" fmla="*/ 391120 h 782240"/>
                <a:gd name="connsiteX1" fmla="*/ 391120 w 782240"/>
                <a:gd name="connsiteY1" fmla="*/ 0 h 782240"/>
                <a:gd name="connsiteX2" fmla="*/ 782240 w 782240"/>
                <a:gd name="connsiteY2" fmla="*/ 391120 h 782240"/>
                <a:gd name="connsiteX3" fmla="*/ 391120 w 782240"/>
                <a:gd name="connsiteY3" fmla="*/ 782240 h 782240"/>
                <a:gd name="connsiteX4" fmla="*/ 0 w 782240"/>
                <a:gd name="connsiteY4" fmla="*/ 391120 h 78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240" h="782240">
                  <a:moveTo>
                    <a:pt x="0" y="391120"/>
                  </a:moveTo>
                  <a:cubicBezTo>
                    <a:pt x="0" y="175110"/>
                    <a:pt x="175110" y="0"/>
                    <a:pt x="391120" y="0"/>
                  </a:cubicBezTo>
                  <a:cubicBezTo>
                    <a:pt x="607130" y="0"/>
                    <a:pt x="782240" y="175110"/>
                    <a:pt x="782240" y="391120"/>
                  </a:cubicBezTo>
                  <a:cubicBezTo>
                    <a:pt x="782240" y="607130"/>
                    <a:pt x="607130" y="782240"/>
                    <a:pt x="391120" y="782240"/>
                  </a:cubicBezTo>
                  <a:cubicBezTo>
                    <a:pt x="175110" y="782240"/>
                    <a:pt x="0" y="607130"/>
                    <a:pt x="0" y="391120"/>
                  </a:cubicBezTo>
                  <a:close/>
                </a:path>
              </a:pathLst>
            </a:custGeom>
            <a:solidFill>
              <a:schemeClr val="accent2"/>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shade val="80000"/>
                <a:hueOff val="0"/>
                <a:satOff val="0"/>
                <a:lumOff val="0"/>
                <a:alphaOff val="0"/>
              </a:schemeClr>
            </a:effectRef>
            <a:fontRef idx="minor">
              <a:schemeClr val="lt1"/>
            </a:fontRef>
          </p:style>
          <p:txBody>
            <a:bodyPr spcFirstLastPara="0" vert="horz" wrap="square" lIns="123446" tIns="123446" rIns="123446" bIns="123446"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Gilroy"/>
                  <a:ea typeface="+mn-ea"/>
                  <a:cs typeface="+mn-cs"/>
                </a:rPr>
                <a:t>Electrical Engineering</a:t>
              </a:r>
              <a:endParaRPr kumimoji="0" lang="de-DE" sz="1100" b="0" i="0" u="none" strike="noStrike" kern="1200" cap="none" spc="0" normalizeH="0" baseline="0" noProof="0" dirty="0">
                <a:ln>
                  <a:noFill/>
                </a:ln>
                <a:solidFill>
                  <a:srgbClr val="FFFFFF"/>
                </a:solidFill>
                <a:effectLst/>
                <a:uLnTx/>
                <a:uFillTx/>
                <a:latin typeface="Gilroy"/>
                <a:ea typeface="+mn-ea"/>
                <a:cs typeface="+mn-cs"/>
              </a:endParaRPr>
            </a:p>
          </p:txBody>
        </p:sp>
        <p:sp>
          <p:nvSpPr>
            <p:cNvPr id="16" name="Freeform 15"/>
            <p:cNvSpPr/>
            <p:nvPr/>
          </p:nvSpPr>
          <p:spPr>
            <a:xfrm>
              <a:off x="2992519" y="1469717"/>
              <a:ext cx="782240" cy="782240"/>
            </a:xfrm>
            <a:custGeom>
              <a:avLst/>
              <a:gdLst>
                <a:gd name="connsiteX0" fmla="*/ 0 w 782240"/>
                <a:gd name="connsiteY0" fmla="*/ 391120 h 782240"/>
                <a:gd name="connsiteX1" fmla="*/ 391120 w 782240"/>
                <a:gd name="connsiteY1" fmla="*/ 0 h 782240"/>
                <a:gd name="connsiteX2" fmla="*/ 782240 w 782240"/>
                <a:gd name="connsiteY2" fmla="*/ 391120 h 782240"/>
                <a:gd name="connsiteX3" fmla="*/ 391120 w 782240"/>
                <a:gd name="connsiteY3" fmla="*/ 782240 h 782240"/>
                <a:gd name="connsiteX4" fmla="*/ 0 w 782240"/>
                <a:gd name="connsiteY4" fmla="*/ 391120 h 78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240" h="782240">
                  <a:moveTo>
                    <a:pt x="0" y="391120"/>
                  </a:moveTo>
                  <a:cubicBezTo>
                    <a:pt x="0" y="175110"/>
                    <a:pt x="175110" y="0"/>
                    <a:pt x="391120" y="0"/>
                  </a:cubicBezTo>
                  <a:cubicBezTo>
                    <a:pt x="607130" y="0"/>
                    <a:pt x="782240" y="175110"/>
                    <a:pt x="782240" y="391120"/>
                  </a:cubicBezTo>
                  <a:cubicBezTo>
                    <a:pt x="782240" y="607130"/>
                    <a:pt x="607130" y="782240"/>
                    <a:pt x="391120" y="782240"/>
                  </a:cubicBezTo>
                  <a:cubicBezTo>
                    <a:pt x="175110" y="782240"/>
                    <a:pt x="0" y="607130"/>
                    <a:pt x="0" y="391120"/>
                  </a:cubicBezTo>
                  <a:close/>
                </a:path>
              </a:pathLst>
            </a:custGeom>
            <a:solidFill>
              <a:schemeClr val="accent4"/>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shade val="80000"/>
                <a:hueOff val="2465"/>
                <a:satOff val="-38"/>
                <a:lumOff val="11536"/>
                <a:alphaOff val="0"/>
              </a:schemeClr>
            </a:effectRef>
            <a:fontRef idx="minor">
              <a:schemeClr val="lt1"/>
            </a:fontRef>
          </p:style>
          <p:txBody>
            <a:bodyPr spcFirstLastPara="0" vert="horz" wrap="square" lIns="123446" tIns="123446" rIns="123446" bIns="123446"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roy"/>
                  <a:ea typeface="+mn-ea"/>
                  <a:cs typeface="+mn-cs"/>
                </a:rPr>
                <a:t>Handover to Electrical Engineering</a:t>
              </a:r>
              <a:r>
                <a:rPr kumimoji="0" lang="en-US" sz="1100" b="0" i="0" u="none" strike="noStrike" kern="1200" cap="none" spc="0" normalizeH="0" baseline="0" noProof="0" dirty="0">
                  <a:ln>
                    <a:noFill/>
                  </a:ln>
                  <a:solidFill>
                    <a:srgbClr val="FFFFFF"/>
                  </a:solidFill>
                  <a:effectLst/>
                  <a:uLnTx/>
                  <a:uFillTx/>
                  <a:latin typeface="Gilroy"/>
                  <a:ea typeface="+mn-ea"/>
                  <a:cs typeface="+mn-cs"/>
                </a:rPr>
                <a:t> </a:t>
              </a:r>
            </a:p>
          </p:txBody>
        </p:sp>
        <p:sp>
          <p:nvSpPr>
            <p:cNvPr id="18" name="Shape 17"/>
            <p:cNvSpPr/>
            <p:nvPr/>
          </p:nvSpPr>
          <p:spPr>
            <a:xfrm>
              <a:off x="2601292" y="1219200"/>
              <a:ext cx="2433637" cy="1946910"/>
            </a:xfrm>
            <a:prstGeom prst="funnel">
              <a:avLst/>
            </a:prstGeom>
            <a:scene3d>
              <a:camera prst="orthographicFront"/>
              <a:lightRig rig="flat" dir="t"/>
            </a:scene3d>
            <a:sp3d extrusionH="12700" prstMaterial="plastic">
              <a:bevelT w="50800" h="50800"/>
            </a:sp3d>
          </p:spPr>
          <p:style>
            <a:lnRef idx="1">
              <a:schemeClr val="accent1">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17" name="Freeform 16"/>
            <p:cNvSpPr/>
            <p:nvPr/>
          </p:nvSpPr>
          <p:spPr>
            <a:xfrm>
              <a:off x="3689349" y="1219200"/>
              <a:ext cx="782240" cy="782240"/>
            </a:xfrm>
            <a:custGeom>
              <a:avLst/>
              <a:gdLst>
                <a:gd name="connsiteX0" fmla="*/ 0 w 782240"/>
                <a:gd name="connsiteY0" fmla="*/ 391120 h 782240"/>
                <a:gd name="connsiteX1" fmla="*/ 391120 w 782240"/>
                <a:gd name="connsiteY1" fmla="*/ 0 h 782240"/>
                <a:gd name="connsiteX2" fmla="*/ 782240 w 782240"/>
                <a:gd name="connsiteY2" fmla="*/ 391120 h 782240"/>
                <a:gd name="connsiteX3" fmla="*/ 391120 w 782240"/>
                <a:gd name="connsiteY3" fmla="*/ 782240 h 782240"/>
                <a:gd name="connsiteX4" fmla="*/ 0 w 782240"/>
                <a:gd name="connsiteY4" fmla="*/ 391120 h 78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240" h="782240">
                  <a:moveTo>
                    <a:pt x="0" y="391120"/>
                  </a:moveTo>
                  <a:cubicBezTo>
                    <a:pt x="0" y="175110"/>
                    <a:pt x="175110" y="0"/>
                    <a:pt x="391120" y="0"/>
                  </a:cubicBezTo>
                  <a:cubicBezTo>
                    <a:pt x="607130" y="0"/>
                    <a:pt x="782240" y="175110"/>
                    <a:pt x="782240" y="391120"/>
                  </a:cubicBezTo>
                  <a:cubicBezTo>
                    <a:pt x="782240" y="607130"/>
                    <a:pt x="607130" y="782240"/>
                    <a:pt x="391120" y="782240"/>
                  </a:cubicBezTo>
                  <a:cubicBezTo>
                    <a:pt x="175110" y="782240"/>
                    <a:pt x="0" y="607130"/>
                    <a:pt x="0" y="391120"/>
                  </a:cubicBezTo>
                  <a:close/>
                </a:path>
              </a:pathLst>
            </a:custGeom>
            <a:solidFill>
              <a:schemeClr val="tx2"/>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shade val="80000"/>
                <a:hueOff val="4929"/>
                <a:satOff val="-76"/>
                <a:lumOff val="23072"/>
                <a:alphaOff val="0"/>
              </a:schemeClr>
            </a:effectRef>
            <a:fontRef idx="minor">
              <a:schemeClr val="lt1"/>
            </a:fontRef>
          </p:style>
          <p:txBody>
            <a:bodyPr spcFirstLastPara="0" vert="horz" wrap="square" lIns="123446" tIns="123446" rIns="123446" bIns="123446"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roy"/>
                  <a:ea typeface="+mn-ea"/>
                  <a:cs typeface="+mn-cs"/>
                </a:rPr>
                <a:t>Mechanical Engineering</a:t>
              </a:r>
              <a:endParaRPr kumimoji="0" lang="en-US" sz="1100" b="0" i="0" u="none" strike="noStrike" kern="1200" cap="none" spc="0" normalizeH="0" baseline="0" noProof="0" dirty="0">
                <a:ln>
                  <a:noFill/>
                </a:ln>
                <a:solidFill>
                  <a:srgbClr val="FFFFFF"/>
                </a:solidFill>
                <a:effectLst/>
                <a:uLnTx/>
                <a:uFillTx/>
                <a:latin typeface="Gilroy"/>
                <a:ea typeface="+mn-ea"/>
                <a:cs typeface="+mn-cs"/>
              </a:endParaRPr>
            </a:p>
          </p:txBody>
        </p:sp>
      </p:grpSp>
      <p:pic>
        <p:nvPicPr>
          <p:cNvPr id="7" name="Picture 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458200" y="3912859"/>
            <a:ext cx="3006505" cy="199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458200" y="1413221"/>
            <a:ext cx="3055474" cy="200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Straight Arrow Connector 19"/>
          <p:cNvCxnSpPr/>
          <p:nvPr/>
        </p:nvCxnSpPr>
        <p:spPr>
          <a:xfrm>
            <a:off x="3856040" y="3687059"/>
            <a:ext cx="457200"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7804150" y="3074659"/>
            <a:ext cx="457200"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7804150" y="4217659"/>
            <a:ext cx="457200"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22680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7-valianttms-innovation-center.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11404427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8-omron-amr-study.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375256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9-valianttms-factory-of-the-future-v5.0.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31539458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816864" y="118872"/>
            <a:ext cx="10765536" cy="576072"/>
          </a:xfrm>
        </p:spPr>
        <p:txBody>
          <a:bodyPr>
            <a:noAutofit/>
          </a:bodyPr>
          <a:lstStyle/>
          <a:p>
            <a:r>
              <a:rPr lang="en-US" sz="3600" b="0" dirty="0">
                <a:solidFill>
                  <a:srgbClr val="0070C0"/>
                </a:solidFill>
                <a:latin typeface="Calibri" panose="020F0502020204030204" pitchFamily="34" charset="0"/>
                <a:cs typeface="Calibri" panose="020F0502020204030204" pitchFamily="34" charset="0"/>
              </a:rPr>
              <a:t>Agenda</a:t>
            </a:r>
          </a:p>
        </p:txBody>
      </p:sp>
      <p:sp>
        <p:nvSpPr>
          <p:cNvPr id="8" name="Content Placeholder 2">
            <a:extLst>
              <a:ext uri="{FF2B5EF4-FFF2-40B4-BE49-F238E27FC236}">
                <a16:creationId xmlns:a16="http://schemas.microsoft.com/office/drawing/2014/main" id="{AFEA9401-96CA-4C1D-BD59-FFB49676CA41}"/>
              </a:ext>
            </a:extLst>
          </p:cNvPr>
          <p:cNvSpPr>
            <a:spLocks noGrp="1"/>
          </p:cNvSpPr>
          <p:nvPr>
            <p:ph idx="1"/>
          </p:nvPr>
        </p:nvSpPr>
        <p:spPr>
          <a:xfrm>
            <a:off x="815414" y="804672"/>
            <a:ext cx="10004986" cy="5443728"/>
          </a:xfrm>
        </p:spPr>
        <p:txBody>
          <a:bodyPr>
            <a:normAutofit/>
          </a:bodyPr>
          <a:lstStyle/>
          <a:p>
            <a:pPr>
              <a:spcBef>
                <a:spcPts val="600"/>
              </a:spcBef>
            </a:pPr>
            <a:r>
              <a:rPr lang="en-US" dirty="0" smtClean="0">
                <a:latin typeface="Calibri" panose="020F0502020204030204" pitchFamily="34" charset="0"/>
                <a:cs typeface="Calibri" panose="020F0502020204030204" pitchFamily="34" charset="0"/>
              </a:rPr>
              <a:t>Omron introduction</a:t>
            </a:r>
          </a:p>
          <a:p>
            <a:pPr>
              <a:spcBef>
                <a:spcPts val="600"/>
              </a:spcBef>
            </a:pPr>
            <a:r>
              <a:rPr lang="en-US" sz="1800" dirty="0" smtClean="0">
                <a:latin typeface="Calibri" panose="020F0502020204030204" pitchFamily="34" charset="0"/>
                <a:ea typeface="Calibri" panose="020F0502020204030204" pitchFamily="34" charset="0"/>
                <a:cs typeface="Calibri" panose="020F0502020204030204" pitchFamily="34" charset="0"/>
              </a:rPr>
              <a:t>	Whitney Lojewski, Industry Marketing Manager – Automotive, Omron</a:t>
            </a:r>
            <a:endParaRPr lang="en-US" sz="1800" dirty="0" smtClean="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Industry 4.0 vision and steps to get there</a:t>
            </a:r>
          </a:p>
          <a:p>
            <a:pPr>
              <a:lnSpc>
                <a:spcPct val="107000"/>
              </a:lnSpc>
              <a:spcAft>
                <a:spcPts val="800"/>
              </a:spcAft>
            </a:pPr>
            <a:r>
              <a:rPr lang="en-US" sz="1800" dirty="0">
                <a:latin typeface="Calibri" panose="020F0502020204030204" pitchFamily="34" charset="0"/>
                <a:ea typeface="Calibri" panose="020F0502020204030204" pitchFamily="34" charset="0"/>
                <a:cs typeface="Times New Roman" panose="02020603050405020304" pitchFamily="18" charset="0"/>
              </a:rPr>
              <a:t>	Jean-Marie Evrard, Global Director R&amp;D, Business Development Aerospace &amp; Strategic Accounts, 	</a:t>
            </a:r>
            <a:r>
              <a:rPr lang="en-US" sz="1800" dirty="0" smtClean="0">
                <a:latin typeface="Calibri" panose="020F0502020204030204" pitchFamily="34" charset="0"/>
                <a:ea typeface="Calibri" panose="020F0502020204030204" pitchFamily="34" charset="0"/>
                <a:cs typeface="Times New Roman" panose="02020603050405020304" pitchFamily="18" charset="0"/>
              </a:rPr>
              <a:t>Valiant TMS</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smtClean="0">
                <a:latin typeface="Calibri" panose="020F0502020204030204" pitchFamily="34" charset="0"/>
                <a:ea typeface="Calibri" panose="020F0502020204030204" pitchFamily="34" charset="0"/>
                <a:cs typeface="Times New Roman" panose="02020603050405020304" pitchFamily="18" charset="0"/>
              </a:rPr>
              <a:t>Traceability for the factory of the future</a:t>
            </a:r>
          </a:p>
          <a:p>
            <a:pPr>
              <a:lnSpc>
                <a:spcPct val="107000"/>
              </a:lnSpc>
              <a:spcAft>
                <a:spcPts val="800"/>
              </a:spcAft>
            </a:pPr>
            <a:r>
              <a:rPr lang="en-US" sz="1800" dirty="0" smtClean="0">
                <a:latin typeface="Calibri" panose="020F0502020204030204" pitchFamily="34" charset="0"/>
                <a:cs typeface="Calibri" panose="020F0502020204030204" pitchFamily="34" charset="0"/>
              </a:rPr>
              <a:t>	Eric </a:t>
            </a:r>
            <a:r>
              <a:rPr lang="en-US" sz="1800" dirty="0">
                <a:latin typeface="Calibri" panose="020F0502020204030204" pitchFamily="34" charset="0"/>
                <a:cs typeface="Calibri" panose="020F0502020204030204" pitchFamily="34" charset="0"/>
              </a:rPr>
              <a:t>Henefield, Director – Traceability Business, </a:t>
            </a:r>
            <a:r>
              <a:rPr lang="en-US" sz="1800" dirty="0" smtClean="0">
                <a:latin typeface="Calibri" panose="020F0502020204030204" pitchFamily="34" charset="0"/>
                <a:cs typeface="Calibri" panose="020F0502020204030204" pitchFamily="34" charset="0"/>
              </a:rPr>
              <a:t>Omron</a:t>
            </a: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dirty="0" smtClean="0">
                <a:latin typeface="Calibri" panose="020F0502020204030204" pitchFamily="34" charset="0"/>
                <a:ea typeface="Calibri" panose="020F0502020204030204" pitchFamily="34" charset="0"/>
                <a:cs typeface="Times New Roman" panose="02020603050405020304" pitchFamily="18" charset="0"/>
              </a:rPr>
              <a:t>Q&amp;A</a:t>
            </a:r>
          </a:p>
          <a:p>
            <a:pPr>
              <a:lnSpc>
                <a:spcPct val="107000"/>
              </a:lnSpc>
              <a:spcAft>
                <a:spcPts val="800"/>
              </a:spcAft>
            </a:pPr>
            <a:r>
              <a:rPr lang="en-US" sz="1800" dirty="0" smtClean="0">
                <a:latin typeface="Calibri" panose="020F0502020204030204" pitchFamily="34" charset="0"/>
                <a:ea typeface="Calibri" panose="020F0502020204030204" pitchFamily="34" charset="0"/>
                <a:cs typeface="Times New Roman" panose="02020603050405020304" pitchFamily="18" charset="0"/>
              </a:rPr>
              <a:t>	Steve Bell	, Jean-Marie Evrard, Eric Henefield</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smtClean="0">
                <a:latin typeface="Calibri" panose="020F0502020204030204" pitchFamily="34" charset="0"/>
                <a:ea typeface="Calibri" panose="020F0502020204030204" pitchFamily="34" charset="0"/>
                <a:cs typeface="Times New Roman" panose="02020603050405020304" pitchFamily="18" charset="0"/>
              </a:rPr>
              <a:t>&amp; Rick Tomaszewski, Strategic Account Manager – 	Automotive, Omron</a:t>
            </a:r>
            <a:endParaRPr lang="en-US" sz="1800" spc="0" dirty="0">
              <a:latin typeface="Calibri" panose="020F0502020204030204" pitchFamily="34" charset="0"/>
              <a:ea typeface="Calibri" panose="020F0502020204030204" pitchFamily="34" charset="0"/>
              <a:cs typeface="Times New Roman" panose="02020603050405020304" pitchFamily="18" charset="0"/>
            </a:endParaRPr>
          </a:p>
          <a:p>
            <a:pPr marL="342900" indent="-342900">
              <a:spcBef>
                <a:spcPts val="600"/>
              </a:spcBef>
              <a:buFont typeface="Arial" panose="020B0604020202020204" pitchFamily="34" charset="0"/>
              <a:buChar char="•"/>
            </a:pPr>
            <a:endParaRPr lang="en-US" dirty="0" smtClean="0">
              <a:latin typeface="Calibri" panose="020F0502020204030204" pitchFamily="34" charset="0"/>
              <a:cs typeface="Calibri" panose="020F0502020204030204" pitchFamily="34" charset="0"/>
            </a:endParaRPr>
          </a:p>
          <a:p>
            <a:pPr marL="342900" indent="-342900">
              <a:spcBef>
                <a:spcPts val="600"/>
              </a:spcBef>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61315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234762-FB4D-4629-8460-E85696DC7EC5}"/>
              </a:ext>
            </a:extLst>
          </p:cNvPr>
          <p:cNvSpPr>
            <a:spLocks noGrp="1"/>
          </p:cNvSpPr>
          <p:nvPr>
            <p:ph type="body" sz="quarter" idx="17"/>
          </p:nvPr>
        </p:nvSpPr>
        <p:spPr>
          <a:xfrm>
            <a:off x="685799" y="3770376"/>
            <a:ext cx="10972801" cy="1043772"/>
          </a:xfrm>
        </p:spPr>
        <p:txBody>
          <a:bodyPr/>
          <a:lstStyle/>
          <a:p>
            <a:endParaRPr lang="en-US" sz="2800" dirty="0" smtClean="0"/>
          </a:p>
          <a:p>
            <a:r>
              <a:rPr lang="en-US" sz="2800" dirty="0"/>
              <a:t>Traceability for the factory of the future</a:t>
            </a:r>
          </a:p>
        </p:txBody>
      </p:sp>
      <p:sp>
        <p:nvSpPr>
          <p:cNvPr id="3" name="Text Placeholder 2">
            <a:extLst>
              <a:ext uri="{FF2B5EF4-FFF2-40B4-BE49-F238E27FC236}">
                <a16:creationId xmlns:a16="http://schemas.microsoft.com/office/drawing/2014/main" id="{5FDC01FB-8C82-4715-97BD-99F3B214E691}"/>
              </a:ext>
            </a:extLst>
          </p:cNvPr>
          <p:cNvSpPr>
            <a:spLocks noGrp="1"/>
          </p:cNvSpPr>
          <p:nvPr>
            <p:ph type="body" sz="quarter" idx="18"/>
          </p:nvPr>
        </p:nvSpPr>
        <p:spPr>
          <a:xfrm>
            <a:off x="685799" y="5029200"/>
            <a:ext cx="10787898" cy="847471"/>
          </a:xfrm>
        </p:spPr>
        <p:txBody>
          <a:bodyPr/>
          <a:lstStyle/>
          <a:p>
            <a:r>
              <a:rPr lang="en-US" dirty="0" smtClean="0">
                <a:latin typeface="Calibri Light" panose="020F0302020204030204" pitchFamily="34" charset="0"/>
                <a:cs typeface="Calibri Light" panose="020F0302020204030204" pitchFamily="34" charset="0"/>
              </a:rPr>
              <a:t>Eric </a:t>
            </a:r>
            <a:r>
              <a:rPr lang="en-US" dirty="0">
                <a:latin typeface="Calibri Light" panose="020F0302020204030204" pitchFamily="34" charset="0"/>
                <a:cs typeface="Calibri Light" panose="020F0302020204030204" pitchFamily="34" charset="0"/>
              </a:rPr>
              <a:t>Henefield, Director – Traceability Business, Omron</a:t>
            </a:r>
          </a:p>
        </p:txBody>
      </p:sp>
      <p:pic>
        <p:nvPicPr>
          <p:cNvPr id="16" name="Picture 15"/>
          <p:cNvPicPr>
            <a:picLocks noChangeAspect="1"/>
          </p:cNvPicPr>
          <p:nvPr/>
        </p:nvPicPr>
        <p:blipFill>
          <a:blip r:embed="rId4"/>
          <a:stretch>
            <a:fillRect/>
          </a:stretch>
        </p:blipFill>
        <p:spPr>
          <a:xfrm>
            <a:off x="0" y="0"/>
            <a:ext cx="12192001" cy="3616960"/>
          </a:xfrm>
          <a:prstGeom prst="rect">
            <a:avLst/>
          </a:prstGeom>
        </p:spPr>
      </p:pic>
    </p:spTree>
    <p:custDataLst>
      <p:tags r:id="rId1"/>
    </p:custDataLst>
    <p:extLst>
      <p:ext uri="{BB962C8B-B14F-4D97-AF65-F5344CB8AC3E}">
        <p14:creationId xmlns:p14="http://schemas.microsoft.com/office/powerpoint/2010/main" val="14276580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タイトル 1">
            <a:extLst>
              <a:ext uri="{FF2B5EF4-FFF2-40B4-BE49-F238E27FC236}">
                <a16:creationId xmlns:a16="http://schemas.microsoft.com/office/drawing/2014/main" id="{C9643717-2A04-4913-872C-25D6C18092B8}"/>
              </a:ext>
            </a:extLst>
          </p:cNvPr>
          <p:cNvSpPr>
            <a:spLocks noGrp="1"/>
          </p:cNvSpPr>
          <p:nvPr>
            <p:ph type="title"/>
          </p:nvPr>
        </p:nvSpPr>
        <p:spPr>
          <a:xfrm>
            <a:off x="4114800" y="464740"/>
            <a:ext cx="4038601" cy="576064"/>
          </a:xfrm>
        </p:spPr>
        <p:txBody>
          <a:bodyPr>
            <a:noAutofit/>
          </a:bodyPr>
          <a:lstStyle/>
          <a:p>
            <a:r>
              <a:rPr lang="en-US" altLang="ja-JP" sz="3200" dirty="0" smtClean="0"/>
              <a:t>Track, Trace and Control </a:t>
            </a:r>
            <a:endParaRPr lang="ja-JP" altLang="en-US" sz="3200" dirty="0"/>
          </a:p>
        </p:txBody>
      </p:sp>
      <p:sp>
        <p:nvSpPr>
          <p:cNvPr id="6" name="Rectangle 5"/>
          <p:cNvSpPr/>
          <p:nvPr/>
        </p:nvSpPr>
        <p:spPr>
          <a:xfrm>
            <a:off x="4239012" y="5536407"/>
            <a:ext cx="3858473"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smtClean="0">
                <a:ln>
                  <a:noFill/>
                </a:ln>
                <a:solidFill>
                  <a:srgbClr val="000000"/>
                </a:solidFill>
                <a:effectLst/>
                <a:uLnTx/>
                <a:uFillTx/>
                <a:latin typeface="Myriad Pro"/>
                <a:ea typeface="+mn-ea"/>
                <a:cs typeface="+mn-cs"/>
              </a:rPr>
              <a:t>[Enhanced </a:t>
            </a:r>
            <a:r>
              <a:rPr kumimoji="0" lang="en-US" altLang="ja-JP" sz="1800" b="0" i="0" u="none" strike="noStrike" kern="1200" cap="none" spc="0" normalizeH="0" baseline="0" noProof="0" dirty="0">
                <a:ln>
                  <a:noFill/>
                </a:ln>
                <a:solidFill>
                  <a:srgbClr val="000000"/>
                </a:solidFill>
                <a:effectLst/>
                <a:uLnTx/>
                <a:uFillTx/>
                <a:latin typeface="Myriad Pro"/>
                <a:ea typeface="+mn-ea"/>
                <a:cs typeface="+mn-cs"/>
              </a:rPr>
              <a:t>Productivity Through Data]</a:t>
            </a: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0" name="AutoShape 4"/>
          <p:cNvSpPr>
            <a:spLocks noChangeArrowheads="1"/>
          </p:cNvSpPr>
          <p:nvPr/>
        </p:nvSpPr>
        <p:spPr bwMode="auto">
          <a:xfrm rot="-6767412">
            <a:off x="4170380" y="3713649"/>
            <a:ext cx="361950" cy="1757362"/>
          </a:xfrm>
          <a:prstGeom prst="can">
            <a:avLst>
              <a:gd name="adj" fmla="val 121382"/>
            </a:avLst>
          </a:prstGeom>
          <a:solidFill>
            <a:srgbClr val="C0C0C0"/>
          </a:solidFill>
          <a:ln w="9525">
            <a:solidFill>
              <a:schemeClr val="tx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1" name="AutoShape 5"/>
          <p:cNvSpPr>
            <a:spLocks noChangeArrowheads="1"/>
          </p:cNvSpPr>
          <p:nvPr/>
        </p:nvSpPr>
        <p:spPr bwMode="auto">
          <a:xfrm rot="-6767412">
            <a:off x="6456380" y="3713649"/>
            <a:ext cx="361950" cy="1757362"/>
          </a:xfrm>
          <a:prstGeom prst="can">
            <a:avLst>
              <a:gd name="adj" fmla="val 121382"/>
            </a:avLst>
          </a:prstGeom>
          <a:solidFill>
            <a:srgbClr val="C0C0C0"/>
          </a:solidFill>
          <a:ln w="9525">
            <a:solidFill>
              <a:schemeClr val="tx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2" name="AutoShape 6"/>
          <p:cNvSpPr>
            <a:spLocks noChangeArrowheads="1"/>
          </p:cNvSpPr>
          <p:nvPr/>
        </p:nvSpPr>
        <p:spPr bwMode="auto">
          <a:xfrm rot="-6767412">
            <a:off x="7597793" y="3713648"/>
            <a:ext cx="361950" cy="1757363"/>
          </a:xfrm>
          <a:prstGeom prst="can">
            <a:avLst>
              <a:gd name="adj" fmla="val 121382"/>
            </a:avLst>
          </a:prstGeom>
          <a:solidFill>
            <a:srgbClr val="C0C0C0"/>
          </a:solidFill>
          <a:ln w="9525">
            <a:solidFill>
              <a:schemeClr val="tx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3" name="AutoShape 7"/>
          <p:cNvSpPr>
            <a:spLocks noChangeArrowheads="1"/>
          </p:cNvSpPr>
          <p:nvPr/>
        </p:nvSpPr>
        <p:spPr bwMode="auto">
          <a:xfrm rot="-6767412">
            <a:off x="5313380" y="3713649"/>
            <a:ext cx="361950" cy="1757362"/>
          </a:xfrm>
          <a:prstGeom prst="can">
            <a:avLst>
              <a:gd name="adj" fmla="val 121382"/>
            </a:avLst>
          </a:prstGeom>
          <a:solidFill>
            <a:srgbClr val="C0C0C0"/>
          </a:solidFill>
          <a:ln w="9525">
            <a:solidFill>
              <a:schemeClr val="tx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4" name="AutoShape 8"/>
          <p:cNvSpPr>
            <a:spLocks noChangeArrowheads="1"/>
          </p:cNvSpPr>
          <p:nvPr/>
        </p:nvSpPr>
        <p:spPr bwMode="auto">
          <a:xfrm>
            <a:off x="3463149" y="4131955"/>
            <a:ext cx="5410200" cy="525462"/>
          </a:xfrm>
          <a:prstGeom prst="parallelogram">
            <a:avLst>
              <a:gd name="adj" fmla="val 257402"/>
            </a:avLst>
          </a:prstGeom>
          <a:solidFill>
            <a:schemeClr val="bg1"/>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5" name="Line 9"/>
          <p:cNvSpPr>
            <a:spLocks noChangeShapeType="1"/>
          </p:cNvSpPr>
          <p:nvPr/>
        </p:nvSpPr>
        <p:spPr bwMode="auto">
          <a:xfrm flipV="1">
            <a:off x="4483383" y="4394686"/>
            <a:ext cx="684128" cy="0"/>
          </a:xfrm>
          <a:prstGeom prst="line">
            <a:avLst/>
          </a:prstGeom>
          <a:noFill/>
          <a:ln w="38100">
            <a:solidFill>
              <a:schemeClr val="tx1"/>
            </a:solidFill>
            <a:round/>
            <a:headEnd/>
            <a:tailEnd type="stealth"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6" name="Line 10"/>
          <p:cNvSpPr>
            <a:spLocks noChangeShapeType="1"/>
          </p:cNvSpPr>
          <p:nvPr/>
        </p:nvSpPr>
        <p:spPr bwMode="auto">
          <a:xfrm flipV="1">
            <a:off x="7001116" y="4442056"/>
            <a:ext cx="658812" cy="0"/>
          </a:xfrm>
          <a:prstGeom prst="line">
            <a:avLst/>
          </a:prstGeom>
          <a:noFill/>
          <a:ln w="38100">
            <a:solidFill>
              <a:schemeClr val="tx1"/>
            </a:solidFill>
            <a:round/>
            <a:headEnd/>
            <a:tailEnd type="triangl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yriad Pro"/>
              <a:ea typeface="+mn-ea"/>
              <a:cs typeface="+mn-cs"/>
            </a:endParaRPr>
          </a:p>
        </p:txBody>
      </p:sp>
      <p:sp>
        <p:nvSpPr>
          <p:cNvPr id="17" name="Text Box 13"/>
          <p:cNvSpPr txBox="1">
            <a:spLocks noChangeArrowheads="1"/>
          </p:cNvSpPr>
          <p:nvPr/>
        </p:nvSpPr>
        <p:spPr bwMode="auto">
          <a:xfrm>
            <a:off x="4876800" y="1270739"/>
            <a:ext cx="2505075" cy="1000274"/>
          </a:xfrm>
          <a:prstGeom prst="rect">
            <a:avLst/>
          </a:prstGeom>
          <a:noFill/>
          <a:ln w="9525">
            <a:noFill/>
            <a:miter lim="800000"/>
            <a:headEnd/>
            <a:tailEnd/>
          </a:ln>
          <a:effectLst/>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1" u="sng" strike="noStrike" kern="1200" cap="none" spc="0" normalizeH="0" baseline="0" noProof="0" dirty="0">
                <a:ln>
                  <a:noFill/>
                </a:ln>
                <a:solidFill>
                  <a:srgbClr val="0070C0"/>
                </a:solidFill>
                <a:effectLst/>
                <a:uLnTx/>
                <a:uFillTx/>
                <a:latin typeface="Myriad Pro"/>
                <a:ea typeface="+mn-ea"/>
                <a:cs typeface="+mn-cs"/>
              </a:rPr>
              <a:t>Track</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1" u="none" strike="noStrike" kern="1200" cap="none" spc="0" normalizeH="0" baseline="0" noProof="0" dirty="0">
                <a:ln>
                  <a:noFill/>
                </a:ln>
                <a:solidFill>
                  <a:srgbClr val="0070C0"/>
                </a:solidFill>
                <a:effectLst>
                  <a:outerShdw blurRad="38100" dist="38100" dir="2700000" algn="tl">
                    <a:srgbClr val="C0C0C0"/>
                  </a:outerShdw>
                </a:effectLst>
                <a:uLnTx/>
                <a:uFillTx/>
                <a:latin typeface="Myriad Pro"/>
                <a:ea typeface="+mn-ea"/>
                <a:cs typeface="+mn-cs"/>
              </a:rPr>
              <a:t>Data</a:t>
            </a:r>
            <a:r>
              <a:rPr kumimoji="0" lang="en-US" sz="1400" b="0" i="0" u="none" strike="noStrike" kern="1200" cap="none" spc="0" normalizeH="0" baseline="0" noProof="0" dirty="0">
                <a:ln>
                  <a:noFill/>
                </a:ln>
                <a:solidFill>
                  <a:srgbClr val="000000"/>
                </a:solidFill>
                <a:effectLst/>
                <a:uLnTx/>
                <a:uFillTx/>
                <a:latin typeface="Myriad Pro"/>
                <a:ea typeface="+mn-ea"/>
                <a:cs typeface="+mn-cs"/>
              </a:rPr>
              <a:t> to </a:t>
            </a:r>
            <a:r>
              <a:rPr kumimoji="0" lang="en-US" sz="1400" b="0" i="0" u="none" strike="noStrike" kern="1200" cap="none" spc="0" normalizeH="0" baseline="0" noProof="0" dirty="0" smtClean="0">
                <a:ln>
                  <a:noFill/>
                </a:ln>
                <a:solidFill>
                  <a:srgbClr val="000000"/>
                </a:solidFill>
                <a:effectLst/>
                <a:uLnTx/>
                <a:uFillTx/>
                <a:latin typeface="Myriad Pro"/>
                <a:ea typeface="+mn-ea"/>
                <a:cs typeface="+mn-cs"/>
              </a:rPr>
              <a:t>determine in real-time </a:t>
            </a:r>
            <a:r>
              <a:rPr kumimoji="0" lang="en-US" sz="1400" b="1" i="1" u="none" strike="noStrike" kern="1200" cap="none" spc="0" normalizeH="0" baseline="0" noProof="0" dirty="0" smtClean="0">
                <a:ln>
                  <a:noFill/>
                </a:ln>
                <a:solidFill>
                  <a:srgbClr val="000000"/>
                </a:solidFill>
                <a:effectLst/>
                <a:uLnTx/>
                <a:uFillTx/>
                <a:latin typeface="Myriad Pro"/>
                <a:ea typeface="+mn-ea"/>
                <a:cs typeface="+mn-cs"/>
              </a:rPr>
              <a:t>“</a:t>
            </a:r>
            <a:r>
              <a:rPr kumimoji="0" lang="en-US" sz="1400" b="1" i="1" u="none" strike="noStrike" kern="1200" cap="none" spc="0" normalizeH="0" baseline="0" noProof="0" dirty="0">
                <a:ln>
                  <a:noFill/>
                </a:ln>
                <a:solidFill>
                  <a:srgbClr val="000000"/>
                </a:solidFill>
                <a:effectLst/>
                <a:uLnTx/>
                <a:uFillTx/>
                <a:latin typeface="Myriad Pro"/>
                <a:ea typeface="+mn-ea"/>
                <a:cs typeface="+mn-cs"/>
              </a:rPr>
              <a:t>Where is it now?”</a:t>
            </a:r>
          </a:p>
        </p:txBody>
      </p:sp>
      <p:sp>
        <p:nvSpPr>
          <p:cNvPr id="18" name="Text Box 14"/>
          <p:cNvSpPr txBox="1">
            <a:spLocks noChangeArrowheads="1"/>
          </p:cNvSpPr>
          <p:nvPr/>
        </p:nvSpPr>
        <p:spPr bwMode="auto">
          <a:xfrm>
            <a:off x="1975661" y="2614305"/>
            <a:ext cx="2447925" cy="1107996"/>
          </a:xfrm>
          <a:prstGeom prst="rect">
            <a:avLst/>
          </a:prstGeom>
          <a:noFill/>
          <a:ln w="9525">
            <a:noFill/>
            <a:miter lim="800000"/>
            <a:headEnd/>
            <a:tailEnd/>
          </a:ln>
          <a:effectLst/>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1" u="sng" strike="noStrike" kern="1200" cap="none" spc="0" normalizeH="0" baseline="0" noProof="0" dirty="0">
                <a:ln>
                  <a:noFill/>
                </a:ln>
                <a:solidFill>
                  <a:srgbClr val="0070C0"/>
                </a:solidFill>
                <a:effectLst/>
                <a:uLnTx/>
                <a:uFillTx/>
                <a:latin typeface="Myriad Pro"/>
                <a:ea typeface="+mn-ea"/>
                <a:cs typeface="+mn-cs"/>
              </a:rPr>
              <a:t>Trace</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1" u="none" strike="noStrike" kern="1200" cap="none" spc="0" normalizeH="0" baseline="0" noProof="0" dirty="0">
                <a:ln>
                  <a:noFill/>
                </a:ln>
                <a:solidFill>
                  <a:srgbClr val="0070C0"/>
                </a:solidFill>
                <a:effectLst>
                  <a:outerShdw blurRad="38100" dist="38100" dir="2700000" algn="tl">
                    <a:srgbClr val="C0C0C0"/>
                  </a:outerShdw>
                </a:effectLst>
                <a:uLnTx/>
                <a:uFillTx/>
                <a:latin typeface="Myriad Pro"/>
                <a:ea typeface="+mn-ea"/>
                <a:cs typeface="+mn-cs"/>
              </a:rPr>
              <a:t>Data</a:t>
            </a:r>
            <a:r>
              <a:rPr kumimoji="0" lang="en-US" sz="1400" b="0" i="0" u="none" strike="noStrike" kern="1200" cap="none" spc="0" normalizeH="0" baseline="0" noProof="0" dirty="0">
                <a:ln>
                  <a:noFill/>
                </a:ln>
                <a:solidFill>
                  <a:srgbClr val="0070C0"/>
                </a:solidFill>
                <a:effectLst/>
                <a:uLnTx/>
                <a:uFillTx/>
                <a:latin typeface="Myriad Pro"/>
                <a:ea typeface="+mn-ea"/>
                <a:cs typeface="+mn-cs"/>
              </a:rPr>
              <a:t> </a:t>
            </a:r>
            <a:r>
              <a:rPr kumimoji="0" lang="en-US" sz="1400" b="0" i="0" u="none" strike="noStrike" kern="1200" cap="none" spc="0" normalizeH="0" baseline="0" noProof="0" dirty="0">
                <a:ln>
                  <a:noFill/>
                </a:ln>
                <a:solidFill>
                  <a:srgbClr val="000000"/>
                </a:solidFill>
                <a:effectLst/>
                <a:uLnTx/>
                <a:uFillTx/>
                <a:latin typeface="Myriad Pro"/>
                <a:ea typeface="+mn-ea"/>
                <a:cs typeface="+mn-cs"/>
              </a:rPr>
              <a:t>to </a:t>
            </a:r>
            <a:r>
              <a:rPr kumimoji="0" lang="en-US" sz="1400" b="0" i="0" u="none" strike="noStrike" kern="1200" cap="none" spc="0" normalizeH="0" baseline="0" noProof="0" dirty="0" smtClean="0">
                <a:ln>
                  <a:noFill/>
                </a:ln>
                <a:solidFill>
                  <a:srgbClr val="000000"/>
                </a:solidFill>
                <a:effectLst/>
                <a:uLnTx/>
                <a:uFillTx/>
                <a:latin typeface="Myriad Pro"/>
                <a:ea typeface="+mn-ea"/>
                <a:cs typeface="+mn-cs"/>
              </a:rPr>
              <a:t>answer</a:t>
            </a:r>
            <a:endParaRPr kumimoji="0" lang="en-US" sz="1400" b="0" i="0" u="none" strike="noStrike" kern="1200" cap="none" spc="0" normalizeH="0" baseline="0" noProof="0" dirty="0">
              <a:ln>
                <a:noFill/>
              </a:ln>
              <a:solidFill>
                <a:srgbClr val="000000"/>
              </a:solidFill>
              <a:effectLst/>
              <a:uLnTx/>
              <a:uFillTx/>
              <a:latin typeface="Myriad Pro"/>
              <a:ea typeface="+mn-ea"/>
              <a:cs typeface="+mn-cs"/>
            </a:endParaRP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yriad Pro"/>
                <a:ea typeface="+mn-ea"/>
                <a:cs typeface="+mn-cs"/>
              </a:rPr>
              <a:t>“Where has it been?”</a:t>
            </a:r>
          </a:p>
        </p:txBody>
      </p:sp>
      <p:sp>
        <p:nvSpPr>
          <p:cNvPr id="19" name="Text Box 15"/>
          <p:cNvSpPr txBox="1">
            <a:spLocks noChangeArrowheads="1"/>
          </p:cNvSpPr>
          <p:nvPr/>
        </p:nvSpPr>
        <p:spPr bwMode="auto">
          <a:xfrm>
            <a:off x="8379374" y="2581835"/>
            <a:ext cx="2203450" cy="1107996"/>
          </a:xfrm>
          <a:prstGeom prst="rect">
            <a:avLst/>
          </a:prstGeom>
          <a:noFill/>
          <a:ln w="9525">
            <a:noFill/>
            <a:miter lim="800000"/>
            <a:headEnd/>
            <a:tailEnd/>
          </a:ln>
          <a:effectLst/>
        </p:spPr>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1" u="sng" strike="noStrike" kern="1200" cap="none" spc="0" normalizeH="0" baseline="0" noProof="0" dirty="0">
                <a:ln>
                  <a:noFill/>
                </a:ln>
                <a:solidFill>
                  <a:srgbClr val="0070C0"/>
                </a:solidFill>
                <a:effectLst/>
                <a:uLnTx/>
                <a:uFillTx/>
                <a:latin typeface="Myriad Pro"/>
                <a:ea typeface="+mn-ea"/>
                <a:cs typeface="+mn-cs"/>
              </a:rPr>
              <a:t>Control</a:t>
            </a:r>
            <a:r>
              <a:rPr kumimoji="0" lang="en-US" sz="2400" b="0" i="1" u="sng" strike="noStrike" kern="1200" cap="none" spc="0" normalizeH="0" baseline="0" noProof="0" dirty="0">
                <a:ln>
                  <a:noFill/>
                </a:ln>
                <a:solidFill>
                  <a:srgbClr val="0070C0"/>
                </a:solidFill>
                <a:effectLst/>
                <a:uLnTx/>
                <a:uFillTx/>
                <a:latin typeface="Myriad Pro"/>
                <a:ea typeface="+mn-ea"/>
                <a:cs typeface="+mn-cs"/>
              </a:rPr>
              <a:t> </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1" u="none" strike="noStrike" kern="1200" cap="none" spc="0" normalizeH="0" baseline="0" noProof="0" dirty="0">
                <a:ln>
                  <a:noFill/>
                </a:ln>
                <a:solidFill>
                  <a:srgbClr val="0070C0"/>
                </a:solidFill>
                <a:effectLst>
                  <a:outerShdw blurRad="38100" dist="38100" dir="2700000" algn="tl">
                    <a:srgbClr val="C0C0C0"/>
                  </a:outerShdw>
                </a:effectLst>
                <a:uLnTx/>
                <a:uFillTx/>
                <a:latin typeface="Myriad Pro"/>
                <a:ea typeface="+mn-ea"/>
                <a:cs typeface="+mn-cs"/>
              </a:rPr>
              <a:t>Data</a:t>
            </a:r>
            <a:r>
              <a:rPr kumimoji="0" lang="en-US" sz="1400" b="0" i="0" u="none" strike="noStrike" kern="1200" cap="none" spc="0" normalizeH="0" baseline="0" noProof="0" dirty="0">
                <a:ln>
                  <a:noFill/>
                </a:ln>
                <a:solidFill>
                  <a:srgbClr val="0070C0"/>
                </a:solidFill>
                <a:effectLst/>
                <a:uLnTx/>
                <a:uFillTx/>
                <a:latin typeface="Myriad Pro"/>
                <a:ea typeface="+mn-ea"/>
                <a:cs typeface="+mn-cs"/>
              </a:rPr>
              <a:t> </a:t>
            </a:r>
            <a:r>
              <a:rPr kumimoji="0" lang="en-US" sz="1400" b="0" i="0" u="none" strike="noStrike" kern="1200" cap="none" spc="0" normalizeH="0" baseline="0" noProof="0" dirty="0">
                <a:ln>
                  <a:noFill/>
                </a:ln>
                <a:solidFill>
                  <a:srgbClr val="000000"/>
                </a:solidFill>
                <a:effectLst/>
                <a:uLnTx/>
                <a:uFillTx/>
                <a:latin typeface="Myriad Pro"/>
                <a:ea typeface="+mn-ea"/>
                <a:cs typeface="+mn-cs"/>
              </a:rPr>
              <a:t>to decide next </a:t>
            </a:r>
            <a:r>
              <a:rPr kumimoji="0" lang="en-US" sz="1400" b="0" i="0" u="none" strike="noStrike" kern="1200" cap="none" spc="0" normalizeH="0" baseline="0" noProof="0" dirty="0" smtClean="0">
                <a:ln>
                  <a:noFill/>
                </a:ln>
                <a:solidFill>
                  <a:srgbClr val="000000"/>
                </a:solidFill>
                <a:effectLst/>
                <a:uLnTx/>
                <a:uFillTx/>
                <a:latin typeface="Myriad Pro"/>
                <a:ea typeface="+mn-ea"/>
                <a:cs typeface="+mn-cs"/>
              </a:rPr>
              <a:t>steps</a:t>
            </a:r>
            <a:endParaRPr kumimoji="0" lang="en-US" sz="1400" b="0" i="0" u="none" strike="noStrike" kern="1200" cap="none" spc="0" normalizeH="0" baseline="0" noProof="0" dirty="0">
              <a:ln>
                <a:noFill/>
              </a:ln>
              <a:solidFill>
                <a:srgbClr val="000000"/>
              </a:solidFill>
              <a:effectLst/>
              <a:uLnTx/>
              <a:uFillTx/>
              <a:latin typeface="Myriad Pro"/>
              <a:ea typeface="+mn-ea"/>
              <a:cs typeface="+mn-cs"/>
            </a:endParaRP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yriad Pro"/>
                <a:ea typeface="+mn-ea"/>
                <a:cs typeface="+mn-cs"/>
              </a:rPr>
              <a:t>“Where should it go?”</a:t>
            </a:r>
          </a:p>
        </p:txBody>
      </p:sp>
      <p:sp>
        <p:nvSpPr>
          <p:cNvPr id="21" name="Right Arrow 20"/>
          <p:cNvSpPr/>
          <p:nvPr/>
        </p:nvSpPr>
        <p:spPr>
          <a:xfrm>
            <a:off x="9138199" y="3841442"/>
            <a:ext cx="685800" cy="601663"/>
          </a:xfrm>
          <a:prstGeom prst="rightArrow">
            <a:avLst/>
          </a:prstGeom>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2" name="Right Arrow 21"/>
          <p:cNvSpPr/>
          <p:nvPr/>
        </p:nvSpPr>
        <p:spPr>
          <a:xfrm flipH="1">
            <a:off x="2785371" y="3841442"/>
            <a:ext cx="685800" cy="601663"/>
          </a:xfrm>
          <a:prstGeom prst="rightArrow">
            <a:avLst/>
          </a:prstGeom>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3" name="Right Arrow 22"/>
          <p:cNvSpPr/>
          <p:nvPr/>
        </p:nvSpPr>
        <p:spPr>
          <a:xfrm rot="5400000">
            <a:off x="5786436" y="2304561"/>
            <a:ext cx="685800" cy="601663"/>
          </a:xfrm>
          <a:prstGeom prst="rightArrow">
            <a:avLst/>
          </a:prstGeom>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7" name="Picture 6"/>
          <p:cNvPicPr>
            <a:picLocks noChangeAspect="1"/>
          </p:cNvPicPr>
          <p:nvPr/>
        </p:nvPicPr>
        <p:blipFill>
          <a:blip r:embed="rId4"/>
          <a:stretch>
            <a:fillRect/>
          </a:stretch>
        </p:blipFill>
        <p:spPr>
          <a:xfrm>
            <a:off x="5201471" y="3363510"/>
            <a:ext cx="1685550" cy="1276930"/>
          </a:xfrm>
          <a:prstGeom prst="rect">
            <a:avLst/>
          </a:prstGeom>
          <a:solidFill>
            <a:schemeClr val="bg1">
              <a:lumMod val="95000"/>
            </a:schemeClr>
          </a:solidFill>
        </p:spPr>
      </p:pic>
    </p:spTree>
    <p:custDataLst>
      <p:tags r:id="rId1"/>
    </p:custDataLst>
    <p:extLst>
      <p:ext uri="{BB962C8B-B14F-4D97-AF65-F5344CB8AC3E}">
        <p14:creationId xmlns:p14="http://schemas.microsoft.com/office/powerpoint/2010/main" val="41108085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タイトル 68"/>
          <p:cNvSpPr>
            <a:spLocks/>
          </p:cNvSpPr>
          <p:nvPr/>
        </p:nvSpPr>
        <p:spPr bwMode="auto">
          <a:xfrm>
            <a:off x="591214" y="163686"/>
            <a:ext cx="9054670" cy="735725"/>
          </a:xfrm>
          <a:prstGeom prst="rect">
            <a:avLst/>
          </a:prstGeom>
          <a:noFill/>
          <a:ln w="9525">
            <a:noFill/>
            <a:miter lim="800000"/>
            <a:headEnd/>
            <a:tailEnd/>
          </a:ln>
        </p:spPr>
        <p:txBody>
          <a:bodyPr lIns="0" rIns="0" anchor="ct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ja-JP" sz="30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Traceability </a:t>
            </a:r>
            <a:r>
              <a:rPr kumimoji="0" lang="en-US" altLang="ja-JP" sz="3000" b="1" i="0" u="none" strike="noStrike" kern="1200" cap="none" spc="0" normalizeH="0" baseline="0" noProof="0" dirty="0" smtClean="0">
                <a:ln>
                  <a:noFill/>
                </a:ln>
                <a:solidFill>
                  <a:srgbClr val="0070C0"/>
                </a:solidFill>
                <a:effectLst/>
                <a:uLnTx/>
                <a:uFillTx/>
                <a:latin typeface="Calibri Light" panose="020F0302020204030204" pitchFamily="34" charset="0"/>
                <a:ea typeface="+mn-ea"/>
                <a:cs typeface="Calibri Light" panose="020F0302020204030204" pitchFamily="34" charset="0"/>
              </a:rPr>
              <a:t>Evolution/Traceability</a:t>
            </a:r>
            <a:r>
              <a:rPr kumimoji="0" lang="ja-JP" altLang="en-US" sz="3000" b="1" i="0" u="none" strike="noStrike" kern="1200" cap="none" spc="0" normalizeH="0" baseline="0" noProof="0" dirty="0" smtClean="0">
                <a:ln>
                  <a:noFill/>
                </a:ln>
                <a:solidFill>
                  <a:srgbClr val="0070C0"/>
                </a:solidFill>
                <a:effectLst/>
                <a:uLnTx/>
                <a:uFillTx/>
                <a:latin typeface="Calibri Light" panose="020F0302020204030204" pitchFamily="34" charset="0"/>
                <a:ea typeface="+mn-ea"/>
                <a:cs typeface="Calibri Light" panose="020F0302020204030204" pitchFamily="34" charset="0"/>
              </a:rPr>
              <a:t> </a:t>
            </a:r>
            <a:r>
              <a:rPr kumimoji="0" lang="en-US" altLang="ja-JP" sz="30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4.0 Concept</a:t>
            </a:r>
          </a:p>
        </p:txBody>
      </p:sp>
      <p:pic>
        <p:nvPicPr>
          <p:cNvPr id="4" name="Picture 3"/>
          <p:cNvPicPr>
            <a:picLocks noChangeAspect="1"/>
          </p:cNvPicPr>
          <p:nvPr/>
        </p:nvPicPr>
        <p:blipFill>
          <a:blip r:embed="rId4"/>
          <a:stretch>
            <a:fillRect/>
          </a:stretch>
        </p:blipFill>
        <p:spPr>
          <a:xfrm>
            <a:off x="1752600" y="990852"/>
            <a:ext cx="3365949" cy="5170155"/>
          </a:xfrm>
          <a:prstGeom prst="rect">
            <a:avLst/>
          </a:prstGeom>
        </p:spPr>
      </p:pic>
      <p:pic>
        <p:nvPicPr>
          <p:cNvPr id="6" name="Picture 5"/>
          <p:cNvPicPr>
            <a:picLocks noChangeAspect="1"/>
          </p:cNvPicPr>
          <p:nvPr/>
        </p:nvPicPr>
        <p:blipFill>
          <a:blip r:embed="rId5"/>
          <a:stretch>
            <a:fillRect/>
          </a:stretch>
        </p:blipFill>
        <p:spPr>
          <a:xfrm>
            <a:off x="1752600" y="990852"/>
            <a:ext cx="4963350" cy="5170155"/>
          </a:xfrm>
          <a:prstGeom prst="rect">
            <a:avLst/>
          </a:prstGeom>
        </p:spPr>
      </p:pic>
      <p:pic>
        <p:nvPicPr>
          <p:cNvPr id="23" name="Picture 22"/>
          <p:cNvPicPr>
            <a:picLocks noChangeAspect="1"/>
          </p:cNvPicPr>
          <p:nvPr/>
        </p:nvPicPr>
        <p:blipFill>
          <a:blip r:embed="rId6"/>
          <a:stretch>
            <a:fillRect/>
          </a:stretch>
        </p:blipFill>
        <p:spPr>
          <a:xfrm>
            <a:off x="1752600" y="1123951"/>
            <a:ext cx="6582142" cy="4884905"/>
          </a:xfrm>
          <a:prstGeom prst="rect">
            <a:avLst/>
          </a:prstGeom>
        </p:spPr>
      </p:pic>
      <p:pic>
        <p:nvPicPr>
          <p:cNvPr id="25" name="Picture 24"/>
          <p:cNvPicPr>
            <a:picLocks noChangeAspect="1"/>
          </p:cNvPicPr>
          <p:nvPr/>
        </p:nvPicPr>
        <p:blipFill>
          <a:blip r:embed="rId7"/>
          <a:stretch>
            <a:fillRect/>
          </a:stretch>
        </p:blipFill>
        <p:spPr>
          <a:xfrm>
            <a:off x="1752600" y="1142714"/>
            <a:ext cx="8208068" cy="4884906"/>
          </a:xfrm>
          <a:prstGeom prst="rect">
            <a:avLst/>
          </a:prstGeom>
        </p:spPr>
      </p:pic>
    </p:spTree>
    <p:custDataLst>
      <p:tags r:id="rId1"/>
    </p:custDataLst>
    <p:extLst>
      <p:ext uri="{BB962C8B-B14F-4D97-AF65-F5344CB8AC3E}">
        <p14:creationId xmlns:p14="http://schemas.microsoft.com/office/powerpoint/2010/main" val="296898966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504" y="202691"/>
            <a:ext cx="10765536" cy="576072"/>
          </a:xfrm>
        </p:spPr>
        <p:txBody>
          <a:bodyPr/>
          <a:lstStyle/>
          <a:p>
            <a:r>
              <a:rPr lang="en-US" sz="3000" b="1" spc="0" dirty="0">
                <a:latin typeface="Calibri Light" panose="020F0302020204030204" pitchFamily="34" charset="0"/>
                <a:cs typeface="Calibri Light" panose="020F0302020204030204" pitchFamily="34" charset="0"/>
              </a:rPr>
              <a:t>Traceability</a:t>
            </a:r>
            <a:r>
              <a:rPr lang="en-US" sz="3000" b="1" spc="0" dirty="0" smtClean="0">
                <a:latin typeface="Calibri Light" panose="020F0302020204030204" pitchFamily="34" charset="0"/>
                <a:cs typeface="Calibri Light" panose="020F0302020204030204" pitchFamily="34" charset="0"/>
              </a:rPr>
              <a:t> 3.0/4.0: </a:t>
            </a:r>
            <a:r>
              <a:rPr lang="en-US" sz="3000" b="1" spc="0" dirty="0">
                <a:latin typeface="Calibri Light" panose="020F0302020204030204" pitchFamily="34" charset="0"/>
                <a:cs typeface="Calibri Light" panose="020F0302020204030204" pitchFamily="34" charset="0"/>
              </a:rPr>
              <a:t>Unit-Level Traceability</a:t>
            </a:r>
          </a:p>
        </p:txBody>
      </p:sp>
      <p:sp>
        <p:nvSpPr>
          <p:cNvPr id="28" name="Rectangle 28"/>
          <p:cNvSpPr txBox="1">
            <a:spLocks noChangeArrowheads="1"/>
          </p:cNvSpPr>
          <p:nvPr/>
        </p:nvSpPr>
        <p:spPr>
          <a:xfrm>
            <a:off x="990600" y="1142998"/>
            <a:ext cx="10134600" cy="4664075"/>
          </a:xfrm>
          <a:prstGeom prst="rect">
            <a:avLst/>
          </a:prstGeom>
        </p:spPr>
        <p:txBody>
          <a:bodyPr/>
          <a:lstStyle>
            <a:lvl1pPr marL="0" indent="0" algn="l" defTabSz="685800" rtl="0" eaLnBrk="1" latinLnBrk="0" hangingPunct="1">
              <a:spcBef>
                <a:spcPts val="0"/>
              </a:spcBef>
              <a:spcAft>
                <a:spcPts val="600"/>
              </a:spcAft>
              <a:buFont typeface="Arial" pitchFamily="34" charset="0"/>
              <a:buNone/>
              <a:tabLst>
                <a:tab pos="457200" algn="l"/>
                <a:tab pos="914400" algn="l"/>
                <a:tab pos="1371600" algn="l"/>
                <a:tab pos="1828800" algn="l"/>
              </a:tabLst>
              <a:defRPr sz="2400" kern="1200">
                <a:solidFill>
                  <a:srgbClr val="59595B"/>
                </a:solidFill>
                <a:latin typeface="Calibri" panose="020F0502020204030204" pitchFamily="34" charset="0"/>
                <a:ea typeface="+mn-ea"/>
                <a:cs typeface="+mn-cs"/>
              </a:defRPr>
            </a:lvl1pPr>
            <a:lvl2pPr marL="461963" indent="-231775" algn="l" defTabSz="685800" rtl="0" eaLnBrk="1" latinLnBrk="0" hangingPunct="1">
              <a:spcBef>
                <a:spcPts val="0"/>
              </a:spcBef>
              <a:spcAft>
                <a:spcPts val="600"/>
              </a:spcAft>
              <a:buFont typeface="Arial" panose="020B0604020202020204"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2pPr>
            <a:lvl3pPr marL="915988" indent="-227013" algn="l" defTabSz="685800" rtl="0" eaLnBrk="1" latinLnBrk="0" hangingPunct="1">
              <a:spcBef>
                <a:spcPts val="0"/>
              </a:spcBef>
              <a:spcAft>
                <a:spcPts val="600"/>
              </a:spcAft>
              <a:buFont typeface="Myriad Pro" pitchFamily="34" charset="0"/>
              <a:buChar char="º"/>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3pPr>
            <a:lvl4pPr marL="1371600" indent="-227013" algn="l" defTabSz="685800" rtl="0" eaLnBrk="1" latinLnBrk="0" hangingPunct="1">
              <a:spcBef>
                <a:spcPts val="0"/>
              </a:spcBef>
              <a:spcAft>
                <a:spcPts val="600"/>
              </a:spcAft>
              <a:buFont typeface="Arial" pitchFamily="34" charset="0"/>
              <a:buChar char="‒"/>
              <a:tabLst>
                <a:tab pos="342900" algn="l"/>
                <a:tab pos="684213" algn="l"/>
                <a:tab pos="1027113" algn="l"/>
                <a:tab pos="1373188" algn="l"/>
              </a:tabLst>
              <a:defRPr sz="2000" kern="1200" spc="-150">
                <a:solidFill>
                  <a:srgbClr val="59595B"/>
                </a:solidFill>
                <a:latin typeface="Calibri" panose="020F0502020204030204" pitchFamily="34" charset="0"/>
                <a:ea typeface="+mn-ea"/>
                <a:cs typeface="+mn-cs"/>
              </a:defRPr>
            </a:lvl4pPr>
            <a:lvl5pPr marL="1830388" indent="-227013" algn="l" defTabSz="685800" rtl="0" eaLnBrk="1" latinLnBrk="0" hangingPunct="1">
              <a:spcBef>
                <a:spcPts val="0"/>
              </a:spcBef>
              <a:spcAft>
                <a:spcPts val="600"/>
              </a:spcAft>
              <a:buFont typeface="Arial" pitchFamily="34" charset="0"/>
              <a:buChar char="‒"/>
              <a:tabLst>
                <a:tab pos="457200" algn="l"/>
                <a:tab pos="914400" algn="l"/>
                <a:tab pos="1371600" algn="l"/>
                <a:tab pos="1828800" algn="l"/>
              </a:tabLst>
              <a:defRPr sz="2000" kern="1200" spc="-150">
                <a:solidFill>
                  <a:srgbClr val="59595B"/>
                </a:solidFill>
                <a:latin typeface="Calibri" panose="020F0502020204030204" pitchFamily="34" charset="0"/>
                <a:ea typeface="+mn-ea"/>
                <a:cs typeface="+mn-cs"/>
              </a:defRPr>
            </a:lvl5pPr>
            <a:lvl6pPr marL="2514298"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685800" rtl="0" eaLnBrk="1" fontAlgn="auto" latinLnBrk="0" hangingPunct="1">
              <a:lnSpc>
                <a:spcPct val="100000"/>
              </a:lnSpc>
              <a:spcBef>
                <a:spcPts val="0"/>
              </a:spcBef>
              <a:spcAft>
                <a:spcPts val="600"/>
              </a:spcAft>
              <a:buClrTx/>
              <a:buSzTx/>
              <a:buFont typeface="Calibri Light" panose="020F0302020204030204" pitchFamily="34" charset="0"/>
              <a:buChar char="‐"/>
              <a:tabLst>
                <a:tab pos="457200" algn="l"/>
                <a:tab pos="914400" algn="l"/>
                <a:tab pos="1371600" algn="l"/>
                <a:tab pos="1828800" algn="l"/>
              </a:tabLst>
              <a:defRPr/>
            </a:pPr>
            <a:r>
              <a:rPr kumimoji="0" lang="en-US" altLang="en-US" sz="2000" b="0" i="0" u="none" strike="noStrike" kern="1200" cap="none" spc="0" normalizeH="0" baseline="0" noProof="0" dirty="0" smtClean="0">
                <a:ln>
                  <a:noFill/>
                </a:ln>
                <a:solidFill>
                  <a:srgbClr val="59595B"/>
                </a:solidFill>
                <a:effectLst/>
                <a:uLnTx/>
                <a:uFillTx/>
                <a:latin typeface="Calibri Light" panose="020F0302020204030204" pitchFamily="34" charset="0"/>
                <a:ea typeface="+mn-ea"/>
                <a:cs typeface="Calibri Light" panose="020F0302020204030204" pitchFamily="34" charset="0"/>
              </a:rPr>
              <a:t>Extends serialized identification to individual parts</a:t>
            </a:r>
          </a:p>
          <a:p>
            <a:pPr marL="342900" marR="0" lvl="0" indent="-342900" algn="l" defTabSz="685800" rtl="0" eaLnBrk="1" fontAlgn="auto" latinLnBrk="0" hangingPunct="1">
              <a:lnSpc>
                <a:spcPct val="100000"/>
              </a:lnSpc>
              <a:spcBef>
                <a:spcPts val="0"/>
              </a:spcBef>
              <a:spcAft>
                <a:spcPts val="600"/>
              </a:spcAft>
              <a:buClrTx/>
              <a:buSzTx/>
              <a:buFont typeface="Calibri Light" panose="020F0302020204030204" pitchFamily="34" charset="0"/>
              <a:buChar char="‐"/>
              <a:tabLst>
                <a:tab pos="457200" algn="l"/>
                <a:tab pos="914400" algn="l"/>
                <a:tab pos="1371600" algn="l"/>
                <a:tab pos="1828800" algn="l"/>
              </a:tabLst>
              <a:defRPr/>
            </a:pPr>
            <a:r>
              <a:rPr kumimoji="0" lang="en-US" altLang="en-US" sz="2000" b="0" i="0" u="none" strike="noStrike" kern="1200" cap="none" spc="0" normalizeH="0" baseline="0" noProof="0" dirty="0" smtClean="0">
                <a:ln>
                  <a:noFill/>
                </a:ln>
                <a:solidFill>
                  <a:srgbClr val="59595B"/>
                </a:solidFill>
                <a:effectLst/>
                <a:uLnTx/>
                <a:uFillTx/>
                <a:latin typeface="Calibri Light" panose="020F0302020204030204" pitchFamily="34" charset="0"/>
                <a:ea typeface="+mn-ea"/>
                <a:cs typeface="Calibri Light" panose="020F0302020204030204" pitchFamily="34" charset="0"/>
              </a:rPr>
              <a:t>Covers a traceability “hole” on the production floor</a:t>
            </a: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t/>
            </a:r>
            <a:br>
              <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rPr>
            </a:br>
            <a:endParaRPr kumimoji="0" lang="en-US" altLang="en-US" sz="2000" b="1" i="0" u="none" strike="noStrike" kern="1200" cap="none" spc="0" normalizeH="0" baseline="0" noProof="0" dirty="0" smtClean="0">
              <a:ln>
                <a:noFill/>
              </a:ln>
              <a:solidFill>
                <a:srgbClr val="59595B"/>
              </a:solidFill>
              <a:effectLst/>
              <a:uLnTx/>
              <a:uFillTx/>
              <a:latin typeface="Calibri" panose="020F0502020204030204" pitchFamily="34" charset="0"/>
              <a:ea typeface="+mn-ea"/>
              <a:cs typeface="+mn-cs"/>
            </a:endParaRPr>
          </a:p>
          <a:p>
            <a:pPr marL="0" marR="0" lvl="0" indent="0" algn="l" defTabSz="685800" rtl="0" eaLnBrk="1" fontAlgn="auto" latinLnBrk="0" hangingPunct="1">
              <a:lnSpc>
                <a:spcPct val="100000"/>
              </a:lnSpc>
              <a:spcBef>
                <a:spcPts val="0"/>
              </a:spcBef>
              <a:spcAft>
                <a:spcPts val="600"/>
              </a:spcAft>
              <a:buClrTx/>
              <a:buSzTx/>
              <a:buFont typeface="Arial" pitchFamily="34" charset="0"/>
              <a:buNone/>
              <a:tabLst>
                <a:tab pos="457200" algn="l"/>
                <a:tab pos="914400" algn="l"/>
                <a:tab pos="1371600" algn="l"/>
                <a:tab pos="1828800" algn="l"/>
              </a:tabLst>
              <a:defRPr/>
            </a:pPr>
            <a:r>
              <a:rPr kumimoji="0" lang="en-US" altLang="en-US" sz="2000" b="0" i="0" u="none" strike="noStrike" kern="1200" cap="none" spc="0" normalizeH="0" baseline="0" noProof="0" dirty="0" smtClean="0">
                <a:ln>
                  <a:noFill/>
                </a:ln>
                <a:solidFill>
                  <a:srgbClr val="59595B"/>
                </a:solidFill>
                <a:effectLst/>
                <a:uLnTx/>
                <a:uFillTx/>
                <a:latin typeface="Calibri Light" panose="020F0302020204030204" pitchFamily="34" charset="0"/>
                <a:ea typeface="+mn-ea"/>
                <a:cs typeface="Calibri Light" panose="020F0302020204030204" pitchFamily="34" charset="0"/>
              </a:rPr>
              <a:t>Enabled by 2D Data Matrix codes              directly marked on parts (DPM)</a:t>
            </a:r>
          </a:p>
        </p:txBody>
      </p:sp>
      <p:pic>
        <p:nvPicPr>
          <p:cNvPr id="29" name="Picture 4" descr="datamatrix">
            <a:extLst>
              <a:ext uri="{FF2B5EF4-FFF2-40B4-BE49-F238E27FC236}">
                <a16:creationId xmlns:a16="http://schemas.microsoft.com/office/drawing/2014/main" id="{1FEDAC70-8ACD-4911-80B0-7BC7DC55CDC7}"/>
              </a:ext>
            </a:extLst>
          </p:cNvPr>
          <p:cNvPicPr>
            <a:picLocks noChangeAspect="1" noChangeArrowheads="1"/>
          </p:cNvPicPr>
          <p:nvPr/>
        </p:nvPicPr>
        <p:blipFill>
          <a:blip r:embed="rId3" cstate="screen"/>
          <a:srcRect/>
          <a:stretch>
            <a:fillRect/>
          </a:stretch>
        </p:blipFill>
        <p:spPr bwMode="auto">
          <a:xfrm>
            <a:off x="4617139" y="5563383"/>
            <a:ext cx="488261" cy="480457"/>
          </a:xfrm>
          <a:prstGeom prst="rect">
            <a:avLst/>
          </a:prstGeom>
          <a:noFill/>
        </p:spPr>
      </p:pic>
      <p:sp>
        <p:nvSpPr>
          <p:cNvPr id="9" name="Rectangle 8"/>
          <p:cNvSpPr/>
          <p:nvPr/>
        </p:nvSpPr>
        <p:spPr>
          <a:xfrm>
            <a:off x="1143000" y="2861608"/>
            <a:ext cx="1066800" cy="609600"/>
          </a:xfrm>
          <a:prstGeom prst="rect">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rPr>
              <a:t>V</a:t>
            </a: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endors</a:t>
            </a:r>
          </a:p>
        </p:txBody>
      </p:sp>
      <p:sp>
        <p:nvSpPr>
          <p:cNvPr id="12" name="Rectangle 11"/>
          <p:cNvSpPr/>
          <p:nvPr/>
        </p:nvSpPr>
        <p:spPr>
          <a:xfrm>
            <a:off x="2590800" y="2861608"/>
            <a:ext cx="1066800" cy="609600"/>
          </a:xfrm>
          <a:prstGeom prst="rect">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Receiving Inspection</a:t>
            </a:r>
          </a:p>
        </p:txBody>
      </p:sp>
      <p:sp>
        <p:nvSpPr>
          <p:cNvPr id="13" name="Rectangle 12"/>
          <p:cNvSpPr/>
          <p:nvPr/>
        </p:nvSpPr>
        <p:spPr>
          <a:xfrm>
            <a:off x="4038600" y="2870752"/>
            <a:ext cx="1566672" cy="609600"/>
          </a:xfrm>
          <a:prstGeom prst="rect">
            <a:avLst/>
          </a:prstGeom>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Manufacturing </a:t>
            </a:r>
          </a:p>
        </p:txBody>
      </p:sp>
      <p:sp>
        <p:nvSpPr>
          <p:cNvPr id="14" name="Rectangle 13"/>
          <p:cNvSpPr/>
          <p:nvPr/>
        </p:nvSpPr>
        <p:spPr>
          <a:xfrm>
            <a:off x="5986272" y="2870752"/>
            <a:ext cx="1066800" cy="609600"/>
          </a:xfrm>
          <a:prstGeom prst="rect">
            <a:avLst/>
          </a:prstGeom>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Testing</a:t>
            </a:r>
          </a:p>
        </p:txBody>
      </p:sp>
      <p:sp>
        <p:nvSpPr>
          <p:cNvPr id="15" name="Rectangle 14"/>
          <p:cNvSpPr/>
          <p:nvPr/>
        </p:nvSpPr>
        <p:spPr>
          <a:xfrm>
            <a:off x="7434072" y="2870752"/>
            <a:ext cx="1066800" cy="609600"/>
          </a:xfrm>
          <a:prstGeom prst="rect">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Packaging</a:t>
            </a:r>
          </a:p>
        </p:txBody>
      </p:sp>
      <p:sp>
        <p:nvSpPr>
          <p:cNvPr id="16" name="Rectangle 15"/>
          <p:cNvSpPr/>
          <p:nvPr/>
        </p:nvSpPr>
        <p:spPr>
          <a:xfrm>
            <a:off x="8884920" y="2882944"/>
            <a:ext cx="1066800" cy="609600"/>
          </a:xfrm>
          <a:prstGeom prst="rect">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Shipping</a:t>
            </a:r>
          </a:p>
        </p:txBody>
      </p:sp>
      <p:sp>
        <p:nvSpPr>
          <p:cNvPr id="17" name="Rectangle 16"/>
          <p:cNvSpPr/>
          <p:nvPr/>
        </p:nvSpPr>
        <p:spPr>
          <a:xfrm>
            <a:off x="1143000" y="3907072"/>
            <a:ext cx="2514600" cy="475487"/>
          </a:xfrm>
          <a:prstGeom prst="rect">
            <a:avLst/>
          </a:prstGeom>
          <a:solidFill>
            <a:srgbClr val="0072BC"/>
          </a:solidFill>
          <a:ln>
            <a:prstDash val="sysDot"/>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Barcode (License Tag)</a:t>
            </a:r>
          </a:p>
        </p:txBody>
      </p:sp>
      <p:sp>
        <p:nvSpPr>
          <p:cNvPr id="18" name="Rectangle 17"/>
          <p:cNvSpPr/>
          <p:nvPr/>
        </p:nvSpPr>
        <p:spPr>
          <a:xfrm>
            <a:off x="7434072" y="3907072"/>
            <a:ext cx="2517648" cy="475487"/>
          </a:xfrm>
          <a:prstGeom prst="rect">
            <a:avLst/>
          </a:prstGeom>
          <a:solidFill>
            <a:srgbClr val="0072BC"/>
          </a:solidFill>
          <a:ln>
            <a:prstDash val="sysDot"/>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Barcode (License Tag)</a:t>
            </a:r>
          </a:p>
        </p:txBody>
      </p:sp>
      <p:sp>
        <p:nvSpPr>
          <p:cNvPr id="19" name="Rectangle 18"/>
          <p:cNvSpPr/>
          <p:nvPr/>
        </p:nvSpPr>
        <p:spPr>
          <a:xfrm>
            <a:off x="4038600" y="3907072"/>
            <a:ext cx="3014472" cy="475487"/>
          </a:xfrm>
          <a:prstGeom prst="rect">
            <a:avLst/>
          </a:prstGeom>
          <a:ln>
            <a:prstDash val="sysDot"/>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Directly Marked 2D Codes</a:t>
            </a:r>
          </a:p>
        </p:txBody>
      </p:sp>
      <p:cxnSp>
        <p:nvCxnSpPr>
          <p:cNvPr id="20" name="Straight Connector 19"/>
          <p:cNvCxnSpPr>
            <a:stCxn id="9" idx="2"/>
          </p:cNvCxnSpPr>
          <p:nvPr/>
        </p:nvCxnSpPr>
        <p:spPr>
          <a:xfrm>
            <a:off x="1676400" y="3471208"/>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124200" y="3471208"/>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800600" y="3471208"/>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553200" y="3492544"/>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001000" y="3492544"/>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448800" y="3480352"/>
            <a:ext cx="0" cy="43586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9" idx="3"/>
            <a:endCxn id="12" idx="1"/>
          </p:cNvCxnSpPr>
          <p:nvPr/>
        </p:nvCxnSpPr>
        <p:spPr>
          <a:xfrm>
            <a:off x="2209800" y="3166408"/>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657600" y="3166408"/>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605272" y="3166408"/>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53072" y="3154216"/>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8500872" y="3178600"/>
            <a:ext cx="381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4690872" y="4833664"/>
            <a:ext cx="1709928" cy="475487"/>
          </a:xfrm>
          <a:prstGeom prst="rect">
            <a:avLst/>
          </a:prstGeom>
          <a:solidFill>
            <a:srgbClr val="0072BC"/>
          </a:solidFill>
          <a:ln>
            <a:prstDash val="sysDot"/>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alibri Light" panose="020F0302020204030204" pitchFamily="34" charset="0"/>
                <a:ea typeface="+mn-ea"/>
                <a:cs typeface="Calibri Light" panose="020F0302020204030204" pitchFamily="34" charset="0"/>
              </a:rPr>
              <a:t>Database</a:t>
            </a:r>
          </a:p>
        </p:txBody>
      </p:sp>
      <p:sp>
        <p:nvSpPr>
          <p:cNvPr id="35" name="Oval 34"/>
          <p:cNvSpPr/>
          <p:nvPr/>
        </p:nvSpPr>
        <p:spPr>
          <a:xfrm>
            <a:off x="3429000" y="2480608"/>
            <a:ext cx="4187952" cy="2057400"/>
          </a:xfrm>
          <a:prstGeom prst="ellipse">
            <a:avLst/>
          </a:prstGeom>
          <a:noFill/>
          <a:ln>
            <a:prstDash val="dash"/>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36" name="TextBox 35"/>
          <p:cNvSpPr txBox="1"/>
          <p:nvPr/>
        </p:nvSpPr>
        <p:spPr>
          <a:xfrm>
            <a:off x="6147337" y="2046039"/>
            <a:ext cx="2103599" cy="623248"/>
          </a:xfrm>
          <a:prstGeom prst="rect">
            <a:avLst/>
          </a:prstGeom>
          <a:noFill/>
        </p:spPr>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1" u="none" strike="noStrike" kern="1200" cap="none" spc="0" normalizeH="0" baseline="0" noProof="0" dirty="0" smtClean="0">
                <a:ln>
                  <a:noFill/>
                </a:ln>
                <a:solidFill>
                  <a:srgbClr val="4D4D4D"/>
                </a:solidFill>
                <a:effectLst/>
                <a:uLnTx/>
                <a:uFillTx/>
                <a:latin typeface="Calibri Light" panose="020F0302020204030204" pitchFamily="34" charset="0"/>
                <a:ea typeface="+mn-ea"/>
                <a:cs typeface="Calibri Light" panose="020F0302020204030204" pitchFamily="34" charset="0"/>
              </a:rPr>
              <a:t>Unit Level</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1" u="none" strike="noStrike" kern="1200" cap="none" spc="0" normalizeH="0" baseline="0" noProof="0" dirty="0" smtClean="0">
                <a:ln>
                  <a:noFill/>
                </a:ln>
                <a:solidFill>
                  <a:srgbClr val="4D4D4D"/>
                </a:solidFill>
                <a:effectLst/>
                <a:uLnTx/>
                <a:uFillTx/>
                <a:latin typeface="Calibri Light" panose="020F0302020204030204" pitchFamily="34" charset="0"/>
                <a:ea typeface="+mn-ea"/>
                <a:cs typeface="Calibri Light" panose="020F0302020204030204" pitchFamily="34" charset="0"/>
              </a:rPr>
              <a:t>Traceability </a:t>
            </a:r>
          </a:p>
        </p:txBody>
      </p:sp>
      <p:cxnSp>
        <p:nvCxnSpPr>
          <p:cNvPr id="37" name="Straight Arrow Connector 36"/>
          <p:cNvCxnSpPr>
            <a:stCxn id="19" idx="2"/>
            <a:endCxn id="34" idx="0"/>
          </p:cNvCxnSpPr>
          <p:nvPr/>
        </p:nvCxnSpPr>
        <p:spPr>
          <a:xfrm>
            <a:off x="5545836" y="4382559"/>
            <a:ext cx="0" cy="4511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17" idx="2"/>
            <a:endCxn id="34" idx="1"/>
          </p:cNvCxnSpPr>
          <p:nvPr/>
        </p:nvCxnSpPr>
        <p:spPr>
          <a:xfrm rot="16200000" flipH="1">
            <a:off x="3201162" y="3581697"/>
            <a:ext cx="688849" cy="22905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5400000">
            <a:off x="7201662" y="3563409"/>
            <a:ext cx="688849" cy="229057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B72115B6-00E7-47AD-AF53-C8C48B93CCFC}"/>
              </a:ext>
            </a:extLst>
          </p:cNvPr>
          <p:cNvPicPr>
            <a:picLocks noChangeAspect="1"/>
          </p:cNvPicPr>
          <p:nvPr/>
        </p:nvPicPr>
        <p:blipFill>
          <a:blip r:embed="rId4"/>
          <a:stretch>
            <a:fillRect/>
          </a:stretch>
        </p:blipFill>
        <p:spPr>
          <a:xfrm>
            <a:off x="9048204" y="5246874"/>
            <a:ext cx="994495" cy="889720"/>
          </a:xfrm>
          <a:prstGeom prst="rect">
            <a:avLst/>
          </a:prstGeom>
        </p:spPr>
      </p:pic>
      <p:pic>
        <p:nvPicPr>
          <p:cNvPr id="47" name="Picture 46" descr="http://www.cmslaser.com/wp-content/uploads/2014/04/laser-marking-on-automotive-plastic-park-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40093" y="5219788"/>
            <a:ext cx="1284449" cy="96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57492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5" name="Picture 9" descr="Image result for OMRON FH-V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59211" y="3549092"/>
            <a:ext cx="755822" cy="75582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5C94359-9E2D-4F80-B809-3EB927632998}"/>
              </a:ext>
            </a:extLst>
          </p:cNvPr>
          <p:cNvPicPr>
            <a:picLocks noChangeAspect="1"/>
          </p:cNvPicPr>
          <p:nvPr/>
        </p:nvPicPr>
        <p:blipFill>
          <a:blip r:embed="rId5"/>
          <a:stretch>
            <a:fillRect/>
          </a:stretch>
        </p:blipFill>
        <p:spPr>
          <a:xfrm>
            <a:off x="1360208" y="3251430"/>
            <a:ext cx="1371587" cy="1213201"/>
          </a:xfrm>
          <a:prstGeom prst="rect">
            <a:avLst/>
          </a:prstGeom>
        </p:spPr>
      </p:pic>
      <p:sp>
        <p:nvSpPr>
          <p:cNvPr id="2" name="Slide Number Placeholder 1"/>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902CD56-7F31-314D-9802-8E070DE4BA6B}" type="slidenum">
              <a:rPr kumimoji="0" lang="en-US" sz="1000" b="1" i="0" u="none" strike="noStrike" kern="1200" cap="none" spc="0" normalizeH="0" baseline="0" noProof="0" smtClean="0">
                <a:ln>
                  <a:noFill/>
                </a:ln>
                <a:solidFill>
                  <a:srgbClr val="000000">
                    <a:tint val="75000"/>
                  </a:srgbClr>
                </a:solidFill>
                <a:effectLst/>
                <a:uLnTx/>
                <a:uFillTx/>
                <a:latin typeface="Calibri Light" panose="020F0302020204030204" pitchFamily="34" charset="0"/>
                <a:ea typeface="+mn-ea"/>
                <a:cs typeface="Calibri Light" panose="020F03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000" b="1" i="0" u="none" strike="noStrike" kern="1200" cap="none" spc="0" normalizeH="0" baseline="0" noProof="0" dirty="0">
              <a:ln>
                <a:noFill/>
              </a:ln>
              <a:solidFill>
                <a:srgbClr val="000000">
                  <a:tint val="75000"/>
                </a:srgbClr>
              </a:solidFill>
              <a:effectLst/>
              <a:uLnTx/>
              <a:uFillTx/>
              <a:latin typeface="Calibri Light" panose="020F0302020204030204" pitchFamily="34" charset="0"/>
              <a:ea typeface="+mn-ea"/>
              <a:cs typeface="Calibri Light" panose="020F0302020204030204" pitchFamily="34" charset="0"/>
            </a:endParaRPr>
          </a:p>
        </p:txBody>
      </p:sp>
      <p:sp>
        <p:nvSpPr>
          <p:cNvPr id="1308674" name="Rectangle 2"/>
          <p:cNvSpPr>
            <a:spLocks noGrp="1" noChangeArrowheads="1"/>
          </p:cNvSpPr>
          <p:nvPr>
            <p:ph type="title"/>
          </p:nvPr>
        </p:nvSpPr>
        <p:spPr>
          <a:xfrm>
            <a:off x="637214" y="319310"/>
            <a:ext cx="10429874" cy="576072"/>
          </a:xfrm>
        </p:spPr>
        <p:txBody>
          <a:bodyPr>
            <a:noAutofit/>
          </a:bodyPr>
          <a:lstStyle/>
          <a:p>
            <a:r>
              <a:rPr lang="en-US" sz="3000" b="1" spc="0" dirty="0">
                <a:latin typeface="Calibri Light" panose="020F0302020204030204" pitchFamily="34" charset="0"/>
                <a:cs typeface="Calibri Light" panose="020F0302020204030204" pitchFamily="34" charset="0"/>
              </a:rPr>
              <a:t>The OMRON MVRC </a:t>
            </a:r>
            <a:r>
              <a:rPr lang="en-US" sz="3000" b="1" spc="0" dirty="0" smtClean="0">
                <a:latin typeface="Calibri Light" panose="020F0302020204030204" pitchFamily="34" charset="0"/>
                <a:cs typeface="Calibri Light" panose="020F0302020204030204" pitchFamily="34" charset="0"/>
              </a:rPr>
              <a:t>Traceability Deployment Methodology</a:t>
            </a:r>
            <a:endParaRPr lang="en-US" sz="3000" b="1" spc="0" dirty="0">
              <a:latin typeface="Calibri Light" panose="020F0302020204030204" pitchFamily="34" charset="0"/>
              <a:cs typeface="Calibri Light" panose="020F0302020204030204" pitchFamily="34" charset="0"/>
            </a:endParaRPr>
          </a:p>
        </p:txBody>
      </p:sp>
      <p:sp>
        <p:nvSpPr>
          <p:cNvPr id="1308676" name="Text Box 4"/>
          <p:cNvSpPr txBox="1">
            <a:spLocks noChangeArrowheads="1"/>
          </p:cNvSpPr>
          <p:nvPr/>
        </p:nvSpPr>
        <p:spPr bwMode="auto">
          <a:xfrm>
            <a:off x="8428701" y="1451833"/>
            <a:ext cx="1676400" cy="307777"/>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rPr>
              <a:t>COMMUNICATE</a:t>
            </a:r>
            <a:endParaRPr kumimoji="0" lang="en-US" sz="28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endParaRPr>
          </a:p>
        </p:txBody>
      </p:sp>
      <p:sp>
        <p:nvSpPr>
          <p:cNvPr id="1308677" name="Text Box 5"/>
          <p:cNvSpPr txBox="1">
            <a:spLocks noChangeArrowheads="1"/>
          </p:cNvSpPr>
          <p:nvPr/>
        </p:nvSpPr>
        <p:spPr bwMode="auto">
          <a:xfrm>
            <a:off x="6101036" y="1457935"/>
            <a:ext cx="1676400" cy="307777"/>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rPr>
              <a:t>READ</a:t>
            </a:r>
            <a:endParaRPr kumimoji="0" lang="en-US" sz="28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endParaRPr>
          </a:p>
        </p:txBody>
      </p:sp>
      <p:sp>
        <p:nvSpPr>
          <p:cNvPr id="1308678" name="Text Box 6"/>
          <p:cNvSpPr txBox="1">
            <a:spLocks noChangeArrowheads="1"/>
          </p:cNvSpPr>
          <p:nvPr/>
        </p:nvSpPr>
        <p:spPr bwMode="auto">
          <a:xfrm>
            <a:off x="1445705" y="1451833"/>
            <a:ext cx="1676400" cy="307777"/>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rPr>
              <a:t>MARK</a:t>
            </a:r>
            <a:endParaRPr kumimoji="0" lang="en-US" sz="28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endParaRPr>
          </a:p>
        </p:txBody>
      </p:sp>
      <p:sp>
        <p:nvSpPr>
          <p:cNvPr id="1308679" name="Text Box 7"/>
          <p:cNvSpPr txBox="1">
            <a:spLocks noChangeArrowheads="1"/>
          </p:cNvSpPr>
          <p:nvPr/>
        </p:nvSpPr>
        <p:spPr bwMode="auto">
          <a:xfrm>
            <a:off x="3773370" y="1459332"/>
            <a:ext cx="1676400" cy="307777"/>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rPr>
              <a:t>VERIFY</a:t>
            </a:r>
            <a:endParaRPr kumimoji="0" lang="en-US" sz="2800"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Light" panose="020F0302020204030204" pitchFamily="34" charset="0"/>
              <a:ea typeface="+mn-ea"/>
              <a:cs typeface="Calibri Light" panose="020F0302020204030204" pitchFamily="34" charset="0"/>
            </a:endParaRPr>
          </a:p>
        </p:txBody>
      </p:sp>
      <p:sp>
        <p:nvSpPr>
          <p:cNvPr id="1308681" name="Text Box 9"/>
          <p:cNvSpPr txBox="1">
            <a:spLocks noChangeArrowheads="1"/>
          </p:cNvSpPr>
          <p:nvPr/>
        </p:nvSpPr>
        <p:spPr bwMode="auto">
          <a:xfrm>
            <a:off x="6092188" y="4825717"/>
            <a:ext cx="1963102" cy="1200329"/>
          </a:xfrm>
          <a:prstGeom prst="rect">
            <a:avLst/>
          </a:prstGeom>
          <a:noFill/>
          <a:ln w="12700">
            <a:noFill/>
            <a:miter lim="800000"/>
            <a:headEnd type="none" w="sm" len="sm"/>
            <a:tailEnd type="none" w="sm" len="sm"/>
          </a:ln>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Select prop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reader</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configurations</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for </a:t>
            </a: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the application </a:t>
            </a:r>
            <a:endPar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308682" name="Text Box 10"/>
          <p:cNvSpPr txBox="1">
            <a:spLocks noChangeArrowheads="1"/>
          </p:cNvSpPr>
          <p:nvPr/>
        </p:nvSpPr>
        <p:spPr bwMode="auto">
          <a:xfrm>
            <a:off x="8645536" y="4730983"/>
            <a:ext cx="1502991" cy="1200329"/>
          </a:xfrm>
          <a:prstGeom prst="rect">
            <a:avLst/>
          </a:prstGeom>
          <a:noFill/>
          <a:ln w="12700">
            <a:noFill/>
            <a:miter lim="800000"/>
            <a:headEnd type="none" w="sm" len="sm"/>
            <a:tailEnd type="none" w="sm" len="sm"/>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mmunicate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data to the PLC and beyond</a:t>
            </a:r>
            <a:endPar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308683" name="Text Box 11"/>
          <p:cNvSpPr txBox="1">
            <a:spLocks noChangeArrowheads="1"/>
          </p:cNvSpPr>
          <p:nvPr/>
        </p:nvSpPr>
        <p:spPr bwMode="auto">
          <a:xfrm>
            <a:off x="1143000" y="4687217"/>
            <a:ext cx="2281810" cy="1477328"/>
          </a:xfrm>
          <a:prstGeom prst="rect">
            <a:avLst/>
          </a:prstGeom>
          <a:solidFill>
            <a:schemeClr val="bg1"/>
          </a:solidFill>
          <a:ln w="12700">
            <a:solidFill>
              <a:schemeClr val="bg1"/>
            </a:solidFill>
            <a:miter lim="800000"/>
            <a:headEnd type="none" w="sm" len="sm"/>
            <a:tailEnd type="none" w="sm" len="sm"/>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Select the right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marking/printing process and </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process</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parameters</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for </a:t>
            </a: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the application</a:t>
            </a:r>
            <a:endPar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308684" name="Text Box 12"/>
          <p:cNvSpPr txBox="1">
            <a:spLocks noChangeArrowheads="1"/>
          </p:cNvSpPr>
          <p:nvPr/>
        </p:nvSpPr>
        <p:spPr bwMode="auto">
          <a:xfrm>
            <a:off x="3722740" y="4825717"/>
            <a:ext cx="2012281" cy="1200329"/>
          </a:xfrm>
          <a:prstGeom prst="rect">
            <a:avLst/>
          </a:prstGeom>
          <a:noFill/>
          <a:ln w="12700">
            <a:noFill/>
            <a:miter lim="800000"/>
            <a:headEnd type="none" w="sm" len="sm"/>
            <a:tailEnd type="none" w="sm" len="sm"/>
          </a:ln>
          <a:effectLst/>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Use</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off-line an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in-line verifiers to </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heck/monitor </a:t>
            </a:r>
            <a:b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en-US"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mark/print </a:t>
            </a:r>
            <a:r>
              <a:rPr kumimoji="0" lang="en-US"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quality </a:t>
            </a:r>
          </a:p>
        </p:txBody>
      </p:sp>
      <p:pic>
        <p:nvPicPr>
          <p:cNvPr id="5" name="Picture 4">
            <a:extLst>
              <a:ext uri="{FF2B5EF4-FFF2-40B4-BE49-F238E27FC236}">
                <a16:creationId xmlns:a16="http://schemas.microsoft.com/office/drawing/2014/main" id="{4AC8175D-75BC-4A57-B66B-5ECA49B9DA68}"/>
              </a:ext>
            </a:extLst>
          </p:cNvPr>
          <p:cNvPicPr>
            <a:picLocks noChangeAspect="1"/>
          </p:cNvPicPr>
          <p:nvPr/>
        </p:nvPicPr>
        <p:blipFill>
          <a:blip r:embed="rId6"/>
          <a:stretch>
            <a:fillRect/>
          </a:stretch>
        </p:blipFill>
        <p:spPr>
          <a:xfrm>
            <a:off x="6086181" y="2147951"/>
            <a:ext cx="1695065" cy="930055"/>
          </a:xfrm>
          <a:prstGeom prst="rect">
            <a:avLst/>
          </a:prstGeom>
        </p:spPr>
      </p:pic>
      <p:pic>
        <p:nvPicPr>
          <p:cNvPr id="28" name="Picture 27">
            <a:extLst>
              <a:ext uri="{FF2B5EF4-FFF2-40B4-BE49-F238E27FC236}">
                <a16:creationId xmlns:a16="http://schemas.microsoft.com/office/drawing/2014/main" id="{30589BDE-DA5B-47E6-991C-6548C624BD05}"/>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22385" b="84477" l="40052" r="70208"/>
                    </a14:imgEffect>
                  </a14:imgLayer>
                </a14:imgProps>
              </a:ext>
              <a:ext uri="{28A0092B-C50C-407E-A947-70E740481C1C}">
                <a14:useLocalDpi xmlns:a14="http://schemas.microsoft.com/office/drawing/2010/main" val="0"/>
              </a:ext>
            </a:extLst>
          </a:blip>
          <a:srcRect l="39475" t="20947" r="29402" b="14491"/>
          <a:stretch/>
        </p:blipFill>
        <p:spPr>
          <a:xfrm flipH="1">
            <a:off x="7312593" y="3277588"/>
            <a:ext cx="567034" cy="544651"/>
          </a:xfrm>
          <a:prstGeom prst="rect">
            <a:avLst/>
          </a:prstGeom>
        </p:spPr>
      </p:pic>
      <p:pic>
        <p:nvPicPr>
          <p:cNvPr id="24578" name="Picture 2" descr="Image result for NX 102 controll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92319" y="3318640"/>
            <a:ext cx="1072699" cy="107269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0"/>
          <a:stretch>
            <a:fillRect/>
          </a:stretch>
        </p:blipFill>
        <p:spPr>
          <a:xfrm>
            <a:off x="8407775" y="2157900"/>
            <a:ext cx="1692848" cy="954745"/>
          </a:xfrm>
          <a:prstGeom prst="rect">
            <a:avLst/>
          </a:prstGeom>
        </p:spPr>
      </p:pic>
      <p:pic>
        <p:nvPicPr>
          <p:cNvPr id="30" name="Picture 29">
            <a:extLst>
              <a:ext uri="{FF2B5EF4-FFF2-40B4-BE49-F238E27FC236}">
                <a16:creationId xmlns:a16="http://schemas.microsoft.com/office/drawing/2014/main" id="{95F94F0A-71C4-41A4-A4B3-4E84136B314C}"/>
              </a:ext>
            </a:extLst>
          </p:cNvPr>
          <p:cNvPicPr>
            <a:picLocks noChangeAspect="1"/>
          </p:cNvPicPr>
          <p:nvPr/>
        </p:nvPicPr>
        <p:blipFill>
          <a:blip r:embed="rId11"/>
          <a:stretch>
            <a:fillRect/>
          </a:stretch>
        </p:blipFill>
        <p:spPr>
          <a:xfrm>
            <a:off x="3745573" y="2149777"/>
            <a:ext cx="1714079" cy="874912"/>
          </a:xfrm>
          <a:prstGeom prst="rect">
            <a:avLst/>
          </a:prstGeom>
        </p:spPr>
      </p:pic>
      <p:sp>
        <p:nvSpPr>
          <p:cNvPr id="7" name="TextBox 6"/>
          <p:cNvSpPr txBox="1"/>
          <p:nvPr/>
        </p:nvSpPr>
        <p:spPr>
          <a:xfrm>
            <a:off x="1981200" y="963879"/>
            <a:ext cx="609600" cy="461665"/>
          </a:xfrm>
          <a:prstGeom prst="rect">
            <a:avLst/>
          </a:prstGeom>
          <a:noFill/>
        </p:spPr>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M</a:t>
            </a:r>
            <a:endParaRPr kumimoji="0" lang="en-US" sz="2400" b="0"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endParaRPr>
          </a:p>
        </p:txBody>
      </p:sp>
      <p:sp>
        <p:nvSpPr>
          <p:cNvPr id="31" name="TextBox 30"/>
          <p:cNvSpPr txBox="1"/>
          <p:nvPr/>
        </p:nvSpPr>
        <p:spPr>
          <a:xfrm>
            <a:off x="4262132" y="960547"/>
            <a:ext cx="609600" cy="461665"/>
          </a:xfrm>
          <a:prstGeom prst="rect">
            <a:avLst/>
          </a:prstGeom>
          <a:noFill/>
        </p:spPr>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V</a:t>
            </a:r>
            <a:endParaRPr kumimoji="0" lang="en-US" sz="2400" b="0"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endParaRPr>
          </a:p>
        </p:txBody>
      </p:sp>
      <p:sp>
        <p:nvSpPr>
          <p:cNvPr id="32" name="TextBox 31"/>
          <p:cNvSpPr txBox="1"/>
          <p:nvPr/>
        </p:nvSpPr>
        <p:spPr>
          <a:xfrm>
            <a:off x="6635153" y="974668"/>
            <a:ext cx="609600" cy="461665"/>
          </a:xfrm>
          <a:prstGeom prst="rect">
            <a:avLst/>
          </a:prstGeom>
          <a:noFill/>
        </p:spPr>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R</a:t>
            </a:r>
            <a:endParaRPr kumimoji="0" lang="en-US" sz="2400" b="0"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endParaRPr>
          </a:p>
        </p:txBody>
      </p:sp>
      <p:sp>
        <p:nvSpPr>
          <p:cNvPr id="33" name="TextBox 32"/>
          <p:cNvSpPr txBox="1"/>
          <p:nvPr/>
        </p:nvSpPr>
        <p:spPr>
          <a:xfrm>
            <a:off x="8914250" y="986135"/>
            <a:ext cx="609600" cy="461665"/>
          </a:xfrm>
          <a:prstGeom prst="rect">
            <a:avLst/>
          </a:prstGeom>
          <a:noFill/>
        </p:spPr>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rPr>
              <a:t>C</a:t>
            </a:r>
            <a:endParaRPr kumimoji="0" lang="en-US" sz="2400" b="0" i="0" u="none" strike="noStrike" kern="1200" cap="none" spc="0" normalizeH="0" baseline="0" noProof="0" dirty="0">
              <a:ln>
                <a:noFill/>
              </a:ln>
              <a:solidFill>
                <a:srgbClr val="0070C0"/>
              </a:solidFill>
              <a:effectLst/>
              <a:uLnTx/>
              <a:uFillTx/>
              <a:latin typeface="Calibri Light" panose="020F0302020204030204" pitchFamily="34" charset="0"/>
              <a:ea typeface="+mn-ea"/>
              <a:cs typeface="Calibri Light" panose="020F0302020204030204" pitchFamily="34" charset="0"/>
            </a:endParaRPr>
          </a:p>
        </p:txBody>
      </p:sp>
      <p:pic>
        <p:nvPicPr>
          <p:cNvPr id="35" name="Picture 34">
            <a:extLst>
              <a:ext uri="{FF2B5EF4-FFF2-40B4-BE49-F238E27FC236}">
                <a16:creationId xmlns:a16="http://schemas.microsoft.com/office/drawing/2014/main" id="{017E0663-E8C1-45C4-A6CC-7AB72E97FC8F}"/>
              </a:ext>
            </a:extLst>
          </p:cNvPr>
          <p:cNvPicPr>
            <a:picLocks noChangeAspect="1"/>
          </p:cNvPicPr>
          <p:nvPr/>
        </p:nvPicPr>
        <p:blipFill>
          <a:blip r:embed="rId12"/>
          <a:stretch>
            <a:fillRect/>
          </a:stretch>
        </p:blipFill>
        <p:spPr>
          <a:xfrm>
            <a:off x="6291063" y="3318640"/>
            <a:ext cx="440007" cy="676934"/>
          </a:xfrm>
          <a:prstGeom prst="rect">
            <a:avLst/>
          </a:prstGeom>
        </p:spPr>
      </p:pic>
      <p:pic>
        <p:nvPicPr>
          <p:cNvPr id="9" name="Picture 8"/>
          <p:cNvPicPr>
            <a:picLocks noChangeAspect="1"/>
          </p:cNvPicPr>
          <p:nvPr/>
        </p:nvPicPr>
        <p:blipFill>
          <a:blip r:embed="rId13"/>
          <a:stretch>
            <a:fillRect/>
          </a:stretch>
        </p:blipFill>
        <p:spPr>
          <a:xfrm>
            <a:off x="6212085" y="4187693"/>
            <a:ext cx="526104" cy="445905"/>
          </a:xfrm>
          <a:prstGeom prst="rect">
            <a:avLst/>
          </a:prstGeom>
        </p:spPr>
      </p:pic>
      <p:pic>
        <p:nvPicPr>
          <p:cNvPr id="10" name="Picture 9"/>
          <p:cNvPicPr>
            <a:picLocks noChangeAspect="1"/>
          </p:cNvPicPr>
          <p:nvPr/>
        </p:nvPicPr>
        <p:blipFill>
          <a:blip r:embed="rId14"/>
          <a:stretch>
            <a:fillRect/>
          </a:stretch>
        </p:blipFill>
        <p:spPr>
          <a:xfrm>
            <a:off x="7324772" y="4187693"/>
            <a:ext cx="595091" cy="532514"/>
          </a:xfrm>
          <a:prstGeom prst="rect">
            <a:avLst/>
          </a:prstGeom>
        </p:spPr>
      </p:pic>
      <p:pic>
        <p:nvPicPr>
          <p:cNvPr id="41" name="Picture 40"/>
          <p:cNvPicPr>
            <a:picLocks noChangeAspect="1"/>
          </p:cNvPicPr>
          <p:nvPr/>
        </p:nvPicPr>
        <p:blipFill>
          <a:blip r:embed="rId15"/>
          <a:stretch>
            <a:fillRect/>
          </a:stretch>
        </p:blipFill>
        <p:spPr>
          <a:xfrm>
            <a:off x="2223608" y="2072918"/>
            <a:ext cx="964533" cy="1124708"/>
          </a:xfrm>
          <a:prstGeom prst="rect">
            <a:avLst/>
          </a:prstGeom>
        </p:spPr>
      </p:pic>
      <p:pic>
        <p:nvPicPr>
          <p:cNvPr id="42" name="Picture 41">
            <a:extLst>
              <a:ext uri="{FF2B5EF4-FFF2-40B4-BE49-F238E27FC236}">
                <a16:creationId xmlns:a16="http://schemas.microsoft.com/office/drawing/2014/main" id="{22AC431B-0503-4146-8A95-A89BC7972EC9}"/>
              </a:ext>
            </a:extLst>
          </p:cNvPr>
          <p:cNvPicPr>
            <a:picLocks noChangeAspect="1"/>
          </p:cNvPicPr>
          <p:nvPr/>
        </p:nvPicPr>
        <p:blipFill>
          <a:blip r:embed="rId16"/>
          <a:stretch>
            <a:fillRect/>
          </a:stretch>
        </p:blipFill>
        <p:spPr>
          <a:xfrm>
            <a:off x="3968436" y="3832205"/>
            <a:ext cx="1248422" cy="1068132"/>
          </a:xfrm>
          <a:prstGeom prst="rect">
            <a:avLst/>
          </a:prstGeom>
        </p:spPr>
      </p:pic>
      <p:pic>
        <p:nvPicPr>
          <p:cNvPr id="22" name="Picture 1"/>
          <p:cNvPicPr>
            <a:picLocks noChangeAspect="1" noChangeArrowheads="1"/>
          </p:cNvPicPr>
          <p:nvPr/>
        </p:nvPicPr>
        <p:blipFill>
          <a:blip r:embed="rId17" cstate="screen"/>
          <a:stretch>
            <a:fillRect/>
          </a:stretch>
        </p:blipFill>
        <p:spPr bwMode="auto">
          <a:xfrm>
            <a:off x="3644487" y="3135722"/>
            <a:ext cx="768741" cy="808402"/>
          </a:xfrm>
          <a:prstGeom prst="rect">
            <a:avLst/>
          </a:prstGeom>
          <a:noFill/>
          <a:ln w="9525">
            <a:noFill/>
            <a:miter lim="800000"/>
            <a:headEnd/>
            <a:tailEnd/>
          </a:ln>
        </p:spPr>
      </p:pic>
      <p:pic>
        <p:nvPicPr>
          <p:cNvPr id="24" name="Picture 23">
            <a:extLst>
              <a:ext uri="{FF2B5EF4-FFF2-40B4-BE49-F238E27FC236}">
                <a16:creationId xmlns:a16="http://schemas.microsoft.com/office/drawing/2014/main" id="{AB1CA504-B7BE-41AE-9B13-833FC28046D0}"/>
              </a:ext>
            </a:extLst>
          </p:cNvPr>
          <p:cNvPicPr>
            <a:picLocks noChangeAspect="1"/>
          </p:cNvPicPr>
          <p:nvPr/>
        </p:nvPicPr>
        <p:blipFill>
          <a:blip r:embed="rId18"/>
          <a:stretch>
            <a:fillRect/>
          </a:stretch>
        </p:blipFill>
        <p:spPr>
          <a:xfrm>
            <a:off x="4672524" y="3098326"/>
            <a:ext cx="949699" cy="1261251"/>
          </a:xfrm>
          <a:prstGeom prst="rect">
            <a:avLst/>
          </a:prstGeom>
        </p:spPr>
      </p:pic>
      <p:pic>
        <p:nvPicPr>
          <p:cNvPr id="34" name="Picture 33"/>
          <p:cNvPicPr>
            <a:picLocks noChangeAspect="1"/>
          </p:cNvPicPr>
          <p:nvPr/>
        </p:nvPicPr>
        <p:blipFill>
          <a:blip r:embed="rId19"/>
          <a:stretch>
            <a:fillRect/>
          </a:stretch>
        </p:blipFill>
        <p:spPr>
          <a:xfrm>
            <a:off x="10421007" y="3565680"/>
            <a:ext cx="1547619" cy="859788"/>
          </a:xfrm>
          <a:prstGeom prst="rect">
            <a:avLst/>
          </a:prstGeom>
        </p:spPr>
      </p:pic>
      <p:pic>
        <p:nvPicPr>
          <p:cNvPr id="36" name="Picture 35"/>
          <p:cNvPicPr>
            <a:picLocks noChangeAspect="1"/>
          </p:cNvPicPr>
          <p:nvPr/>
        </p:nvPicPr>
        <p:blipFill rotWithShape="1">
          <a:blip r:embed="rId20"/>
          <a:srcRect t="28516" r="2786" b="17142"/>
          <a:stretch/>
        </p:blipFill>
        <p:spPr>
          <a:xfrm>
            <a:off x="10439400" y="5791200"/>
            <a:ext cx="1473922" cy="421121"/>
          </a:xfrm>
          <a:prstGeom prst="rect">
            <a:avLst/>
          </a:prstGeom>
        </p:spPr>
      </p:pic>
      <p:pic>
        <p:nvPicPr>
          <p:cNvPr id="37" name="Picture 36"/>
          <p:cNvPicPr>
            <a:picLocks noChangeAspect="1"/>
          </p:cNvPicPr>
          <p:nvPr/>
        </p:nvPicPr>
        <p:blipFill>
          <a:blip r:embed="rId21"/>
          <a:stretch>
            <a:fillRect/>
          </a:stretch>
        </p:blipFill>
        <p:spPr>
          <a:xfrm>
            <a:off x="10443986" y="4411336"/>
            <a:ext cx="1599068" cy="1111620"/>
          </a:xfrm>
          <a:prstGeom prst="rect">
            <a:avLst/>
          </a:prstGeom>
        </p:spPr>
      </p:pic>
      <p:pic>
        <p:nvPicPr>
          <p:cNvPr id="38" name="Picture 37"/>
          <p:cNvPicPr>
            <a:picLocks noChangeAspect="1"/>
          </p:cNvPicPr>
          <p:nvPr/>
        </p:nvPicPr>
        <p:blipFill>
          <a:blip r:embed="rId22"/>
          <a:stretch>
            <a:fillRect/>
          </a:stretch>
        </p:blipFill>
        <p:spPr>
          <a:xfrm>
            <a:off x="10760177" y="1533797"/>
            <a:ext cx="909700" cy="696314"/>
          </a:xfrm>
          <a:prstGeom prst="rect">
            <a:avLst/>
          </a:prstGeom>
        </p:spPr>
      </p:pic>
      <p:pic>
        <p:nvPicPr>
          <p:cNvPr id="40" name="Picture 39"/>
          <p:cNvPicPr>
            <a:picLocks noChangeAspect="1"/>
          </p:cNvPicPr>
          <p:nvPr/>
        </p:nvPicPr>
        <p:blipFill>
          <a:blip r:embed="rId23"/>
          <a:stretch>
            <a:fillRect/>
          </a:stretch>
        </p:blipFill>
        <p:spPr>
          <a:xfrm>
            <a:off x="10908036" y="2450569"/>
            <a:ext cx="998640" cy="1062772"/>
          </a:xfrm>
          <a:prstGeom prst="rect">
            <a:avLst/>
          </a:prstGeom>
        </p:spPr>
      </p:pic>
    </p:spTree>
    <p:custDataLst>
      <p:tags r:id="rId1"/>
    </p:custDataLst>
    <p:extLst>
      <p:ext uri="{BB962C8B-B14F-4D97-AF65-F5344CB8AC3E}">
        <p14:creationId xmlns:p14="http://schemas.microsoft.com/office/powerpoint/2010/main" val="16770915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b="1" spc="0" dirty="0" smtClean="0">
                <a:latin typeface="Calibri Light" panose="020F0302020204030204" pitchFamily="34" charset="0"/>
                <a:cs typeface="Calibri Light" panose="020F0302020204030204" pitchFamily="34" charset="0"/>
              </a:rPr>
              <a:t>Typical </a:t>
            </a:r>
            <a:r>
              <a:rPr lang="en-US" sz="3000" b="1" spc="0" dirty="0">
                <a:latin typeface="Calibri Light" panose="020F0302020204030204" pitchFamily="34" charset="0"/>
                <a:cs typeface="Calibri Light" panose="020F0302020204030204" pitchFamily="34" charset="0"/>
              </a:rPr>
              <a:t>Traceability Software Tasks</a:t>
            </a:r>
          </a:p>
        </p:txBody>
      </p:sp>
      <p:sp>
        <p:nvSpPr>
          <p:cNvPr id="3" name="Content Placeholder 2"/>
          <p:cNvSpPr>
            <a:spLocks noGrp="1"/>
          </p:cNvSpPr>
          <p:nvPr>
            <p:ph idx="1"/>
          </p:nvPr>
        </p:nvSpPr>
        <p:spPr>
          <a:xfrm>
            <a:off x="815414" y="804672"/>
            <a:ext cx="6822400" cy="5443728"/>
          </a:xfrm>
        </p:spPr>
        <p:txBody>
          <a:bodyPr>
            <a:normAutofit lnSpcReduction="10000"/>
          </a:bodyPr>
          <a:lstStyle/>
          <a:p>
            <a:r>
              <a:rPr lang="en-US" sz="1800" dirty="0">
                <a:solidFill>
                  <a:srgbClr val="003366"/>
                </a:solidFill>
                <a:latin typeface="Calibri Light" panose="020F0302020204030204" pitchFamily="34" charset="0"/>
                <a:cs typeface="Calibri Light" panose="020F0302020204030204" pitchFamily="34" charset="0"/>
              </a:rPr>
              <a:t>Connect to and communicate with:</a:t>
            </a:r>
          </a:p>
          <a:p>
            <a:pPr marL="342900" indent="-342900">
              <a:buFont typeface="Calibri Light" panose="020F0302020204030204" pitchFamily="34" charset="0"/>
              <a:buChar char="-"/>
            </a:pPr>
            <a:r>
              <a:rPr lang="en-US" sz="1600" dirty="0">
                <a:solidFill>
                  <a:srgbClr val="003366"/>
                </a:solidFill>
                <a:latin typeface="Calibri Light" panose="020F0302020204030204" pitchFamily="34" charset="0"/>
                <a:cs typeface="Calibri Light" panose="020F0302020204030204" pitchFamily="34" charset="0"/>
              </a:rPr>
              <a:t>Markers, printers, barcode readers, vision systems</a:t>
            </a:r>
            <a:r>
              <a:rPr lang="en-US" sz="1600" dirty="0" smtClean="0">
                <a:solidFill>
                  <a:srgbClr val="003366"/>
                </a:solidFill>
                <a:latin typeface="Calibri Light" panose="020F0302020204030204" pitchFamily="34" charset="0"/>
                <a:cs typeface="Calibri Light" panose="020F0302020204030204" pitchFamily="34" charset="0"/>
              </a:rPr>
              <a:t>, Sensors, Safety Scanners, </a:t>
            </a:r>
            <a:r>
              <a:rPr lang="en-US" sz="1600" dirty="0">
                <a:solidFill>
                  <a:srgbClr val="003366"/>
                </a:solidFill>
                <a:latin typeface="Calibri Light" panose="020F0302020204030204" pitchFamily="34" charset="0"/>
                <a:cs typeface="Calibri Light" panose="020F0302020204030204" pitchFamily="34" charset="0"/>
              </a:rPr>
              <a:t>PLCs, robots, processing equipment, data bases, ERP systems…</a:t>
            </a:r>
          </a:p>
          <a:p>
            <a:endParaRPr lang="en-US" sz="1900" dirty="0" smtClean="0">
              <a:solidFill>
                <a:srgbClr val="003366"/>
              </a:solidFill>
              <a:latin typeface="Calibri Light" panose="020F0302020204030204" pitchFamily="34" charset="0"/>
              <a:cs typeface="Calibri Light" panose="020F0302020204030204" pitchFamily="34" charset="0"/>
            </a:endParaRPr>
          </a:p>
          <a:p>
            <a:r>
              <a:rPr lang="en-US" sz="1800" dirty="0" smtClean="0">
                <a:solidFill>
                  <a:srgbClr val="003366"/>
                </a:solidFill>
                <a:latin typeface="Calibri Light" panose="020F0302020204030204" pitchFamily="34" charset="0"/>
                <a:cs typeface="Calibri Light" panose="020F0302020204030204" pitchFamily="34" charset="0"/>
              </a:rPr>
              <a:t>Follow a part along all relevant process steps</a:t>
            </a:r>
          </a:p>
          <a:p>
            <a:pPr marL="342900" indent="-342900">
              <a:buFont typeface="Calibri Light" panose="020F0302020204030204" pitchFamily="34" charset="0"/>
              <a:buChar char="-"/>
            </a:pPr>
            <a:r>
              <a:rPr lang="en-US" sz="1600" spc="0" dirty="0" smtClean="0">
                <a:solidFill>
                  <a:srgbClr val="003366"/>
                </a:solidFill>
                <a:latin typeface="Calibri Light" panose="020F0302020204030204" pitchFamily="34" charset="0"/>
                <a:cs typeface="Calibri Light" panose="020F0302020204030204" pitchFamily="34" charset="0"/>
              </a:rPr>
              <a:t>Record </a:t>
            </a:r>
            <a:r>
              <a:rPr lang="en-US" sz="1600" spc="0" dirty="0">
                <a:solidFill>
                  <a:srgbClr val="003366"/>
                </a:solidFill>
                <a:latin typeface="Calibri Light" panose="020F0302020204030204" pitchFamily="34" charset="0"/>
                <a:cs typeface="Calibri Light" panose="020F0302020204030204" pitchFamily="34" charset="0"/>
              </a:rPr>
              <a:t>part ID when part is </a:t>
            </a:r>
            <a:r>
              <a:rPr lang="en-US" sz="1600" spc="0" dirty="0" smtClean="0">
                <a:solidFill>
                  <a:srgbClr val="003366"/>
                </a:solidFill>
                <a:latin typeface="Calibri Light" panose="020F0302020204030204" pitchFamily="34" charset="0"/>
                <a:cs typeface="Calibri Light" panose="020F0302020204030204" pitchFamily="34" charset="0"/>
              </a:rPr>
              <a:t>marked</a:t>
            </a:r>
            <a:endParaRPr lang="en-US" sz="1600" spc="0" dirty="0">
              <a:solidFill>
                <a:srgbClr val="003366"/>
              </a:solidFill>
              <a:latin typeface="Calibri Light" panose="020F0302020204030204" pitchFamily="34" charset="0"/>
              <a:cs typeface="Calibri Light" panose="020F0302020204030204" pitchFamily="34" charset="0"/>
            </a:endParaRP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Record marking process data </a:t>
            </a: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Confirm and record mark quality data during in-line DPM verification </a:t>
            </a: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If  mark quality is </a:t>
            </a:r>
            <a:r>
              <a:rPr lang="en-US" sz="1600" spc="0" dirty="0" smtClean="0">
                <a:solidFill>
                  <a:srgbClr val="003366"/>
                </a:solidFill>
                <a:latin typeface="Calibri Light" panose="020F0302020204030204" pitchFamily="34" charset="0"/>
                <a:cs typeface="Calibri Light" panose="020F0302020204030204" pitchFamily="34" charset="0"/>
              </a:rPr>
              <a:t>acceptable, </a:t>
            </a:r>
            <a:r>
              <a:rPr lang="en-US" sz="1600" spc="0" dirty="0">
                <a:solidFill>
                  <a:srgbClr val="003366"/>
                </a:solidFill>
                <a:latin typeface="Calibri Light" panose="020F0302020204030204" pitchFamily="34" charset="0"/>
                <a:cs typeface="Calibri Light" panose="020F0302020204030204" pitchFamily="34" charset="0"/>
              </a:rPr>
              <a:t>allow part to move to next </a:t>
            </a:r>
            <a:r>
              <a:rPr lang="en-US" sz="1600" spc="0" dirty="0" smtClean="0">
                <a:solidFill>
                  <a:srgbClr val="003366"/>
                </a:solidFill>
                <a:latin typeface="Calibri Light" panose="020F0302020204030204" pitchFamily="34" charset="0"/>
                <a:cs typeface="Calibri Light" panose="020F0302020204030204" pitchFamily="34" charset="0"/>
              </a:rPr>
              <a:t>process steps </a:t>
            </a:r>
            <a:endParaRPr lang="en-US" sz="1600" spc="0" dirty="0">
              <a:solidFill>
                <a:srgbClr val="003366"/>
              </a:solidFill>
              <a:latin typeface="Calibri Light" panose="020F0302020204030204" pitchFamily="34" charset="0"/>
              <a:cs typeface="Calibri Light" panose="020F0302020204030204" pitchFamily="34" charset="0"/>
            </a:endParaRP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Error-proof each process step </a:t>
            </a: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Check that no processing steps have been skipped</a:t>
            </a: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Record time when each part enters each processing cell on each processing line</a:t>
            </a:r>
          </a:p>
          <a:p>
            <a:pPr marL="342900" indent="-342900">
              <a:buFont typeface="Calibri Light" panose="020F0302020204030204" pitchFamily="34" charset="0"/>
              <a:buChar char="-"/>
            </a:pPr>
            <a:r>
              <a:rPr lang="en-US" sz="1600" spc="0" dirty="0">
                <a:solidFill>
                  <a:srgbClr val="003366"/>
                </a:solidFill>
                <a:latin typeface="Calibri Light" panose="020F0302020204030204" pitchFamily="34" charset="0"/>
                <a:cs typeface="Calibri Light" panose="020F0302020204030204" pitchFamily="34" charset="0"/>
              </a:rPr>
              <a:t>Record relevant processing data for each process step</a:t>
            </a:r>
          </a:p>
          <a:p>
            <a:pPr marL="342900" indent="-342900">
              <a:buFont typeface="Calibri Light" panose="020F0302020204030204" pitchFamily="34" charset="0"/>
              <a:buChar char="-"/>
            </a:pPr>
            <a:r>
              <a:rPr lang="en-US" sz="1600" dirty="0" smtClean="0">
                <a:solidFill>
                  <a:srgbClr val="003366"/>
                </a:solidFill>
                <a:latin typeface="Calibri Light" panose="020F0302020204030204" pitchFamily="34" charset="0"/>
                <a:cs typeface="Calibri Light" panose="020F0302020204030204" pitchFamily="34" charset="0"/>
              </a:rPr>
              <a:t>Gather manufacturing process data (temperature, position, vibration, speed) for predictive maintenance…</a:t>
            </a:r>
          </a:p>
          <a:p>
            <a:pPr marL="342900" indent="-342900">
              <a:buFont typeface="Calibri Light" panose="020F0302020204030204" pitchFamily="34" charset="0"/>
              <a:buChar char="-"/>
            </a:pPr>
            <a:r>
              <a:rPr lang="en-US" dirty="0">
                <a:solidFill>
                  <a:srgbClr val="003366"/>
                </a:solidFill>
                <a:latin typeface="Calibri Light" panose="020F0302020204030204" pitchFamily="34" charset="0"/>
                <a:cs typeface="Calibri Light" panose="020F0302020204030204" pitchFamily="34" charset="0"/>
              </a:rPr>
              <a:t>Communicate </a:t>
            </a:r>
            <a:r>
              <a:rPr lang="en-US" dirty="0" smtClean="0">
                <a:solidFill>
                  <a:srgbClr val="003366"/>
                </a:solidFill>
                <a:latin typeface="Calibri Light" panose="020F0302020204030204" pitchFamily="34" charset="0"/>
                <a:cs typeface="Calibri Light" panose="020F0302020204030204" pitchFamily="34" charset="0"/>
              </a:rPr>
              <a:t>throughout the manufacturing ecosystem</a:t>
            </a:r>
            <a:endParaRPr lang="en-US" dirty="0">
              <a:solidFill>
                <a:srgbClr val="003366"/>
              </a:solidFill>
              <a:latin typeface="Calibri Light" panose="020F0302020204030204" pitchFamily="34" charset="0"/>
              <a:cs typeface="Calibri Light" panose="020F0302020204030204" pitchFamily="34" charset="0"/>
            </a:endParaRPr>
          </a:p>
          <a:p>
            <a:endParaRPr lang="en-US" dirty="0" smtClean="0"/>
          </a:p>
          <a:p>
            <a:pPr marL="804863" lvl="1" indent="-342900"/>
            <a:endParaRPr lang="en-US" dirty="0" smtClean="0"/>
          </a:p>
          <a:p>
            <a:pPr marL="342900" indent="-342900">
              <a:buFont typeface="Arial" panose="020B0604020202020204" pitchFamily="34" charset="0"/>
              <a:buChar char="•"/>
            </a:pPr>
            <a:endParaRPr lang="en-US" dirty="0"/>
          </a:p>
        </p:txBody>
      </p:sp>
      <p:pic>
        <p:nvPicPr>
          <p:cNvPr id="5" name="Picture 4"/>
          <p:cNvPicPr>
            <a:picLocks noChangeAspect="1"/>
          </p:cNvPicPr>
          <p:nvPr/>
        </p:nvPicPr>
        <p:blipFill>
          <a:blip r:embed="rId3"/>
          <a:stretch>
            <a:fillRect/>
          </a:stretch>
        </p:blipFill>
        <p:spPr>
          <a:xfrm>
            <a:off x="9242987" y="3699140"/>
            <a:ext cx="1337699" cy="754445"/>
          </a:xfrm>
          <a:prstGeom prst="rect">
            <a:avLst/>
          </a:prstGeom>
        </p:spPr>
      </p:pic>
      <p:pic>
        <p:nvPicPr>
          <p:cNvPr id="6" name="Picture 5">
            <a:extLst>
              <a:ext uri="{FF2B5EF4-FFF2-40B4-BE49-F238E27FC236}">
                <a16:creationId xmlns:a16="http://schemas.microsoft.com/office/drawing/2014/main" id="{15C94359-9E2D-4F80-B809-3EB927632998}"/>
              </a:ext>
            </a:extLst>
          </p:cNvPr>
          <p:cNvPicPr>
            <a:picLocks noChangeAspect="1"/>
          </p:cNvPicPr>
          <p:nvPr/>
        </p:nvPicPr>
        <p:blipFill>
          <a:blip r:embed="rId4"/>
          <a:stretch>
            <a:fillRect/>
          </a:stretch>
        </p:blipFill>
        <p:spPr>
          <a:xfrm>
            <a:off x="7784291" y="4111298"/>
            <a:ext cx="913902" cy="808368"/>
          </a:xfrm>
          <a:prstGeom prst="rect">
            <a:avLst/>
          </a:prstGeom>
        </p:spPr>
      </p:pic>
      <p:pic>
        <p:nvPicPr>
          <p:cNvPr id="7" name="Picture 1"/>
          <p:cNvPicPr>
            <a:picLocks noChangeAspect="1" noChangeArrowheads="1"/>
          </p:cNvPicPr>
          <p:nvPr/>
        </p:nvPicPr>
        <p:blipFill>
          <a:blip r:embed="rId5" cstate="screen"/>
          <a:stretch>
            <a:fillRect/>
          </a:stretch>
        </p:blipFill>
        <p:spPr bwMode="auto">
          <a:xfrm>
            <a:off x="8244658" y="5195788"/>
            <a:ext cx="768741" cy="808402"/>
          </a:xfrm>
          <a:prstGeom prst="rect">
            <a:avLst/>
          </a:prstGeom>
          <a:noFill/>
          <a:ln w="9525">
            <a:noFill/>
            <a:miter lim="800000"/>
            <a:headEnd/>
            <a:tailEnd/>
          </a:ln>
        </p:spPr>
      </p:pic>
      <p:pic>
        <p:nvPicPr>
          <p:cNvPr id="9" name="Picture 8">
            <a:extLst>
              <a:ext uri="{FF2B5EF4-FFF2-40B4-BE49-F238E27FC236}">
                <a16:creationId xmlns:a16="http://schemas.microsoft.com/office/drawing/2014/main" id="{52B584D3-2F6D-4205-A73B-FCA3E66F6598}"/>
              </a:ext>
            </a:extLst>
          </p:cNvPr>
          <p:cNvPicPr>
            <a:picLocks noChangeAspect="1"/>
          </p:cNvPicPr>
          <p:nvPr/>
        </p:nvPicPr>
        <p:blipFill>
          <a:blip r:embed="rId6"/>
          <a:stretch>
            <a:fillRect/>
          </a:stretch>
        </p:blipFill>
        <p:spPr>
          <a:xfrm>
            <a:off x="7758611" y="2473988"/>
            <a:ext cx="1189638" cy="1017838"/>
          </a:xfrm>
          <a:prstGeom prst="rect">
            <a:avLst/>
          </a:prstGeom>
        </p:spPr>
      </p:pic>
      <p:pic>
        <p:nvPicPr>
          <p:cNvPr id="16" name="Picture 9" descr="Image result for OMRON FH-V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14481" y="4986705"/>
            <a:ext cx="755822" cy="7558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8"/>
          <a:stretch>
            <a:fillRect/>
          </a:stretch>
        </p:blipFill>
        <p:spPr>
          <a:xfrm>
            <a:off x="11142289" y="3699140"/>
            <a:ext cx="835520" cy="1052304"/>
          </a:xfrm>
          <a:prstGeom prst="rect">
            <a:avLst/>
          </a:prstGeom>
        </p:spPr>
      </p:pic>
      <p:pic>
        <p:nvPicPr>
          <p:cNvPr id="20" name="Picture 19"/>
          <p:cNvPicPr>
            <a:picLocks noChangeAspect="1"/>
          </p:cNvPicPr>
          <p:nvPr/>
        </p:nvPicPr>
        <p:blipFill>
          <a:blip r:embed="rId9"/>
          <a:stretch>
            <a:fillRect/>
          </a:stretch>
        </p:blipFill>
        <p:spPr>
          <a:xfrm>
            <a:off x="10780131" y="2376885"/>
            <a:ext cx="1143000" cy="1038225"/>
          </a:xfrm>
          <a:prstGeom prst="rect">
            <a:avLst/>
          </a:prstGeom>
        </p:spPr>
      </p:pic>
      <p:sp>
        <p:nvSpPr>
          <p:cNvPr id="21" name="Left-Right Arrow 20"/>
          <p:cNvSpPr/>
          <p:nvPr/>
        </p:nvSpPr>
        <p:spPr>
          <a:xfrm>
            <a:off x="8570449" y="4225293"/>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2" name="Left-Right Arrow 21"/>
          <p:cNvSpPr/>
          <p:nvPr/>
        </p:nvSpPr>
        <p:spPr>
          <a:xfrm>
            <a:off x="10722959" y="4225292"/>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3" name="Left-Right Arrow 22"/>
          <p:cNvSpPr/>
          <p:nvPr/>
        </p:nvSpPr>
        <p:spPr>
          <a:xfrm rot="16200000">
            <a:off x="9195973" y="2863214"/>
            <a:ext cx="1320104" cy="252349"/>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4" name="Picture 2" descr="Image result for NX 102 controlle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36787" y="4443523"/>
            <a:ext cx="794380" cy="794380"/>
          </a:xfrm>
          <a:prstGeom prst="rect">
            <a:avLst/>
          </a:prstGeom>
          <a:noFill/>
          <a:extLst>
            <a:ext uri="{909E8E84-426E-40DD-AFC4-6F175D3DCCD1}">
              <a14:hiddenFill xmlns:a14="http://schemas.microsoft.com/office/drawing/2010/main">
                <a:solidFill>
                  <a:srgbClr val="FFFFFF"/>
                </a:solidFill>
              </a14:hiddenFill>
            </a:ext>
          </a:extLst>
        </p:spPr>
      </p:pic>
      <p:sp>
        <p:nvSpPr>
          <p:cNvPr id="24" name="Left-Right Arrow 23"/>
          <p:cNvSpPr/>
          <p:nvPr/>
        </p:nvSpPr>
        <p:spPr>
          <a:xfrm rot="19496501">
            <a:off x="8933933" y="5102961"/>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5" name="Left-Right Arrow 24"/>
          <p:cNvSpPr/>
          <p:nvPr/>
        </p:nvSpPr>
        <p:spPr>
          <a:xfrm rot="2103499" flipV="1">
            <a:off x="10399700" y="5111977"/>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6" name="Left-Right Arrow 25"/>
          <p:cNvSpPr/>
          <p:nvPr/>
        </p:nvSpPr>
        <p:spPr>
          <a:xfrm rot="2103499" flipH="1">
            <a:off x="8933933" y="3215097"/>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7" name="Left-Right Arrow 26"/>
          <p:cNvSpPr/>
          <p:nvPr/>
        </p:nvSpPr>
        <p:spPr>
          <a:xfrm rot="19496501" flipH="1" flipV="1">
            <a:off x="10399700" y="3224113"/>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8" name="Left-Right Arrow 27"/>
          <p:cNvSpPr/>
          <p:nvPr/>
        </p:nvSpPr>
        <p:spPr>
          <a:xfrm rot="16200000">
            <a:off x="9757445" y="5462013"/>
            <a:ext cx="394073" cy="251853"/>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29" name="Picture 28"/>
          <p:cNvPicPr>
            <a:picLocks noChangeAspect="1"/>
          </p:cNvPicPr>
          <p:nvPr/>
        </p:nvPicPr>
        <p:blipFill>
          <a:blip r:embed="rId11"/>
          <a:stretch>
            <a:fillRect/>
          </a:stretch>
        </p:blipFill>
        <p:spPr>
          <a:xfrm>
            <a:off x="10722467" y="298115"/>
            <a:ext cx="939850" cy="599221"/>
          </a:xfrm>
          <a:prstGeom prst="rect">
            <a:avLst/>
          </a:prstGeom>
        </p:spPr>
      </p:pic>
      <p:sp>
        <p:nvSpPr>
          <p:cNvPr id="30" name="Left-Right Arrow 29"/>
          <p:cNvSpPr/>
          <p:nvPr/>
        </p:nvSpPr>
        <p:spPr>
          <a:xfrm rot="17620404">
            <a:off x="10619260" y="1386666"/>
            <a:ext cx="601470" cy="202740"/>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31" name="Picture 30">
            <a:extLst>
              <a:ext uri="{FF2B5EF4-FFF2-40B4-BE49-F238E27FC236}">
                <a16:creationId xmlns:a16="http://schemas.microsoft.com/office/drawing/2014/main" id="{017E0663-E8C1-45C4-A6CC-7AB72E97FC8F}"/>
              </a:ext>
            </a:extLst>
          </p:cNvPr>
          <p:cNvPicPr>
            <a:picLocks noChangeAspect="1"/>
          </p:cNvPicPr>
          <p:nvPr/>
        </p:nvPicPr>
        <p:blipFill>
          <a:blip r:embed="rId12"/>
          <a:stretch>
            <a:fillRect/>
          </a:stretch>
        </p:blipFill>
        <p:spPr>
          <a:xfrm>
            <a:off x="10526172" y="5723866"/>
            <a:ext cx="440007" cy="676934"/>
          </a:xfrm>
          <a:prstGeom prst="rect">
            <a:avLst/>
          </a:prstGeom>
        </p:spPr>
      </p:pic>
      <p:pic>
        <p:nvPicPr>
          <p:cNvPr id="32" name="Picture 31"/>
          <p:cNvPicPr>
            <a:picLocks noChangeAspect="1"/>
          </p:cNvPicPr>
          <p:nvPr/>
        </p:nvPicPr>
        <p:blipFill>
          <a:blip r:embed="rId13"/>
          <a:stretch>
            <a:fillRect/>
          </a:stretch>
        </p:blipFill>
        <p:spPr>
          <a:xfrm>
            <a:off x="9242987" y="5834675"/>
            <a:ext cx="595091" cy="532514"/>
          </a:xfrm>
          <a:prstGeom prst="rect">
            <a:avLst/>
          </a:prstGeom>
        </p:spPr>
      </p:pic>
      <p:sp>
        <p:nvSpPr>
          <p:cNvPr id="33" name="Left-Right Arrow 32"/>
          <p:cNvSpPr/>
          <p:nvPr/>
        </p:nvSpPr>
        <p:spPr>
          <a:xfrm rot="16200000">
            <a:off x="9531872" y="1441198"/>
            <a:ext cx="601470" cy="202740"/>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34" name="Picture 33"/>
          <p:cNvPicPr>
            <a:picLocks noChangeAspect="1"/>
          </p:cNvPicPr>
          <p:nvPr/>
        </p:nvPicPr>
        <p:blipFill rotWithShape="1">
          <a:blip r:embed="rId14"/>
          <a:srcRect t="24483" b="22341"/>
          <a:stretch/>
        </p:blipFill>
        <p:spPr>
          <a:xfrm>
            <a:off x="8358381" y="1872136"/>
            <a:ext cx="1547619" cy="457201"/>
          </a:xfrm>
          <a:prstGeom prst="rect">
            <a:avLst/>
          </a:prstGeom>
        </p:spPr>
      </p:pic>
      <p:pic>
        <p:nvPicPr>
          <p:cNvPr id="35" name="Picture 34"/>
          <p:cNvPicPr>
            <a:picLocks noChangeAspect="1"/>
          </p:cNvPicPr>
          <p:nvPr/>
        </p:nvPicPr>
        <p:blipFill rotWithShape="1">
          <a:blip r:embed="rId15"/>
          <a:srcRect l="16970" t="25317" r="22088" b="35865"/>
          <a:stretch/>
        </p:blipFill>
        <p:spPr>
          <a:xfrm>
            <a:off x="9982200" y="1872708"/>
            <a:ext cx="1105468" cy="489492"/>
          </a:xfrm>
          <a:prstGeom prst="rect">
            <a:avLst/>
          </a:prstGeom>
        </p:spPr>
      </p:pic>
      <p:sp>
        <p:nvSpPr>
          <p:cNvPr id="38" name="Left-Right Arrow 37"/>
          <p:cNvSpPr/>
          <p:nvPr/>
        </p:nvSpPr>
        <p:spPr>
          <a:xfrm rot="14806745">
            <a:off x="8521597" y="1415045"/>
            <a:ext cx="601470" cy="202740"/>
          </a:xfrm>
          <a:prstGeom prst="leftRightArrow">
            <a:avLst/>
          </a:prstGeom>
          <a:solidFill>
            <a:srgbClr val="0072BC"/>
          </a:solidFill>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12" name="Picture 11"/>
          <p:cNvPicPr>
            <a:picLocks noChangeAspect="1"/>
          </p:cNvPicPr>
          <p:nvPr/>
        </p:nvPicPr>
        <p:blipFill rotWithShape="1">
          <a:blip r:embed="rId16"/>
          <a:srcRect l="43374" r="35113" b="25057"/>
          <a:stretch/>
        </p:blipFill>
        <p:spPr>
          <a:xfrm>
            <a:off x="8019428" y="321373"/>
            <a:ext cx="609600" cy="849463"/>
          </a:xfrm>
          <a:prstGeom prst="rect">
            <a:avLst/>
          </a:prstGeom>
        </p:spPr>
      </p:pic>
      <p:pic>
        <p:nvPicPr>
          <p:cNvPr id="13" name="Picture 12"/>
          <p:cNvPicPr>
            <a:picLocks noChangeAspect="1"/>
          </p:cNvPicPr>
          <p:nvPr/>
        </p:nvPicPr>
        <p:blipFill rotWithShape="1">
          <a:blip r:embed="rId17"/>
          <a:srcRect l="20000" r="20000" b="3668"/>
          <a:stretch/>
        </p:blipFill>
        <p:spPr>
          <a:xfrm>
            <a:off x="9271974" y="96604"/>
            <a:ext cx="1091141" cy="1134332"/>
          </a:xfrm>
          <a:prstGeom prst="rect">
            <a:avLst/>
          </a:prstGeom>
        </p:spPr>
      </p:pic>
    </p:spTree>
    <p:extLst>
      <p:ext uri="{BB962C8B-B14F-4D97-AF65-F5344CB8AC3E}">
        <p14:creationId xmlns:p14="http://schemas.microsoft.com/office/powerpoint/2010/main" val="12484389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553C57E-633D-4023-A3AC-5590BD08D924}"/>
              </a:ext>
            </a:extLst>
          </p:cNvPr>
          <p:cNvSpPr>
            <a:spLocks noGrp="1"/>
          </p:cNvSpPr>
          <p:nvPr>
            <p:ph type="body" sz="quarter" idx="17"/>
          </p:nvPr>
        </p:nvSpPr>
        <p:spPr/>
        <p:txBody>
          <a:bodyPr/>
          <a:lstStyle/>
          <a:p>
            <a:r>
              <a:rPr lang="en-US" dirty="0" smtClean="0"/>
              <a:t>Traceability 4.0</a:t>
            </a:r>
            <a:endParaRPr lang="en-US" dirty="0"/>
          </a:p>
        </p:txBody>
      </p:sp>
      <p:sp>
        <p:nvSpPr>
          <p:cNvPr id="17" name="Text Placeholder 8">
            <a:extLst>
              <a:ext uri="{FF2B5EF4-FFF2-40B4-BE49-F238E27FC236}">
                <a16:creationId xmlns:a16="http://schemas.microsoft.com/office/drawing/2014/main" id="{389152D5-F5E1-477D-B79A-F9500F2DA15B}"/>
              </a:ext>
            </a:extLst>
          </p:cNvPr>
          <p:cNvSpPr>
            <a:spLocks noGrp="1"/>
          </p:cNvSpPr>
          <p:nvPr>
            <p:ph type="body" sz="quarter" idx="18"/>
          </p:nvPr>
        </p:nvSpPr>
        <p:spPr>
          <a:xfrm>
            <a:off x="3276600" y="1362329"/>
            <a:ext cx="8763000" cy="847471"/>
          </a:xfrm>
        </p:spPr>
        <p:txBody>
          <a:bodyPr/>
          <a:lstStyle/>
          <a:p>
            <a:r>
              <a:rPr lang="en-US" dirty="0" smtClean="0"/>
              <a:t>Analytics</a:t>
            </a:r>
          </a:p>
          <a:p>
            <a:r>
              <a:rPr lang="en-US" dirty="0" smtClean="0"/>
              <a:t>Visualization</a:t>
            </a:r>
          </a:p>
          <a:p>
            <a:endParaRPr lang="en-US" dirty="0"/>
          </a:p>
        </p:txBody>
      </p:sp>
      <p:sp>
        <p:nvSpPr>
          <p:cNvPr id="41" name="Rectangle 40">
            <a:extLst>
              <a:ext uri="{FF2B5EF4-FFF2-40B4-BE49-F238E27FC236}">
                <a16:creationId xmlns:a16="http://schemas.microsoft.com/office/drawing/2014/main" id="{3953F13A-D3B4-4AD7-A667-C0E1EC747477}"/>
              </a:ext>
            </a:extLst>
          </p:cNvPr>
          <p:cNvSpPr/>
          <p:nvPr/>
        </p:nvSpPr>
        <p:spPr>
          <a:xfrm>
            <a:off x="6678465" y="420469"/>
            <a:ext cx="3552576" cy="646331"/>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M</a:t>
            </a:r>
            <a:r>
              <a:rPr kumimoji="0" lang="en-US" sz="1400" b="0"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ark </a:t>
            </a:r>
            <a:r>
              <a:rPr kumimoji="0" lang="en-US" sz="3600" b="0" i="0" u="none" strike="noStrike" kern="1200" cap="none" spc="0" normalizeH="0" baseline="0" noProof="0" dirty="0" smtClean="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V</a:t>
            </a:r>
            <a:r>
              <a:rPr kumimoji="0" lang="en-US" sz="1400" b="0" i="0" u="none" strike="noStrike" kern="1200" cap="none" spc="0" normalizeH="0" baseline="0" noProof="0" dirty="0" smtClean="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erify </a:t>
            </a:r>
            <a:r>
              <a:rPr kumimoji="0" lang="en-US" sz="3600" b="0"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R</a:t>
            </a:r>
            <a:r>
              <a:rPr kumimoji="0" lang="en-US" sz="1400" b="0"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ead </a:t>
            </a:r>
            <a:r>
              <a:rPr kumimoji="0" lang="en-US" sz="3600" b="0" i="0" u="none" strike="noStrike" kern="1200" cap="none" spc="0" normalizeH="0" baseline="0" noProof="0" dirty="0" smtClean="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C</a:t>
            </a:r>
            <a:r>
              <a:rPr kumimoji="0" lang="en-US" sz="1400" b="0" i="0" u="none" strike="noStrike" kern="1200" cap="none" spc="0" normalizeH="0" baseline="0" noProof="0" dirty="0" smtClean="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rPr>
              <a:t>ommunicate</a:t>
            </a:r>
            <a:endParaRPr kumimoji="0" lang="en-US" sz="1400" b="0"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Franklin Gothic Book"/>
              <a:ea typeface="+mn-ea"/>
              <a:cs typeface="+mn-cs"/>
            </a:endParaRPr>
          </a:p>
        </p:txBody>
      </p:sp>
      <p:sp>
        <p:nvSpPr>
          <p:cNvPr id="43" name="Text Placeholder 9">
            <a:extLst>
              <a:ext uri="{FF2B5EF4-FFF2-40B4-BE49-F238E27FC236}">
                <a16:creationId xmlns:a16="http://schemas.microsoft.com/office/drawing/2014/main" id="{ECC0496C-E7E6-4A7E-A373-60A61FCDD241}"/>
              </a:ext>
            </a:extLst>
          </p:cNvPr>
          <p:cNvSpPr>
            <a:spLocks noGrp="1"/>
          </p:cNvSpPr>
          <p:nvPr>
            <p:ph idx="1"/>
          </p:nvPr>
        </p:nvSpPr>
        <p:spPr>
          <a:xfrm>
            <a:off x="0" y="2823055"/>
            <a:ext cx="5791200" cy="2739545"/>
          </a:xfrm>
        </p:spPr>
        <p:txBody>
          <a:bodyPr>
            <a:normAutofit fontScale="92500" lnSpcReduction="20000"/>
          </a:bodyPr>
          <a:lstStyle/>
          <a:p>
            <a:r>
              <a:rPr lang="en-US" dirty="0" smtClean="0"/>
              <a:t>Communicated Data = Value</a:t>
            </a:r>
            <a:endParaRPr lang="en-US" dirty="0"/>
          </a:p>
          <a:p>
            <a:pPr lvl="1"/>
            <a:r>
              <a:rPr lang="en-US" dirty="0" smtClean="0"/>
              <a:t>Quality assurance</a:t>
            </a:r>
          </a:p>
          <a:p>
            <a:pPr lvl="1"/>
            <a:r>
              <a:rPr lang="en-US" dirty="0" smtClean="0"/>
              <a:t>Part verification (anti-counterfeit)</a:t>
            </a:r>
          </a:p>
          <a:p>
            <a:pPr lvl="1"/>
            <a:r>
              <a:rPr lang="en-US" dirty="0" smtClean="0"/>
              <a:t>Connected Supply Chain </a:t>
            </a:r>
          </a:p>
          <a:p>
            <a:pPr lvl="1"/>
            <a:r>
              <a:rPr lang="en-US" dirty="0" smtClean="0"/>
              <a:t>Scrap reduction</a:t>
            </a:r>
          </a:p>
          <a:p>
            <a:pPr lvl="1"/>
            <a:r>
              <a:rPr lang="en-US" dirty="0" smtClean="0"/>
              <a:t>Productivity improvements</a:t>
            </a:r>
          </a:p>
          <a:p>
            <a:pPr lvl="1"/>
            <a:r>
              <a:rPr lang="en-US" dirty="0" smtClean="0"/>
              <a:t>Demand forecasting (inventory mgmt.)</a:t>
            </a:r>
            <a:endParaRPr lang="en-US" dirty="0"/>
          </a:p>
          <a:p>
            <a:pPr lvl="1"/>
            <a:r>
              <a:rPr lang="en-US" dirty="0" smtClean="0"/>
              <a:t>Predictive </a:t>
            </a:r>
            <a:r>
              <a:rPr lang="en-US" dirty="0"/>
              <a:t>m</a:t>
            </a:r>
            <a:r>
              <a:rPr lang="en-US" dirty="0" smtClean="0"/>
              <a:t>aintenance</a:t>
            </a:r>
          </a:p>
          <a:p>
            <a:pPr lvl="1"/>
            <a:r>
              <a:rPr lang="en-US" dirty="0" smtClean="0"/>
              <a:t>Prescriptive analytics</a:t>
            </a:r>
          </a:p>
          <a:p>
            <a:pPr lvl="1"/>
            <a:r>
              <a:rPr lang="en-US" b="1" dirty="0" smtClean="0">
                <a:solidFill>
                  <a:srgbClr val="FF0000"/>
                </a:solidFill>
              </a:rPr>
              <a:t>Regulatory Compliance</a:t>
            </a:r>
          </a:p>
          <a:p>
            <a:pPr lvl="1"/>
            <a:endParaRPr lang="en-US" dirty="0"/>
          </a:p>
        </p:txBody>
      </p:sp>
      <p:sp>
        <p:nvSpPr>
          <p:cNvPr id="44" name="Rectangle 43"/>
          <p:cNvSpPr/>
          <p:nvPr/>
        </p:nvSpPr>
        <p:spPr>
          <a:xfrm>
            <a:off x="8785159" y="393965"/>
            <a:ext cx="1391841" cy="722531"/>
          </a:xfrm>
          <a:prstGeom prst="rect">
            <a:avLst/>
          </a:prstGeom>
          <a:noFill/>
          <a:ln w="57150"/>
        </p:spPr>
        <p:style>
          <a:lnRef idx="2">
            <a:schemeClr val="accent3"/>
          </a:lnRef>
          <a:fillRef idx="1">
            <a:schemeClr val="lt1"/>
          </a:fillRef>
          <a:effectRef idx="0">
            <a:schemeClr val="accent3"/>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endParaRPr>
          </a:p>
        </p:txBody>
      </p:sp>
      <p:sp>
        <p:nvSpPr>
          <p:cNvPr id="14" name="TextBox 13"/>
          <p:cNvSpPr txBox="1"/>
          <p:nvPr/>
        </p:nvSpPr>
        <p:spPr>
          <a:xfrm>
            <a:off x="4762951" y="6324600"/>
            <a:ext cx="6359113" cy="523220"/>
          </a:xfrm>
          <a:prstGeom prst="rect">
            <a:avLst/>
          </a:prstGeom>
          <a:noFill/>
        </p:spPr>
        <p:txBody>
          <a:bodyPr wrap="none" lIns="45720" rIns="45720" rtlCol="0" anchor="ctr"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2800" b="1" i="0" u="none" strike="noStrike" kern="1200" cap="none" spc="0" normalizeH="0" baseline="0" noProof="0" dirty="0" smtClean="0">
                <a:ln>
                  <a:noFill/>
                </a:ln>
                <a:solidFill>
                  <a:srgbClr val="FFFFFF"/>
                </a:solidFill>
                <a:effectLst/>
                <a:uLnTx/>
                <a:uFillTx/>
                <a:latin typeface="Calibri" panose="020F0502020204030204" pitchFamily="34" charset="0"/>
                <a:ea typeface="+mn-ea"/>
                <a:cs typeface="+mn-cs"/>
              </a:rPr>
              <a:t>Leverage data to make real-time decisions</a:t>
            </a:r>
          </a:p>
        </p:txBody>
      </p:sp>
      <p:sp>
        <p:nvSpPr>
          <p:cNvPr id="7" name="AutoShape 2" descr="What is blockchain? – TechTalk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ranklin Gothic Book"/>
              <a:ea typeface="+mn-ea"/>
              <a:cs typeface="+mn-cs"/>
            </a:endParaRPr>
          </a:p>
        </p:txBody>
      </p:sp>
      <p:pic>
        <p:nvPicPr>
          <p:cNvPr id="11" name="Picture 10"/>
          <p:cNvPicPr>
            <a:picLocks noChangeAspect="1"/>
          </p:cNvPicPr>
          <p:nvPr/>
        </p:nvPicPr>
        <p:blipFill>
          <a:blip r:embed="rId3"/>
          <a:stretch>
            <a:fillRect/>
          </a:stretch>
        </p:blipFill>
        <p:spPr>
          <a:xfrm>
            <a:off x="5970250" y="2522928"/>
            <a:ext cx="6158701" cy="3628035"/>
          </a:xfrm>
          <a:prstGeom prst="rect">
            <a:avLst/>
          </a:prstGeom>
        </p:spPr>
      </p:pic>
      <p:pic>
        <p:nvPicPr>
          <p:cNvPr id="6" name="Picture 5"/>
          <p:cNvPicPr>
            <a:picLocks noChangeAspect="1"/>
          </p:cNvPicPr>
          <p:nvPr/>
        </p:nvPicPr>
        <p:blipFill rotWithShape="1">
          <a:blip r:embed="rId4"/>
          <a:srcRect l="885" t="4098"/>
          <a:stretch/>
        </p:blipFill>
        <p:spPr>
          <a:xfrm>
            <a:off x="6077728" y="2534973"/>
            <a:ext cx="6082412" cy="3748446"/>
          </a:xfrm>
          <a:prstGeom prst="rect">
            <a:avLst/>
          </a:prstGeom>
        </p:spPr>
      </p:pic>
      <p:pic>
        <p:nvPicPr>
          <p:cNvPr id="12" name="Picture 11"/>
          <p:cNvPicPr>
            <a:picLocks noChangeAspect="1"/>
          </p:cNvPicPr>
          <p:nvPr/>
        </p:nvPicPr>
        <p:blipFill>
          <a:blip r:embed="rId5"/>
          <a:stretch>
            <a:fillRect/>
          </a:stretch>
        </p:blipFill>
        <p:spPr>
          <a:xfrm>
            <a:off x="1" y="24204"/>
            <a:ext cx="2979478" cy="2500670"/>
          </a:xfrm>
          <a:prstGeom prst="rect">
            <a:avLst/>
          </a:prstGeom>
        </p:spPr>
      </p:pic>
      <p:sp>
        <p:nvSpPr>
          <p:cNvPr id="2" name="TextBox 1"/>
          <p:cNvSpPr txBox="1"/>
          <p:nvPr/>
        </p:nvSpPr>
        <p:spPr>
          <a:xfrm>
            <a:off x="8240328" y="5117068"/>
            <a:ext cx="20461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70C0"/>
                </a:solidFill>
                <a:effectLst/>
                <a:uLnTx/>
                <a:uFillTx/>
                <a:latin typeface="Franklin Gothic Book"/>
                <a:ea typeface="+mn-ea"/>
                <a:cs typeface="+mn-cs"/>
              </a:rPr>
              <a:t>Why did it happen?</a:t>
            </a:r>
            <a:endParaRPr kumimoji="0" lang="en-US" sz="1800" b="1" i="0" u="none" strike="noStrike" kern="1200" cap="none" spc="0" normalizeH="0" baseline="0" noProof="0" dirty="0">
              <a:ln>
                <a:noFill/>
              </a:ln>
              <a:solidFill>
                <a:srgbClr val="0070C0"/>
              </a:solidFill>
              <a:effectLst/>
              <a:uLnTx/>
              <a:uFillTx/>
              <a:latin typeface="Franklin Gothic Book"/>
              <a:ea typeface="+mn-ea"/>
              <a:cs typeface="+mn-cs"/>
            </a:endParaRPr>
          </a:p>
        </p:txBody>
      </p:sp>
      <p:sp>
        <p:nvSpPr>
          <p:cNvPr id="13" name="TextBox 12"/>
          <p:cNvSpPr txBox="1"/>
          <p:nvPr/>
        </p:nvSpPr>
        <p:spPr>
          <a:xfrm>
            <a:off x="6393904" y="5600991"/>
            <a:ext cx="18501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70C0"/>
                </a:solidFill>
                <a:effectLst/>
                <a:uLnTx/>
                <a:uFillTx/>
                <a:latin typeface="Franklin Gothic Book"/>
                <a:ea typeface="+mn-ea"/>
                <a:cs typeface="+mn-cs"/>
              </a:rPr>
              <a:t>What happened?</a:t>
            </a:r>
            <a:endParaRPr kumimoji="0" lang="en-US" sz="1800" b="1" i="0" u="none" strike="noStrike" kern="1200" cap="none" spc="0" normalizeH="0" baseline="0" noProof="0" dirty="0">
              <a:ln>
                <a:noFill/>
              </a:ln>
              <a:solidFill>
                <a:srgbClr val="0070C0"/>
              </a:solidFill>
              <a:effectLst/>
              <a:uLnTx/>
              <a:uFillTx/>
              <a:latin typeface="Franklin Gothic Book"/>
              <a:ea typeface="+mn-ea"/>
              <a:cs typeface="+mn-cs"/>
            </a:endParaRPr>
          </a:p>
        </p:txBody>
      </p:sp>
      <p:sp>
        <p:nvSpPr>
          <p:cNvPr id="15" name="TextBox 14"/>
          <p:cNvSpPr txBox="1"/>
          <p:nvPr/>
        </p:nvSpPr>
        <p:spPr>
          <a:xfrm>
            <a:off x="9378579" y="4249051"/>
            <a:ext cx="19752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70C0"/>
                </a:solidFill>
                <a:effectLst/>
                <a:uLnTx/>
                <a:uFillTx/>
                <a:latin typeface="Franklin Gothic Book"/>
                <a:ea typeface="+mn-ea"/>
                <a:cs typeface="+mn-cs"/>
              </a:rPr>
              <a:t>What will happen?</a:t>
            </a:r>
            <a:endParaRPr kumimoji="0" lang="en-US" sz="1800" b="1" i="0" u="none" strike="noStrike" kern="1200" cap="none" spc="0" normalizeH="0" baseline="0" noProof="0" dirty="0">
              <a:ln>
                <a:noFill/>
              </a:ln>
              <a:solidFill>
                <a:srgbClr val="0070C0"/>
              </a:solidFill>
              <a:effectLst/>
              <a:uLnTx/>
              <a:uFillTx/>
              <a:latin typeface="Franklin Gothic Book"/>
              <a:ea typeface="+mn-ea"/>
              <a:cs typeface="+mn-cs"/>
            </a:endParaRPr>
          </a:p>
        </p:txBody>
      </p:sp>
      <p:sp>
        <p:nvSpPr>
          <p:cNvPr id="16" name="TextBox 15"/>
          <p:cNvSpPr txBox="1"/>
          <p:nvPr/>
        </p:nvSpPr>
        <p:spPr>
          <a:xfrm>
            <a:off x="9753600" y="3036478"/>
            <a:ext cx="23753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Franklin Gothic Book"/>
                <a:ea typeface="+mn-ea"/>
                <a:cs typeface="+mn-cs"/>
              </a:rPr>
              <a:t>C</a:t>
            </a:r>
            <a:r>
              <a:rPr kumimoji="0" lang="en-US" sz="1800" b="1" i="0" u="none" strike="noStrike" kern="1200" cap="none" spc="0" normalizeH="0" baseline="0" noProof="0" dirty="0" smtClean="0">
                <a:ln>
                  <a:noFill/>
                </a:ln>
                <a:solidFill>
                  <a:srgbClr val="0070C0"/>
                </a:solidFill>
                <a:effectLst/>
                <a:uLnTx/>
                <a:uFillTx/>
                <a:latin typeface="Franklin Gothic Book"/>
                <a:ea typeface="+mn-ea"/>
                <a:cs typeface="+mn-cs"/>
              </a:rPr>
              <a:t>ontrol what happens!</a:t>
            </a:r>
            <a:endParaRPr kumimoji="0" lang="en-US" sz="1800" b="1" i="0" u="none" strike="noStrike" kern="1200" cap="none" spc="0" normalizeH="0" baseline="0" noProof="0" dirty="0">
              <a:ln>
                <a:noFill/>
              </a:ln>
              <a:solidFill>
                <a:srgbClr val="0070C0"/>
              </a:solidFill>
              <a:effectLst/>
              <a:uLnTx/>
              <a:uFillTx/>
              <a:latin typeface="Franklin Gothic Book"/>
              <a:ea typeface="+mn-ea"/>
              <a:cs typeface="+mn-cs"/>
            </a:endParaRPr>
          </a:p>
        </p:txBody>
      </p:sp>
    </p:spTree>
    <p:extLst>
      <p:ext uri="{BB962C8B-B14F-4D97-AF65-F5344CB8AC3E}">
        <p14:creationId xmlns:p14="http://schemas.microsoft.com/office/powerpoint/2010/main" val="447126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par>
                          <p:cTn id="15" fill="hold">
                            <p:stCondLst>
                              <p:cond delay="500"/>
                            </p:stCondLst>
                            <p:childTnLst>
                              <p:par>
                                <p:cTn id="16" presetID="2" presetClass="entr" presetSubtype="4" fill="hold" grpId="0" nodeType="afterEffect">
                                  <p:stCondLst>
                                    <p:cond delay="200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500" fill="hold"/>
                                        <p:tgtEl>
                                          <p:spTgt spid="2"/>
                                        </p:tgtEl>
                                        <p:attrNameLst>
                                          <p:attrName>ppt_x</p:attrName>
                                        </p:attrNameLst>
                                      </p:cBhvr>
                                      <p:tavLst>
                                        <p:tav tm="0">
                                          <p:val>
                                            <p:strVal val="#ppt_x"/>
                                          </p:val>
                                        </p:tav>
                                        <p:tav tm="100000">
                                          <p:val>
                                            <p:strVal val="#ppt_x"/>
                                          </p:val>
                                        </p:tav>
                                      </p:tavLst>
                                    </p:anim>
                                    <p:anim calcmode="lin" valueType="num">
                                      <p:cBhvr additive="base">
                                        <p:cTn id="19" dur="500" fill="hold"/>
                                        <p:tgtEl>
                                          <p:spTgt spid="2"/>
                                        </p:tgtEl>
                                        <p:attrNameLst>
                                          <p:attrName>ppt_y</p:attrName>
                                        </p:attrNameLst>
                                      </p:cBhvr>
                                      <p:tavLst>
                                        <p:tav tm="0">
                                          <p:val>
                                            <p:strVal val="1+#ppt_h/2"/>
                                          </p:val>
                                        </p:tav>
                                        <p:tav tm="100000">
                                          <p:val>
                                            <p:strVal val="#ppt_y"/>
                                          </p:val>
                                        </p:tav>
                                      </p:tavLst>
                                    </p:anim>
                                  </p:childTnLst>
                                </p:cTn>
                              </p:par>
                            </p:childTnLst>
                          </p:cTn>
                        </p:par>
                        <p:par>
                          <p:cTn id="20" fill="hold">
                            <p:stCondLst>
                              <p:cond delay="3000"/>
                            </p:stCondLst>
                            <p:childTnLst>
                              <p:par>
                                <p:cTn id="21" presetID="2" presetClass="entr" presetSubtype="4" fill="hold" grpId="0" nodeType="afterEffect">
                                  <p:stCondLst>
                                    <p:cond delay="200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childTnLst>
                          </p:cTn>
                        </p:par>
                        <p:par>
                          <p:cTn id="25" fill="hold">
                            <p:stCondLst>
                              <p:cond delay="5500"/>
                            </p:stCondLst>
                            <p:childTnLst>
                              <p:par>
                                <p:cTn id="26" presetID="2" presetClass="entr" presetSubtype="4" fill="hold" grpId="0" nodeType="afterEffect">
                                  <p:stCondLst>
                                    <p:cond delay="200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ppt_x"/>
                                          </p:val>
                                        </p:tav>
                                        <p:tav tm="100000">
                                          <p:val>
                                            <p:strVal val="#ppt_x"/>
                                          </p:val>
                                        </p:tav>
                                      </p:tavLst>
                                    </p:anim>
                                    <p:anim calcmode="lin" valueType="num">
                                      <p:cBhvr additive="base">
                                        <p:cTn id="29"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p:bldP spid="15" grpId="0"/>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79384" y="1134005"/>
            <a:ext cx="1244660" cy="873119"/>
          </a:xfrm>
          <a:prstGeom prst="rect">
            <a:avLst/>
          </a:prstGeom>
        </p:spPr>
      </p:pic>
      <p:pic>
        <p:nvPicPr>
          <p:cNvPr id="21" name="Picture 2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12755" y="2448280"/>
            <a:ext cx="1210587" cy="906772"/>
          </a:xfrm>
          <a:prstGeom prst="rect">
            <a:avLst/>
          </a:prstGeom>
        </p:spPr>
      </p:pic>
      <p:sp>
        <p:nvSpPr>
          <p:cNvPr id="53" name="フリーフォーム: 図形 52">
            <a:extLst>
              <a:ext uri="{FF2B5EF4-FFF2-40B4-BE49-F238E27FC236}">
                <a16:creationId xmlns:a16="http://schemas.microsoft.com/office/drawing/2014/main" id="{AA06B8D2-AFDC-408D-A926-7112D4D9D5D0}"/>
              </a:ext>
            </a:extLst>
          </p:cNvPr>
          <p:cNvSpPr/>
          <p:nvPr/>
        </p:nvSpPr>
        <p:spPr>
          <a:xfrm>
            <a:off x="1600200" y="1524000"/>
            <a:ext cx="9195270" cy="3693424"/>
          </a:xfrm>
          <a:custGeom>
            <a:avLst/>
            <a:gdLst>
              <a:gd name="connsiteX0" fmla="*/ 228600 w 9194800"/>
              <a:gd name="connsiteY0" fmla="*/ 2286000 h 3263900"/>
              <a:gd name="connsiteX1" fmla="*/ 228600 w 9194800"/>
              <a:gd name="connsiteY1" fmla="*/ 2286000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0" fmla="*/ 228600 w 9194800"/>
              <a:gd name="connsiteY0" fmla="*/ 2286000 h 3263900"/>
              <a:gd name="connsiteX1" fmla="*/ 247650 w 9194800"/>
              <a:gd name="connsiteY1" fmla="*/ 2466975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0" fmla="*/ 43599 w 9238399"/>
              <a:gd name="connsiteY0" fmla="*/ 2286000 h 3263900"/>
              <a:gd name="connsiteX1" fmla="*/ 291249 w 9238399"/>
              <a:gd name="connsiteY1" fmla="*/ 2466975 h 3263900"/>
              <a:gd name="connsiteX2" fmla="*/ 3180499 w 9238399"/>
              <a:gd name="connsiteY2" fmla="*/ 2260600 h 3263900"/>
              <a:gd name="connsiteX3" fmla="*/ 4869599 w 9238399"/>
              <a:gd name="connsiteY3" fmla="*/ 2044700 h 3263900"/>
              <a:gd name="connsiteX4" fmla="*/ 6457099 w 9238399"/>
              <a:gd name="connsiteY4" fmla="*/ 1752600 h 3263900"/>
              <a:gd name="connsiteX5" fmla="*/ 6812699 w 9238399"/>
              <a:gd name="connsiteY5" fmla="*/ 1651000 h 3263900"/>
              <a:gd name="connsiteX6" fmla="*/ 6901599 w 9238399"/>
              <a:gd name="connsiteY6" fmla="*/ 1625600 h 3263900"/>
              <a:gd name="connsiteX7" fmla="*/ 7066699 w 9238399"/>
              <a:gd name="connsiteY7" fmla="*/ 1536700 h 3263900"/>
              <a:gd name="connsiteX8" fmla="*/ 7180999 w 9238399"/>
              <a:gd name="connsiteY8" fmla="*/ 1498600 h 3263900"/>
              <a:gd name="connsiteX9" fmla="*/ 7333399 w 9238399"/>
              <a:gd name="connsiteY9" fmla="*/ 1397000 h 3263900"/>
              <a:gd name="connsiteX10" fmla="*/ 7485799 w 9238399"/>
              <a:gd name="connsiteY10" fmla="*/ 1320800 h 3263900"/>
              <a:gd name="connsiteX11" fmla="*/ 7600099 w 9238399"/>
              <a:gd name="connsiteY11" fmla="*/ 1244600 h 3263900"/>
              <a:gd name="connsiteX12" fmla="*/ 7663599 w 9238399"/>
              <a:gd name="connsiteY12" fmla="*/ 1219200 h 3263900"/>
              <a:gd name="connsiteX13" fmla="*/ 7739799 w 9238399"/>
              <a:gd name="connsiteY13" fmla="*/ 1155700 h 3263900"/>
              <a:gd name="connsiteX14" fmla="*/ 7803299 w 9238399"/>
              <a:gd name="connsiteY14" fmla="*/ 1066800 h 3263900"/>
              <a:gd name="connsiteX15" fmla="*/ 7879499 w 9238399"/>
              <a:gd name="connsiteY15" fmla="*/ 977900 h 3263900"/>
              <a:gd name="connsiteX16" fmla="*/ 7904899 w 9238399"/>
              <a:gd name="connsiteY16" fmla="*/ 939800 h 3263900"/>
              <a:gd name="connsiteX17" fmla="*/ 7955699 w 9238399"/>
              <a:gd name="connsiteY17" fmla="*/ 889000 h 3263900"/>
              <a:gd name="connsiteX18" fmla="*/ 8044599 w 9238399"/>
              <a:gd name="connsiteY18" fmla="*/ 838200 h 3263900"/>
              <a:gd name="connsiteX19" fmla="*/ 8108099 w 9238399"/>
              <a:gd name="connsiteY19" fmla="*/ 774700 h 3263900"/>
              <a:gd name="connsiteX20" fmla="*/ 8146199 w 9238399"/>
              <a:gd name="connsiteY20" fmla="*/ 736600 h 3263900"/>
              <a:gd name="connsiteX21" fmla="*/ 8184299 w 9238399"/>
              <a:gd name="connsiteY21" fmla="*/ 711200 h 3263900"/>
              <a:gd name="connsiteX22" fmla="*/ 8235099 w 9238399"/>
              <a:gd name="connsiteY22" fmla="*/ 673100 h 3263900"/>
              <a:gd name="connsiteX23" fmla="*/ 8273199 w 9238399"/>
              <a:gd name="connsiteY23" fmla="*/ 647700 h 3263900"/>
              <a:gd name="connsiteX24" fmla="*/ 8400199 w 9238399"/>
              <a:gd name="connsiteY24" fmla="*/ 546100 h 3263900"/>
              <a:gd name="connsiteX25" fmla="*/ 8463699 w 9238399"/>
              <a:gd name="connsiteY25" fmla="*/ 508000 h 3263900"/>
              <a:gd name="connsiteX26" fmla="*/ 8552599 w 9238399"/>
              <a:gd name="connsiteY26" fmla="*/ 457200 h 3263900"/>
              <a:gd name="connsiteX27" fmla="*/ 8603399 w 9238399"/>
              <a:gd name="connsiteY27" fmla="*/ 406400 h 3263900"/>
              <a:gd name="connsiteX28" fmla="*/ 8666899 w 9238399"/>
              <a:gd name="connsiteY28" fmla="*/ 381000 h 3263900"/>
              <a:gd name="connsiteX29" fmla="*/ 8730399 w 9238399"/>
              <a:gd name="connsiteY29" fmla="*/ 342900 h 3263900"/>
              <a:gd name="connsiteX30" fmla="*/ 8768499 w 9238399"/>
              <a:gd name="connsiteY30" fmla="*/ 317500 h 3263900"/>
              <a:gd name="connsiteX31" fmla="*/ 8819299 w 9238399"/>
              <a:gd name="connsiteY31" fmla="*/ 304800 h 3263900"/>
              <a:gd name="connsiteX32" fmla="*/ 8895499 w 9238399"/>
              <a:gd name="connsiteY32" fmla="*/ 241300 h 3263900"/>
              <a:gd name="connsiteX33" fmla="*/ 8946299 w 9238399"/>
              <a:gd name="connsiteY33" fmla="*/ 228600 h 3263900"/>
              <a:gd name="connsiteX34" fmla="*/ 9047899 w 9238399"/>
              <a:gd name="connsiteY34" fmla="*/ 165100 h 3263900"/>
              <a:gd name="connsiteX35" fmla="*/ 9136799 w 9238399"/>
              <a:gd name="connsiteY35" fmla="*/ 114300 h 3263900"/>
              <a:gd name="connsiteX36" fmla="*/ 9174899 w 9238399"/>
              <a:gd name="connsiteY36" fmla="*/ 63500 h 3263900"/>
              <a:gd name="connsiteX37" fmla="*/ 9212999 w 9238399"/>
              <a:gd name="connsiteY37" fmla="*/ 38100 h 3263900"/>
              <a:gd name="connsiteX38" fmla="*/ 9238399 w 9238399"/>
              <a:gd name="connsiteY38" fmla="*/ 0 h 3263900"/>
              <a:gd name="connsiteX39" fmla="*/ 9238399 w 9238399"/>
              <a:gd name="connsiteY39" fmla="*/ 3263900 h 3263900"/>
              <a:gd name="connsiteX40" fmla="*/ 43599 w 9238399"/>
              <a:gd name="connsiteY40" fmla="*/ 3263900 h 3263900"/>
              <a:gd name="connsiteX41" fmla="*/ 43599 w 9238399"/>
              <a:gd name="connsiteY41" fmla="*/ 2298700 h 3263900"/>
              <a:gd name="connsiteX0" fmla="*/ 43599 w 9238399"/>
              <a:gd name="connsiteY0" fmla="*/ 2286000 h 3263900"/>
              <a:gd name="connsiteX1" fmla="*/ 291249 w 9238399"/>
              <a:gd name="connsiteY1" fmla="*/ 2466975 h 3263900"/>
              <a:gd name="connsiteX2" fmla="*/ 3180499 w 9238399"/>
              <a:gd name="connsiteY2" fmla="*/ 2260600 h 3263900"/>
              <a:gd name="connsiteX3" fmla="*/ 4869599 w 9238399"/>
              <a:gd name="connsiteY3" fmla="*/ 2044700 h 3263900"/>
              <a:gd name="connsiteX4" fmla="*/ 6457099 w 9238399"/>
              <a:gd name="connsiteY4" fmla="*/ 1752600 h 3263900"/>
              <a:gd name="connsiteX5" fmla="*/ 6812699 w 9238399"/>
              <a:gd name="connsiteY5" fmla="*/ 1651000 h 3263900"/>
              <a:gd name="connsiteX6" fmla="*/ 6901599 w 9238399"/>
              <a:gd name="connsiteY6" fmla="*/ 1625600 h 3263900"/>
              <a:gd name="connsiteX7" fmla="*/ 7066699 w 9238399"/>
              <a:gd name="connsiteY7" fmla="*/ 1536700 h 3263900"/>
              <a:gd name="connsiteX8" fmla="*/ 7180999 w 9238399"/>
              <a:gd name="connsiteY8" fmla="*/ 1498600 h 3263900"/>
              <a:gd name="connsiteX9" fmla="*/ 7333399 w 9238399"/>
              <a:gd name="connsiteY9" fmla="*/ 1397000 h 3263900"/>
              <a:gd name="connsiteX10" fmla="*/ 7485799 w 9238399"/>
              <a:gd name="connsiteY10" fmla="*/ 1320800 h 3263900"/>
              <a:gd name="connsiteX11" fmla="*/ 7600099 w 9238399"/>
              <a:gd name="connsiteY11" fmla="*/ 1244600 h 3263900"/>
              <a:gd name="connsiteX12" fmla="*/ 7663599 w 9238399"/>
              <a:gd name="connsiteY12" fmla="*/ 1219200 h 3263900"/>
              <a:gd name="connsiteX13" fmla="*/ 7739799 w 9238399"/>
              <a:gd name="connsiteY13" fmla="*/ 1155700 h 3263900"/>
              <a:gd name="connsiteX14" fmla="*/ 7803299 w 9238399"/>
              <a:gd name="connsiteY14" fmla="*/ 1066800 h 3263900"/>
              <a:gd name="connsiteX15" fmla="*/ 7879499 w 9238399"/>
              <a:gd name="connsiteY15" fmla="*/ 977900 h 3263900"/>
              <a:gd name="connsiteX16" fmla="*/ 7904899 w 9238399"/>
              <a:gd name="connsiteY16" fmla="*/ 939800 h 3263900"/>
              <a:gd name="connsiteX17" fmla="*/ 7955699 w 9238399"/>
              <a:gd name="connsiteY17" fmla="*/ 889000 h 3263900"/>
              <a:gd name="connsiteX18" fmla="*/ 8044599 w 9238399"/>
              <a:gd name="connsiteY18" fmla="*/ 838200 h 3263900"/>
              <a:gd name="connsiteX19" fmla="*/ 8108099 w 9238399"/>
              <a:gd name="connsiteY19" fmla="*/ 774700 h 3263900"/>
              <a:gd name="connsiteX20" fmla="*/ 8146199 w 9238399"/>
              <a:gd name="connsiteY20" fmla="*/ 736600 h 3263900"/>
              <a:gd name="connsiteX21" fmla="*/ 8184299 w 9238399"/>
              <a:gd name="connsiteY21" fmla="*/ 711200 h 3263900"/>
              <a:gd name="connsiteX22" fmla="*/ 8235099 w 9238399"/>
              <a:gd name="connsiteY22" fmla="*/ 673100 h 3263900"/>
              <a:gd name="connsiteX23" fmla="*/ 8273199 w 9238399"/>
              <a:gd name="connsiteY23" fmla="*/ 647700 h 3263900"/>
              <a:gd name="connsiteX24" fmla="*/ 8400199 w 9238399"/>
              <a:gd name="connsiteY24" fmla="*/ 546100 h 3263900"/>
              <a:gd name="connsiteX25" fmla="*/ 8463699 w 9238399"/>
              <a:gd name="connsiteY25" fmla="*/ 508000 h 3263900"/>
              <a:gd name="connsiteX26" fmla="*/ 8552599 w 9238399"/>
              <a:gd name="connsiteY26" fmla="*/ 457200 h 3263900"/>
              <a:gd name="connsiteX27" fmla="*/ 8603399 w 9238399"/>
              <a:gd name="connsiteY27" fmla="*/ 406400 h 3263900"/>
              <a:gd name="connsiteX28" fmla="*/ 8666899 w 9238399"/>
              <a:gd name="connsiteY28" fmla="*/ 381000 h 3263900"/>
              <a:gd name="connsiteX29" fmla="*/ 8730399 w 9238399"/>
              <a:gd name="connsiteY29" fmla="*/ 342900 h 3263900"/>
              <a:gd name="connsiteX30" fmla="*/ 8768499 w 9238399"/>
              <a:gd name="connsiteY30" fmla="*/ 317500 h 3263900"/>
              <a:gd name="connsiteX31" fmla="*/ 8819299 w 9238399"/>
              <a:gd name="connsiteY31" fmla="*/ 304800 h 3263900"/>
              <a:gd name="connsiteX32" fmla="*/ 8895499 w 9238399"/>
              <a:gd name="connsiteY32" fmla="*/ 241300 h 3263900"/>
              <a:gd name="connsiteX33" fmla="*/ 8946299 w 9238399"/>
              <a:gd name="connsiteY33" fmla="*/ 228600 h 3263900"/>
              <a:gd name="connsiteX34" fmla="*/ 9047899 w 9238399"/>
              <a:gd name="connsiteY34" fmla="*/ 165100 h 3263900"/>
              <a:gd name="connsiteX35" fmla="*/ 9136799 w 9238399"/>
              <a:gd name="connsiteY35" fmla="*/ 114300 h 3263900"/>
              <a:gd name="connsiteX36" fmla="*/ 9174899 w 9238399"/>
              <a:gd name="connsiteY36" fmla="*/ 63500 h 3263900"/>
              <a:gd name="connsiteX37" fmla="*/ 9212999 w 9238399"/>
              <a:gd name="connsiteY37" fmla="*/ 38100 h 3263900"/>
              <a:gd name="connsiteX38" fmla="*/ 9238399 w 9238399"/>
              <a:gd name="connsiteY38" fmla="*/ 0 h 3263900"/>
              <a:gd name="connsiteX39" fmla="*/ 9238399 w 9238399"/>
              <a:gd name="connsiteY39" fmla="*/ 3263900 h 3263900"/>
              <a:gd name="connsiteX40" fmla="*/ 43599 w 9238399"/>
              <a:gd name="connsiteY40" fmla="*/ 3263900 h 3263900"/>
              <a:gd name="connsiteX41" fmla="*/ 43599 w 9238399"/>
              <a:gd name="connsiteY41" fmla="*/ 2298700 h 3263900"/>
              <a:gd name="connsiteX42" fmla="*/ 43599 w 9238399"/>
              <a:gd name="connsiteY42" fmla="*/ 2286000 h 3263900"/>
              <a:gd name="connsiteX0" fmla="*/ 43599 w 9238399"/>
              <a:gd name="connsiteY0" fmla="*/ 2286000 h 3263900"/>
              <a:gd name="connsiteX1" fmla="*/ 291249 w 9238399"/>
              <a:gd name="connsiteY1" fmla="*/ 2466975 h 3263900"/>
              <a:gd name="connsiteX2" fmla="*/ 3180499 w 9238399"/>
              <a:gd name="connsiteY2" fmla="*/ 2260600 h 3263900"/>
              <a:gd name="connsiteX3" fmla="*/ 4869599 w 9238399"/>
              <a:gd name="connsiteY3" fmla="*/ 2044700 h 3263900"/>
              <a:gd name="connsiteX4" fmla="*/ 6457099 w 9238399"/>
              <a:gd name="connsiteY4" fmla="*/ 1752600 h 3263900"/>
              <a:gd name="connsiteX5" fmla="*/ 6812699 w 9238399"/>
              <a:gd name="connsiteY5" fmla="*/ 1651000 h 3263900"/>
              <a:gd name="connsiteX6" fmla="*/ 6901599 w 9238399"/>
              <a:gd name="connsiteY6" fmla="*/ 1625600 h 3263900"/>
              <a:gd name="connsiteX7" fmla="*/ 7066699 w 9238399"/>
              <a:gd name="connsiteY7" fmla="*/ 1536700 h 3263900"/>
              <a:gd name="connsiteX8" fmla="*/ 7180999 w 9238399"/>
              <a:gd name="connsiteY8" fmla="*/ 1498600 h 3263900"/>
              <a:gd name="connsiteX9" fmla="*/ 7333399 w 9238399"/>
              <a:gd name="connsiteY9" fmla="*/ 1397000 h 3263900"/>
              <a:gd name="connsiteX10" fmla="*/ 7485799 w 9238399"/>
              <a:gd name="connsiteY10" fmla="*/ 1320800 h 3263900"/>
              <a:gd name="connsiteX11" fmla="*/ 7600099 w 9238399"/>
              <a:gd name="connsiteY11" fmla="*/ 1244600 h 3263900"/>
              <a:gd name="connsiteX12" fmla="*/ 7663599 w 9238399"/>
              <a:gd name="connsiteY12" fmla="*/ 1219200 h 3263900"/>
              <a:gd name="connsiteX13" fmla="*/ 7739799 w 9238399"/>
              <a:gd name="connsiteY13" fmla="*/ 1155700 h 3263900"/>
              <a:gd name="connsiteX14" fmla="*/ 7803299 w 9238399"/>
              <a:gd name="connsiteY14" fmla="*/ 1066800 h 3263900"/>
              <a:gd name="connsiteX15" fmla="*/ 7879499 w 9238399"/>
              <a:gd name="connsiteY15" fmla="*/ 977900 h 3263900"/>
              <a:gd name="connsiteX16" fmla="*/ 7904899 w 9238399"/>
              <a:gd name="connsiteY16" fmla="*/ 939800 h 3263900"/>
              <a:gd name="connsiteX17" fmla="*/ 7955699 w 9238399"/>
              <a:gd name="connsiteY17" fmla="*/ 889000 h 3263900"/>
              <a:gd name="connsiteX18" fmla="*/ 8044599 w 9238399"/>
              <a:gd name="connsiteY18" fmla="*/ 838200 h 3263900"/>
              <a:gd name="connsiteX19" fmla="*/ 8108099 w 9238399"/>
              <a:gd name="connsiteY19" fmla="*/ 774700 h 3263900"/>
              <a:gd name="connsiteX20" fmla="*/ 8146199 w 9238399"/>
              <a:gd name="connsiteY20" fmla="*/ 736600 h 3263900"/>
              <a:gd name="connsiteX21" fmla="*/ 8184299 w 9238399"/>
              <a:gd name="connsiteY21" fmla="*/ 711200 h 3263900"/>
              <a:gd name="connsiteX22" fmla="*/ 8235099 w 9238399"/>
              <a:gd name="connsiteY22" fmla="*/ 673100 h 3263900"/>
              <a:gd name="connsiteX23" fmla="*/ 8273199 w 9238399"/>
              <a:gd name="connsiteY23" fmla="*/ 647700 h 3263900"/>
              <a:gd name="connsiteX24" fmla="*/ 8400199 w 9238399"/>
              <a:gd name="connsiteY24" fmla="*/ 546100 h 3263900"/>
              <a:gd name="connsiteX25" fmla="*/ 8463699 w 9238399"/>
              <a:gd name="connsiteY25" fmla="*/ 508000 h 3263900"/>
              <a:gd name="connsiteX26" fmla="*/ 8552599 w 9238399"/>
              <a:gd name="connsiteY26" fmla="*/ 457200 h 3263900"/>
              <a:gd name="connsiteX27" fmla="*/ 8603399 w 9238399"/>
              <a:gd name="connsiteY27" fmla="*/ 406400 h 3263900"/>
              <a:gd name="connsiteX28" fmla="*/ 8666899 w 9238399"/>
              <a:gd name="connsiteY28" fmla="*/ 381000 h 3263900"/>
              <a:gd name="connsiteX29" fmla="*/ 8730399 w 9238399"/>
              <a:gd name="connsiteY29" fmla="*/ 342900 h 3263900"/>
              <a:gd name="connsiteX30" fmla="*/ 8768499 w 9238399"/>
              <a:gd name="connsiteY30" fmla="*/ 317500 h 3263900"/>
              <a:gd name="connsiteX31" fmla="*/ 8819299 w 9238399"/>
              <a:gd name="connsiteY31" fmla="*/ 304800 h 3263900"/>
              <a:gd name="connsiteX32" fmla="*/ 8895499 w 9238399"/>
              <a:gd name="connsiteY32" fmla="*/ 241300 h 3263900"/>
              <a:gd name="connsiteX33" fmla="*/ 8946299 w 9238399"/>
              <a:gd name="connsiteY33" fmla="*/ 228600 h 3263900"/>
              <a:gd name="connsiteX34" fmla="*/ 9047899 w 9238399"/>
              <a:gd name="connsiteY34" fmla="*/ 165100 h 3263900"/>
              <a:gd name="connsiteX35" fmla="*/ 9136799 w 9238399"/>
              <a:gd name="connsiteY35" fmla="*/ 114300 h 3263900"/>
              <a:gd name="connsiteX36" fmla="*/ 9174899 w 9238399"/>
              <a:gd name="connsiteY36" fmla="*/ 63500 h 3263900"/>
              <a:gd name="connsiteX37" fmla="*/ 9212999 w 9238399"/>
              <a:gd name="connsiteY37" fmla="*/ 38100 h 3263900"/>
              <a:gd name="connsiteX38" fmla="*/ 9238399 w 9238399"/>
              <a:gd name="connsiteY38" fmla="*/ 0 h 3263900"/>
              <a:gd name="connsiteX39" fmla="*/ 9238399 w 9238399"/>
              <a:gd name="connsiteY39" fmla="*/ 3263900 h 3263900"/>
              <a:gd name="connsiteX40" fmla="*/ 43599 w 9238399"/>
              <a:gd name="connsiteY40" fmla="*/ 3263900 h 3263900"/>
              <a:gd name="connsiteX41" fmla="*/ 43599 w 9238399"/>
              <a:gd name="connsiteY41" fmla="*/ 2298700 h 3263900"/>
              <a:gd name="connsiteX42" fmla="*/ 43599 w 9238399"/>
              <a:gd name="connsiteY42" fmla="*/ 2286000 h 3263900"/>
              <a:gd name="connsiteX0" fmla="*/ 0 w 9194800"/>
              <a:gd name="connsiteY0" fmla="*/ 2286000 h 3263900"/>
              <a:gd name="connsiteX1" fmla="*/ 247650 w 9194800"/>
              <a:gd name="connsiteY1" fmla="*/ 2466975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42" fmla="*/ 0 w 9194800"/>
              <a:gd name="connsiteY42" fmla="*/ 2286000 h 3263900"/>
              <a:gd name="connsiteX0" fmla="*/ 0 w 9194800"/>
              <a:gd name="connsiteY0" fmla="*/ 2286000 h 3263900"/>
              <a:gd name="connsiteX1" fmla="*/ 919162 w 9194800"/>
              <a:gd name="connsiteY1" fmla="*/ 2290762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42" fmla="*/ 0 w 9194800"/>
              <a:gd name="connsiteY42" fmla="*/ 2286000 h 3263900"/>
              <a:gd name="connsiteX0" fmla="*/ 328613 w 9194800"/>
              <a:gd name="connsiteY0" fmla="*/ 2319337 h 3263900"/>
              <a:gd name="connsiteX1" fmla="*/ 919162 w 9194800"/>
              <a:gd name="connsiteY1" fmla="*/ 2290762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42" fmla="*/ 328613 w 9194800"/>
              <a:gd name="connsiteY42" fmla="*/ 2319337 h 3263900"/>
              <a:gd name="connsiteX0" fmla="*/ 0 w 9194800"/>
              <a:gd name="connsiteY0" fmla="*/ 2298700 h 3263900"/>
              <a:gd name="connsiteX1" fmla="*/ 919162 w 9194800"/>
              <a:gd name="connsiteY1" fmla="*/ 2290762 h 3263900"/>
              <a:gd name="connsiteX2" fmla="*/ 3136900 w 9194800"/>
              <a:gd name="connsiteY2" fmla="*/ 2260600 h 3263900"/>
              <a:gd name="connsiteX3" fmla="*/ 4826000 w 9194800"/>
              <a:gd name="connsiteY3" fmla="*/ 2044700 h 3263900"/>
              <a:gd name="connsiteX4" fmla="*/ 6413500 w 9194800"/>
              <a:gd name="connsiteY4" fmla="*/ 1752600 h 3263900"/>
              <a:gd name="connsiteX5" fmla="*/ 6769100 w 9194800"/>
              <a:gd name="connsiteY5" fmla="*/ 1651000 h 3263900"/>
              <a:gd name="connsiteX6" fmla="*/ 6858000 w 9194800"/>
              <a:gd name="connsiteY6" fmla="*/ 1625600 h 3263900"/>
              <a:gd name="connsiteX7" fmla="*/ 7023100 w 9194800"/>
              <a:gd name="connsiteY7" fmla="*/ 1536700 h 3263900"/>
              <a:gd name="connsiteX8" fmla="*/ 7137400 w 9194800"/>
              <a:gd name="connsiteY8" fmla="*/ 1498600 h 3263900"/>
              <a:gd name="connsiteX9" fmla="*/ 7289800 w 9194800"/>
              <a:gd name="connsiteY9" fmla="*/ 1397000 h 3263900"/>
              <a:gd name="connsiteX10" fmla="*/ 7442200 w 9194800"/>
              <a:gd name="connsiteY10" fmla="*/ 1320800 h 3263900"/>
              <a:gd name="connsiteX11" fmla="*/ 7556500 w 9194800"/>
              <a:gd name="connsiteY11" fmla="*/ 1244600 h 3263900"/>
              <a:gd name="connsiteX12" fmla="*/ 7620000 w 9194800"/>
              <a:gd name="connsiteY12" fmla="*/ 1219200 h 3263900"/>
              <a:gd name="connsiteX13" fmla="*/ 7696200 w 9194800"/>
              <a:gd name="connsiteY13" fmla="*/ 1155700 h 3263900"/>
              <a:gd name="connsiteX14" fmla="*/ 7759700 w 9194800"/>
              <a:gd name="connsiteY14" fmla="*/ 1066800 h 3263900"/>
              <a:gd name="connsiteX15" fmla="*/ 7835900 w 9194800"/>
              <a:gd name="connsiteY15" fmla="*/ 977900 h 3263900"/>
              <a:gd name="connsiteX16" fmla="*/ 7861300 w 9194800"/>
              <a:gd name="connsiteY16" fmla="*/ 939800 h 3263900"/>
              <a:gd name="connsiteX17" fmla="*/ 7912100 w 9194800"/>
              <a:gd name="connsiteY17" fmla="*/ 889000 h 3263900"/>
              <a:gd name="connsiteX18" fmla="*/ 8001000 w 9194800"/>
              <a:gd name="connsiteY18" fmla="*/ 838200 h 3263900"/>
              <a:gd name="connsiteX19" fmla="*/ 8064500 w 9194800"/>
              <a:gd name="connsiteY19" fmla="*/ 774700 h 3263900"/>
              <a:gd name="connsiteX20" fmla="*/ 8102600 w 9194800"/>
              <a:gd name="connsiteY20" fmla="*/ 736600 h 3263900"/>
              <a:gd name="connsiteX21" fmla="*/ 8140700 w 9194800"/>
              <a:gd name="connsiteY21" fmla="*/ 711200 h 3263900"/>
              <a:gd name="connsiteX22" fmla="*/ 8191500 w 9194800"/>
              <a:gd name="connsiteY22" fmla="*/ 673100 h 3263900"/>
              <a:gd name="connsiteX23" fmla="*/ 8229600 w 9194800"/>
              <a:gd name="connsiteY23" fmla="*/ 647700 h 3263900"/>
              <a:gd name="connsiteX24" fmla="*/ 8356600 w 9194800"/>
              <a:gd name="connsiteY24" fmla="*/ 546100 h 3263900"/>
              <a:gd name="connsiteX25" fmla="*/ 8420100 w 9194800"/>
              <a:gd name="connsiteY25" fmla="*/ 508000 h 3263900"/>
              <a:gd name="connsiteX26" fmla="*/ 8509000 w 9194800"/>
              <a:gd name="connsiteY26" fmla="*/ 457200 h 3263900"/>
              <a:gd name="connsiteX27" fmla="*/ 8559800 w 9194800"/>
              <a:gd name="connsiteY27" fmla="*/ 406400 h 3263900"/>
              <a:gd name="connsiteX28" fmla="*/ 8623300 w 9194800"/>
              <a:gd name="connsiteY28" fmla="*/ 381000 h 3263900"/>
              <a:gd name="connsiteX29" fmla="*/ 8686800 w 9194800"/>
              <a:gd name="connsiteY29" fmla="*/ 342900 h 3263900"/>
              <a:gd name="connsiteX30" fmla="*/ 8724900 w 9194800"/>
              <a:gd name="connsiteY30" fmla="*/ 317500 h 3263900"/>
              <a:gd name="connsiteX31" fmla="*/ 8775700 w 9194800"/>
              <a:gd name="connsiteY31" fmla="*/ 304800 h 3263900"/>
              <a:gd name="connsiteX32" fmla="*/ 8851900 w 9194800"/>
              <a:gd name="connsiteY32" fmla="*/ 241300 h 3263900"/>
              <a:gd name="connsiteX33" fmla="*/ 8902700 w 9194800"/>
              <a:gd name="connsiteY33" fmla="*/ 228600 h 3263900"/>
              <a:gd name="connsiteX34" fmla="*/ 9004300 w 9194800"/>
              <a:gd name="connsiteY34" fmla="*/ 165100 h 3263900"/>
              <a:gd name="connsiteX35" fmla="*/ 9093200 w 9194800"/>
              <a:gd name="connsiteY35" fmla="*/ 114300 h 3263900"/>
              <a:gd name="connsiteX36" fmla="*/ 9131300 w 9194800"/>
              <a:gd name="connsiteY36" fmla="*/ 63500 h 3263900"/>
              <a:gd name="connsiteX37" fmla="*/ 9169400 w 9194800"/>
              <a:gd name="connsiteY37" fmla="*/ 38100 h 3263900"/>
              <a:gd name="connsiteX38" fmla="*/ 9194800 w 9194800"/>
              <a:gd name="connsiteY38" fmla="*/ 0 h 3263900"/>
              <a:gd name="connsiteX39" fmla="*/ 9194800 w 9194800"/>
              <a:gd name="connsiteY39" fmla="*/ 3263900 h 3263900"/>
              <a:gd name="connsiteX40" fmla="*/ 0 w 9194800"/>
              <a:gd name="connsiteY40" fmla="*/ 3263900 h 3263900"/>
              <a:gd name="connsiteX41" fmla="*/ 0 w 9194800"/>
              <a:gd name="connsiteY41"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229600 w 9194800"/>
              <a:gd name="connsiteY22" fmla="*/ 647700 h 3263900"/>
              <a:gd name="connsiteX23" fmla="*/ 8356600 w 9194800"/>
              <a:gd name="connsiteY23" fmla="*/ 546100 h 3263900"/>
              <a:gd name="connsiteX24" fmla="*/ 8420100 w 9194800"/>
              <a:gd name="connsiteY24" fmla="*/ 508000 h 3263900"/>
              <a:gd name="connsiteX25" fmla="*/ 8509000 w 9194800"/>
              <a:gd name="connsiteY25" fmla="*/ 457200 h 3263900"/>
              <a:gd name="connsiteX26" fmla="*/ 8559800 w 9194800"/>
              <a:gd name="connsiteY26" fmla="*/ 406400 h 3263900"/>
              <a:gd name="connsiteX27" fmla="*/ 8623300 w 9194800"/>
              <a:gd name="connsiteY27" fmla="*/ 381000 h 3263900"/>
              <a:gd name="connsiteX28" fmla="*/ 8686800 w 9194800"/>
              <a:gd name="connsiteY28" fmla="*/ 342900 h 3263900"/>
              <a:gd name="connsiteX29" fmla="*/ 8724900 w 9194800"/>
              <a:gd name="connsiteY29" fmla="*/ 317500 h 3263900"/>
              <a:gd name="connsiteX30" fmla="*/ 8775700 w 9194800"/>
              <a:gd name="connsiteY30" fmla="*/ 304800 h 3263900"/>
              <a:gd name="connsiteX31" fmla="*/ 8851900 w 9194800"/>
              <a:gd name="connsiteY31" fmla="*/ 241300 h 3263900"/>
              <a:gd name="connsiteX32" fmla="*/ 8902700 w 9194800"/>
              <a:gd name="connsiteY32" fmla="*/ 228600 h 3263900"/>
              <a:gd name="connsiteX33" fmla="*/ 9004300 w 9194800"/>
              <a:gd name="connsiteY33" fmla="*/ 165100 h 3263900"/>
              <a:gd name="connsiteX34" fmla="*/ 9093200 w 9194800"/>
              <a:gd name="connsiteY34" fmla="*/ 114300 h 3263900"/>
              <a:gd name="connsiteX35" fmla="*/ 9131300 w 9194800"/>
              <a:gd name="connsiteY35" fmla="*/ 63500 h 3263900"/>
              <a:gd name="connsiteX36" fmla="*/ 9169400 w 9194800"/>
              <a:gd name="connsiteY36" fmla="*/ 38100 h 3263900"/>
              <a:gd name="connsiteX37" fmla="*/ 9194800 w 9194800"/>
              <a:gd name="connsiteY37" fmla="*/ 0 h 3263900"/>
              <a:gd name="connsiteX38" fmla="*/ 9194800 w 9194800"/>
              <a:gd name="connsiteY38" fmla="*/ 3263900 h 3263900"/>
              <a:gd name="connsiteX39" fmla="*/ 0 w 9194800"/>
              <a:gd name="connsiteY39" fmla="*/ 3263900 h 3263900"/>
              <a:gd name="connsiteX40" fmla="*/ 0 w 9194800"/>
              <a:gd name="connsiteY40"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356600 w 9194800"/>
              <a:gd name="connsiteY22" fmla="*/ 546100 h 3263900"/>
              <a:gd name="connsiteX23" fmla="*/ 8420100 w 9194800"/>
              <a:gd name="connsiteY23" fmla="*/ 508000 h 3263900"/>
              <a:gd name="connsiteX24" fmla="*/ 8509000 w 9194800"/>
              <a:gd name="connsiteY24" fmla="*/ 457200 h 3263900"/>
              <a:gd name="connsiteX25" fmla="*/ 8559800 w 9194800"/>
              <a:gd name="connsiteY25" fmla="*/ 406400 h 3263900"/>
              <a:gd name="connsiteX26" fmla="*/ 8623300 w 9194800"/>
              <a:gd name="connsiteY26" fmla="*/ 381000 h 3263900"/>
              <a:gd name="connsiteX27" fmla="*/ 8686800 w 9194800"/>
              <a:gd name="connsiteY27" fmla="*/ 342900 h 3263900"/>
              <a:gd name="connsiteX28" fmla="*/ 8724900 w 9194800"/>
              <a:gd name="connsiteY28" fmla="*/ 317500 h 3263900"/>
              <a:gd name="connsiteX29" fmla="*/ 8775700 w 9194800"/>
              <a:gd name="connsiteY29" fmla="*/ 304800 h 3263900"/>
              <a:gd name="connsiteX30" fmla="*/ 8851900 w 9194800"/>
              <a:gd name="connsiteY30" fmla="*/ 241300 h 3263900"/>
              <a:gd name="connsiteX31" fmla="*/ 8902700 w 9194800"/>
              <a:gd name="connsiteY31" fmla="*/ 228600 h 3263900"/>
              <a:gd name="connsiteX32" fmla="*/ 9004300 w 9194800"/>
              <a:gd name="connsiteY32" fmla="*/ 165100 h 3263900"/>
              <a:gd name="connsiteX33" fmla="*/ 9093200 w 9194800"/>
              <a:gd name="connsiteY33" fmla="*/ 114300 h 3263900"/>
              <a:gd name="connsiteX34" fmla="*/ 9131300 w 9194800"/>
              <a:gd name="connsiteY34" fmla="*/ 63500 h 3263900"/>
              <a:gd name="connsiteX35" fmla="*/ 9169400 w 9194800"/>
              <a:gd name="connsiteY35" fmla="*/ 38100 h 3263900"/>
              <a:gd name="connsiteX36" fmla="*/ 9194800 w 9194800"/>
              <a:gd name="connsiteY36" fmla="*/ 0 h 3263900"/>
              <a:gd name="connsiteX37" fmla="*/ 9194800 w 9194800"/>
              <a:gd name="connsiteY37" fmla="*/ 3263900 h 3263900"/>
              <a:gd name="connsiteX38" fmla="*/ 0 w 9194800"/>
              <a:gd name="connsiteY38" fmla="*/ 3263900 h 3263900"/>
              <a:gd name="connsiteX39" fmla="*/ 0 w 9194800"/>
              <a:gd name="connsiteY39"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420100 w 9194800"/>
              <a:gd name="connsiteY22" fmla="*/ 508000 h 3263900"/>
              <a:gd name="connsiteX23" fmla="*/ 8509000 w 9194800"/>
              <a:gd name="connsiteY23" fmla="*/ 457200 h 3263900"/>
              <a:gd name="connsiteX24" fmla="*/ 8559800 w 9194800"/>
              <a:gd name="connsiteY24" fmla="*/ 406400 h 3263900"/>
              <a:gd name="connsiteX25" fmla="*/ 8623300 w 9194800"/>
              <a:gd name="connsiteY25" fmla="*/ 381000 h 3263900"/>
              <a:gd name="connsiteX26" fmla="*/ 8686800 w 9194800"/>
              <a:gd name="connsiteY26" fmla="*/ 342900 h 3263900"/>
              <a:gd name="connsiteX27" fmla="*/ 8724900 w 9194800"/>
              <a:gd name="connsiteY27" fmla="*/ 317500 h 3263900"/>
              <a:gd name="connsiteX28" fmla="*/ 8775700 w 9194800"/>
              <a:gd name="connsiteY28" fmla="*/ 304800 h 3263900"/>
              <a:gd name="connsiteX29" fmla="*/ 8851900 w 9194800"/>
              <a:gd name="connsiteY29" fmla="*/ 241300 h 3263900"/>
              <a:gd name="connsiteX30" fmla="*/ 8902700 w 9194800"/>
              <a:gd name="connsiteY30" fmla="*/ 228600 h 3263900"/>
              <a:gd name="connsiteX31" fmla="*/ 9004300 w 9194800"/>
              <a:gd name="connsiteY31" fmla="*/ 165100 h 3263900"/>
              <a:gd name="connsiteX32" fmla="*/ 9093200 w 9194800"/>
              <a:gd name="connsiteY32" fmla="*/ 114300 h 3263900"/>
              <a:gd name="connsiteX33" fmla="*/ 9131300 w 9194800"/>
              <a:gd name="connsiteY33" fmla="*/ 63500 h 3263900"/>
              <a:gd name="connsiteX34" fmla="*/ 9169400 w 9194800"/>
              <a:gd name="connsiteY34" fmla="*/ 38100 h 3263900"/>
              <a:gd name="connsiteX35" fmla="*/ 9194800 w 9194800"/>
              <a:gd name="connsiteY35" fmla="*/ 0 h 3263900"/>
              <a:gd name="connsiteX36" fmla="*/ 9194800 w 9194800"/>
              <a:gd name="connsiteY36" fmla="*/ 3263900 h 3263900"/>
              <a:gd name="connsiteX37" fmla="*/ 0 w 9194800"/>
              <a:gd name="connsiteY37" fmla="*/ 3263900 h 3263900"/>
              <a:gd name="connsiteX38" fmla="*/ 0 w 9194800"/>
              <a:gd name="connsiteY38"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23300 w 9194800"/>
              <a:gd name="connsiteY24" fmla="*/ 381000 h 3263900"/>
              <a:gd name="connsiteX25" fmla="*/ 8686800 w 9194800"/>
              <a:gd name="connsiteY25" fmla="*/ 342900 h 3263900"/>
              <a:gd name="connsiteX26" fmla="*/ 8724900 w 9194800"/>
              <a:gd name="connsiteY26" fmla="*/ 317500 h 3263900"/>
              <a:gd name="connsiteX27" fmla="*/ 8775700 w 9194800"/>
              <a:gd name="connsiteY27" fmla="*/ 304800 h 3263900"/>
              <a:gd name="connsiteX28" fmla="*/ 8851900 w 9194800"/>
              <a:gd name="connsiteY28" fmla="*/ 241300 h 3263900"/>
              <a:gd name="connsiteX29" fmla="*/ 8902700 w 9194800"/>
              <a:gd name="connsiteY29" fmla="*/ 228600 h 3263900"/>
              <a:gd name="connsiteX30" fmla="*/ 9004300 w 9194800"/>
              <a:gd name="connsiteY30" fmla="*/ 165100 h 3263900"/>
              <a:gd name="connsiteX31" fmla="*/ 9093200 w 9194800"/>
              <a:gd name="connsiteY31" fmla="*/ 114300 h 3263900"/>
              <a:gd name="connsiteX32" fmla="*/ 9131300 w 9194800"/>
              <a:gd name="connsiteY32" fmla="*/ 63500 h 3263900"/>
              <a:gd name="connsiteX33" fmla="*/ 9169400 w 9194800"/>
              <a:gd name="connsiteY33" fmla="*/ 38100 h 3263900"/>
              <a:gd name="connsiteX34" fmla="*/ 9194800 w 9194800"/>
              <a:gd name="connsiteY34" fmla="*/ 0 h 3263900"/>
              <a:gd name="connsiteX35" fmla="*/ 9194800 w 9194800"/>
              <a:gd name="connsiteY35" fmla="*/ 3263900 h 3263900"/>
              <a:gd name="connsiteX36" fmla="*/ 0 w 9194800"/>
              <a:gd name="connsiteY36" fmla="*/ 3263900 h 3263900"/>
              <a:gd name="connsiteX37" fmla="*/ 0 w 9194800"/>
              <a:gd name="connsiteY37"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8724900 w 9194800"/>
              <a:gd name="connsiteY25" fmla="*/ 317500 h 3263900"/>
              <a:gd name="connsiteX26" fmla="*/ 8775700 w 9194800"/>
              <a:gd name="connsiteY26" fmla="*/ 304800 h 3263900"/>
              <a:gd name="connsiteX27" fmla="*/ 8851900 w 9194800"/>
              <a:gd name="connsiteY27" fmla="*/ 241300 h 3263900"/>
              <a:gd name="connsiteX28" fmla="*/ 8902700 w 9194800"/>
              <a:gd name="connsiteY28" fmla="*/ 228600 h 3263900"/>
              <a:gd name="connsiteX29" fmla="*/ 9004300 w 9194800"/>
              <a:gd name="connsiteY29" fmla="*/ 165100 h 3263900"/>
              <a:gd name="connsiteX30" fmla="*/ 9093200 w 9194800"/>
              <a:gd name="connsiteY30" fmla="*/ 114300 h 3263900"/>
              <a:gd name="connsiteX31" fmla="*/ 9131300 w 9194800"/>
              <a:gd name="connsiteY31" fmla="*/ 63500 h 3263900"/>
              <a:gd name="connsiteX32" fmla="*/ 9169400 w 9194800"/>
              <a:gd name="connsiteY32" fmla="*/ 38100 h 3263900"/>
              <a:gd name="connsiteX33" fmla="*/ 9194800 w 9194800"/>
              <a:gd name="connsiteY33" fmla="*/ 0 h 3263900"/>
              <a:gd name="connsiteX34" fmla="*/ 9194800 w 9194800"/>
              <a:gd name="connsiteY34" fmla="*/ 3263900 h 3263900"/>
              <a:gd name="connsiteX35" fmla="*/ 0 w 9194800"/>
              <a:gd name="connsiteY35" fmla="*/ 3263900 h 3263900"/>
              <a:gd name="connsiteX36" fmla="*/ 0 w 9194800"/>
              <a:gd name="connsiteY36"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8775700 w 9194800"/>
              <a:gd name="connsiteY25" fmla="*/ 304800 h 3263900"/>
              <a:gd name="connsiteX26" fmla="*/ 8851900 w 9194800"/>
              <a:gd name="connsiteY26" fmla="*/ 241300 h 3263900"/>
              <a:gd name="connsiteX27" fmla="*/ 8902700 w 9194800"/>
              <a:gd name="connsiteY27" fmla="*/ 228600 h 3263900"/>
              <a:gd name="connsiteX28" fmla="*/ 9004300 w 9194800"/>
              <a:gd name="connsiteY28" fmla="*/ 165100 h 3263900"/>
              <a:gd name="connsiteX29" fmla="*/ 9093200 w 9194800"/>
              <a:gd name="connsiteY29" fmla="*/ 114300 h 3263900"/>
              <a:gd name="connsiteX30" fmla="*/ 9131300 w 9194800"/>
              <a:gd name="connsiteY30" fmla="*/ 63500 h 3263900"/>
              <a:gd name="connsiteX31" fmla="*/ 9169400 w 9194800"/>
              <a:gd name="connsiteY31" fmla="*/ 38100 h 3263900"/>
              <a:gd name="connsiteX32" fmla="*/ 9194800 w 9194800"/>
              <a:gd name="connsiteY32" fmla="*/ 0 h 3263900"/>
              <a:gd name="connsiteX33" fmla="*/ 9194800 w 9194800"/>
              <a:gd name="connsiteY33" fmla="*/ 3263900 h 3263900"/>
              <a:gd name="connsiteX34" fmla="*/ 0 w 9194800"/>
              <a:gd name="connsiteY34" fmla="*/ 3263900 h 3263900"/>
              <a:gd name="connsiteX35" fmla="*/ 0 w 9194800"/>
              <a:gd name="connsiteY35"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8851900 w 9194800"/>
              <a:gd name="connsiteY25" fmla="*/ 241300 h 3263900"/>
              <a:gd name="connsiteX26" fmla="*/ 8902700 w 9194800"/>
              <a:gd name="connsiteY26" fmla="*/ 228600 h 3263900"/>
              <a:gd name="connsiteX27" fmla="*/ 9004300 w 9194800"/>
              <a:gd name="connsiteY27" fmla="*/ 165100 h 3263900"/>
              <a:gd name="connsiteX28" fmla="*/ 9093200 w 9194800"/>
              <a:gd name="connsiteY28" fmla="*/ 114300 h 3263900"/>
              <a:gd name="connsiteX29" fmla="*/ 9131300 w 9194800"/>
              <a:gd name="connsiteY29" fmla="*/ 63500 h 3263900"/>
              <a:gd name="connsiteX30" fmla="*/ 9169400 w 9194800"/>
              <a:gd name="connsiteY30" fmla="*/ 38100 h 3263900"/>
              <a:gd name="connsiteX31" fmla="*/ 9194800 w 9194800"/>
              <a:gd name="connsiteY31" fmla="*/ 0 h 3263900"/>
              <a:gd name="connsiteX32" fmla="*/ 9194800 w 9194800"/>
              <a:gd name="connsiteY32" fmla="*/ 3263900 h 3263900"/>
              <a:gd name="connsiteX33" fmla="*/ 0 w 9194800"/>
              <a:gd name="connsiteY33" fmla="*/ 3263900 h 3263900"/>
              <a:gd name="connsiteX34" fmla="*/ 0 w 9194800"/>
              <a:gd name="connsiteY34"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8851900 w 9194800"/>
              <a:gd name="connsiteY25" fmla="*/ 241300 h 3263900"/>
              <a:gd name="connsiteX26" fmla="*/ 9004300 w 9194800"/>
              <a:gd name="connsiteY26" fmla="*/ 165100 h 3263900"/>
              <a:gd name="connsiteX27" fmla="*/ 9093200 w 9194800"/>
              <a:gd name="connsiteY27" fmla="*/ 114300 h 3263900"/>
              <a:gd name="connsiteX28" fmla="*/ 9131300 w 9194800"/>
              <a:gd name="connsiteY28" fmla="*/ 63500 h 3263900"/>
              <a:gd name="connsiteX29" fmla="*/ 9169400 w 9194800"/>
              <a:gd name="connsiteY29" fmla="*/ 38100 h 3263900"/>
              <a:gd name="connsiteX30" fmla="*/ 9194800 w 9194800"/>
              <a:gd name="connsiteY30" fmla="*/ 0 h 3263900"/>
              <a:gd name="connsiteX31" fmla="*/ 9194800 w 9194800"/>
              <a:gd name="connsiteY31" fmla="*/ 3263900 h 3263900"/>
              <a:gd name="connsiteX32" fmla="*/ 0 w 9194800"/>
              <a:gd name="connsiteY32" fmla="*/ 3263900 h 3263900"/>
              <a:gd name="connsiteX33" fmla="*/ 0 w 9194800"/>
              <a:gd name="connsiteY33"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9004300 w 9194800"/>
              <a:gd name="connsiteY25" fmla="*/ 165100 h 3263900"/>
              <a:gd name="connsiteX26" fmla="*/ 9093200 w 9194800"/>
              <a:gd name="connsiteY26" fmla="*/ 114300 h 3263900"/>
              <a:gd name="connsiteX27" fmla="*/ 9131300 w 9194800"/>
              <a:gd name="connsiteY27" fmla="*/ 63500 h 3263900"/>
              <a:gd name="connsiteX28" fmla="*/ 9169400 w 9194800"/>
              <a:gd name="connsiteY28" fmla="*/ 38100 h 3263900"/>
              <a:gd name="connsiteX29" fmla="*/ 9194800 w 9194800"/>
              <a:gd name="connsiteY29" fmla="*/ 0 h 3263900"/>
              <a:gd name="connsiteX30" fmla="*/ 9194800 w 9194800"/>
              <a:gd name="connsiteY30" fmla="*/ 3263900 h 3263900"/>
              <a:gd name="connsiteX31" fmla="*/ 0 w 9194800"/>
              <a:gd name="connsiteY31" fmla="*/ 3263900 h 3263900"/>
              <a:gd name="connsiteX32" fmla="*/ 0 w 9194800"/>
              <a:gd name="connsiteY32"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9004300 w 9194800"/>
              <a:gd name="connsiteY25" fmla="*/ 165100 h 3263900"/>
              <a:gd name="connsiteX26" fmla="*/ 9131300 w 9194800"/>
              <a:gd name="connsiteY26" fmla="*/ 63500 h 3263900"/>
              <a:gd name="connsiteX27" fmla="*/ 9169400 w 9194800"/>
              <a:gd name="connsiteY27" fmla="*/ 38100 h 3263900"/>
              <a:gd name="connsiteX28" fmla="*/ 9194800 w 9194800"/>
              <a:gd name="connsiteY28" fmla="*/ 0 h 3263900"/>
              <a:gd name="connsiteX29" fmla="*/ 9194800 w 9194800"/>
              <a:gd name="connsiteY29" fmla="*/ 3263900 h 3263900"/>
              <a:gd name="connsiteX30" fmla="*/ 0 w 9194800"/>
              <a:gd name="connsiteY30" fmla="*/ 3263900 h 3263900"/>
              <a:gd name="connsiteX31" fmla="*/ 0 w 9194800"/>
              <a:gd name="connsiteY31"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9131300 w 9194800"/>
              <a:gd name="connsiteY25" fmla="*/ 63500 h 3263900"/>
              <a:gd name="connsiteX26" fmla="*/ 9169400 w 9194800"/>
              <a:gd name="connsiteY26" fmla="*/ 38100 h 3263900"/>
              <a:gd name="connsiteX27" fmla="*/ 9194800 w 9194800"/>
              <a:gd name="connsiteY27" fmla="*/ 0 h 3263900"/>
              <a:gd name="connsiteX28" fmla="*/ 9194800 w 9194800"/>
              <a:gd name="connsiteY28" fmla="*/ 3263900 h 3263900"/>
              <a:gd name="connsiteX29" fmla="*/ 0 w 9194800"/>
              <a:gd name="connsiteY29" fmla="*/ 3263900 h 3263900"/>
              <a:gd name="connsiteX30" fmla="*/ 0 w 9194800"/>
              <a:gd name="connsiteY30"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20000 w 9194800"/>
              <a:gd name="connsiteY11" fmla="*/ 1219200 h 3263900"/>
              <a:gd name="connsiteX12" fmla="*/ 7696200 w 9194800"/>
              <a:gd name="connsiteY12" fmla="*/ 1155700 h 3263900"/>
              <a:gd name="connsiteX13" fmla="*/ 7759700 w 9194800"/>
              <a:gd name="connsiteY13" fmla="*/ 1066800 h 3263900"/>
              <a:gd name="connsiteX14" fmla="*/ 7835900 w 9194800"/>
              <a:gd name="connsiteY14" fmla="*/ 977900 h 3263900"/>
              <a:gd name="connsiteX15" fmla="*/ 7861300 w 9194800"/>
              <a:gd name="connsiteY15" fmla="*/ 939800 h 3263900"/>
              <a:gd name="connsiteX16" fmla="*/ 7912100 w 9194800"/>
              <a:gd name="connsiteY16" fmla="*/ 889000 h 3263900"/>
              <a:gd name="connsiteX17" fmla="*/ 8001000 w 9194800"/>
              <a:gd name="connsiteY17" fmla="*/ 838200 h 3263900"/>
              <a:gd name="connsiteX18" fmla="*/ 8064500 w 9194800"/>
              <a:gd name="connsiteY18" fmla="*/ 774700 h 3263900"/>
              <a:gd name="connsiteX19" fmla="*/ 8102600 w 9194800"/>
              <a:gd name="connsiteY19" fmla="*/ 736600 h 3263900"/>
              <a:gd name="connsiteX20" fmla="*/ 8140700 w 9194800"/>
              <a:gd name="connsiteY20" fmla="*/ 711200 h 3263900"/>
              <a:gd name="connsiteX21" fmla="*/ 8191500 w 9194800"/>
              <a:gd name="connsiteY21" fmla="*/ 673100 h 3263900"/>
              <a:gd name="connsiteX22" fmla="*/ 8509000 w 9194800"/>
              <a:gd name="connsiteY22" fmla="*/ 457200 h 3263900"/>
              <a:gd name="connsiteX23" fmla="*/ 8559800 w 9194800"/>
              <a:gd name="connsiteY23" fmla="*/ 406400 h 3263900"/>
              <a:gd name="connsiteX24" fmla="*/ 8686800 w 9194800"/>
              <a:gd name="connsiteY24" fmla="*/ 342900 h 3263900"/>
              <a:gd name="connsiteX25" fmla="*/ 9169400 w 9194800"/>
              <a:gd name="connsiteY25" fmla="*/ 38100 h 3263900"/>
              <a:gd name="connsiteX26" fmla="*/ 9194800 w 9194800"/>
              <a:gd name="connsiteY26" fmla="*/ 0 h 3263900"/>
              <a:gd name="connsiteX27" fmla="*/ 9194800 w 9194800"/>
              <a:gd name="connsiteY27" fmla="*/ 3263900 h 3263900"/>
              <a:gd name="connsiteX28" fmla="*/ 0 w 9194800"/>
              <a:gd name="connsiteY28" fmla="*/ 3263900 h 3263900"/>
              <a:gd name="connsiteX29" fmla="*/ 0 w 9194800"/>
              <a:gd name="connsiteY29"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696200 w 9194800"/>
              <a:gd name="connsiteY11" fmla="*/ 1155700 h 3263900"/>
              <a:gd name="connsiteX12" fmla="*/ 7759700 w 9194800"/>
              <a:gd name="connsiteY12" fmla="*/ 1066800 h 3263900"/>
              <a:gd name="connsiteX13" fmla="*/ 7835900 w 9194800"/>
              <a:gd name="connsiteY13" fmla="*/ 977900 h 3263900"/>
              <a:gd name="connsiteX14" fmla="*/ 7861300 w 9194800"/>
              <a:gd name="connsiteY14" fmla="*/ 939800 h 3263900"/>
              <a:gd name="connsiteX15" fmla="*/ 7912100 w 9194800"/>
              <a:gd name="connsiteY15" fmla="*/ 889000 h 3263900"/>
              <a:gd name="connsiteX16" fmla="*/ 8001000 w 9194800"/>
              <a:gd name="connsiteY16" fmla="*/ 838200 h 3263900"/>
              <a:gd name="connsiteX17" fmla="*/ 8064500 w 9194800"/>
              <a:gd name="connsiteY17" fmla="*/ 774700 h 3263900"/>
              <a:gd name="connsiteX18" fmla="*/ 8102600 w 9194800"/>
              <a:gd name="connsiteY18" fmla="*/ 736600 h 3263900"/>
              <a:gd name="connsiteX19" fmla="*/ 8140700 w 9194800"/>
              <a:gd name="connsiteY19" fmla="*/ 711200 h 3263900"/>
              <a:gd name="connsiteX20" fmla="*/ 8191500 w 9194800"/>
              <a:gd name="connsiteY20" fmla="*/ 673100 h 3263900"/>
              <a:gd name="connsiteX21" fmla="*/ 8509000 w 9194800"/>
              <a:gd name="connsiteY21" fmla="*/ 457200 h 3263900"/>
              <a:gd name="connsiteX22" fmla="*/ 8559800 w 9194800"/>
              <a:gd name="connsiteY22" fmla="*/ 406400 h 3263900"/>
              <a:gd name="connsiteX23" fmla="*/ 8686800 w 9194800"/>
              <a:gd name="connsiteY23" fmla="*/ 342900 h 3263900"/>
              <a:gd name="connsiteX24" fmla="*/ 9169400 w 9194800"/>
              <a:gd name="connsiteY24" fmla="*/ 38100 h 3263900"/>
              <a:gd name="connsiteX25" fmla="*/ 9194800 w 9194800"/>
              <a:gd name="connsiteY25" fmla="*/ 0 h 3263900"/>
              <a:gd name="connsiteX26" fmla="*/ 9194800 w 9194800"/>
              <a:gd name="connsiteY26" fmla="*/ 3263900 h 3263900"/>
              <a:gd name="connsiteX27" fmla="*/ 0 w 9194800"/>
              <a:gd name="connsiteY27" fmla="*/ 3263900 h 3263900"/>
              <a:gd name="connsiteX28" fmla="*/ 0 w 9194800"/>
              <a:gd name="connsiteY28"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759700 w 9194800"/>
              <a:gd name="connsiteY11" fmla="*/ 1066800 h 3263900"/>
              <a:gd name="connsiteX12" fmla="*/ 7835900 w 9194800"/>
              <a:gd name="connsiteY12" fmla="*/ 977900 h 3263900"/>
              <a:gd name="connsiteX13" fmla="*/ 7861300 w 9194800"/>
              <a:gd name="connsiteY13" fmla="*/ 939800 h 3263900"/>
              <a:gd name="connsiteX14" fmla="*/ 7912100 w 9194800"/>
              <a:gd name="connsiteY14" fmla="*/ 889000 h 3263900"/>
              <a:gd name="connsiteX15" fmla="*/ 8001000 w 9194800"/>
              <a:gd name="connsiteY15" fmla="*/ 838200 h 3263900"/>
              <a:gd name="connsiteX16" fmla="*/ 8064500 w 9194800"/>
              <a:gd name="connsiteY16" fmla="*/ 774700 h 3263900"/>
              <a:gd name="connsiteX17" fmla="*/ 8102600 w 9194800"/>
              <a:gd name="connsiteY17" fmla="*/ 736600 h 3263900"/>
              <a:gd name="connsiteX18" fmla="*/ 8140700 w 9194800"/>
              <a:gd name="connsiteY18" fmla="*/ 711200 h 3263900"/>
              <a:gd name="connsiteX19" fmla="*/ 8191500 w 9194800"/>
              <a:gd name="connsiteY19" fmla="*/ 673100 h 3263900"/>
              <a:gd name="connsiteX20" fmla="*/ 8509000 w 9194800"/>
              <a:gd name="connsiteY20" fmla="*/ 457200 h 3263900"/>
              <a:gd name="connsiteX21" fmla="*/ 8559800 w 9194800"/>
              <a:gd name="connsiteY21" fmla="*/ 406400 h 3263900"/>
              <a:gd name="connsiteX22" fmla="*/ 8686800 w 9194800"/>
              <a:gd name="connsiteY22" fmla="*/ 342900 h 3263900"/>
              <a:gd name="connsiteX23" fmla="*/ 9169400 w 9194800"/>
              <a:gd name="connsiteY23" fmla="*/ 38100 h 3263900"/>
              <a:gd name="connsiteX24" fmla="*/ 9194800 w 9194800"/>
              <a:gd name="connsiteY24" fmla="*/ 0 h 3263900"/>
              <a:gd name="connsiteX25" fmla="*/ 9194800 w 9194800"/>
              <a:gd name="connsiteY25" fmla="*/ 3263900 h 3263900"/>
              <a:gd name="connsiteX26" fmla="*/ 0 w 9194800"/>
              <a:gd name="connsiteY26" fmla="*/ 3263900 h 3263900"/>
              <a:gd name="connsiteX27" fmla="*/ 0 w 9194800"/>
              <a:gd name="connsiteY27"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7861300 w 9194800"/>
              <a:gd name="connsiteY12" fmla="*/ 939800 h 3263900"/>
              <a:gd name="connsiteX13" fmla="*/ 7912100 w 9194800"/>
              <a:gd name="connsiteY13" fmla="*/ 889000 h 3263900"/>
              <a:gd name="connsiteX14" fmla="*/ 8001000 w 9194800"/>
              <a:gd name="connsiteY14" fmla="*/ 838200 h 3263900"/>
              <a:gd name="connsiteX15" fmla="*/ 8064500 w 9194800"/>
              <a:gd name="connsiteY15" fmla="*/ 774700 h 3263900"/>
              <a:gd name="connsiteX16" fmla="*/ 8102600 w 9194800"/>
              <a:gd name="connsiteY16" fmla="*/ 736600 h 3263900"/>
              <a:gd name="connsiteX17" fmla="*/ 8140700 w 9194800"/>
              <a:gd name="connsiteY17" fmla="*/ 711200 h 3263900"/>
              <a:gd name="connsiteX18" fmla="*/ 8191500 w 9194800"/>
              <a:gd name="connsiteY18" fmla="*/ 673100 h 3263900"/>
              <a:gd name="connsiteX19" fmla="*/ 8509000 w 9194800"/>
              <a:gd name="connsiteY19" fmla="*/ 457200 h 3263900"/>
              <a:gd name="connsiteX20" fmla="*/ 8559800 w 9194800"/>
              <a:gd name="connsiteY20" fmla="*/ 406400 h 3263900"/>
              <a:gd name="connsiteX21" fmla="*/ 8686800 w 9194800"/>
              <a:gd name="connsiteY21" fmla="*/ 342900 h 3263900"/>
              <a:gd name="connsiteX22" fmla="*/ 9169400 w 9194800"/>
              <a:gd name="connsiteY22" fmla="*/ 38100 h 3263900"/>
              <a:gd name="connsiteX23" fmla="*/ 9194800 w 9194800"/>
              <a:gd name="connsiteY23" fmla="*/ 0 h 3263900"/>
              <a:gd name="connsiteX24" fmla="*/ 9194800 w 9194800"/>
              <a:gd name="connsiteY24" fmla="*/ 3263900 h 3263900"/>
              <a:gd name="connsiteX25" fmla="*/ 0 w 9194800"/>
              <a:gd name="connsiteY25" fmla="*/ 3263900 h 3263900"/>
              <a:gd name="connsiteX26" fmla="*/ 0 w 9194800"/>
              <a:gd name="connsiteY26"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7912100 w 9194800"/>
              <a:gd name="connsiteY12" fmla="*/ 889000 h 3263900"/>
              <a:gd name="connsiteX13" fmla="*/ 8001000 w 9194800"/>
              <a:gd name="connsiteY13" fmla="*/ 838200 h 3263900"/>
              <a:gd name="connsiteX14" fmla="*/ 8064500 w 9194800"/>
              <a:gd name="connsiteY14" fmla="*/ 774700 h 3263900"/>
              <a:gd name="connsiteX15" fmla="*/ 8102600 w 9194800"/>
              <a:gd name="connsiteY15" fmla="*/ 736600 h 3263900"/>
              <a:gd name="connsiteX16" fmla="*/ 8140700 w 9194800"/>
              <a:gd name="connsiteY16" fmla="*/ 711200 h 3263900"/>
              <a:gd name="connsiteX17" fmla="*/ 8191500 w 9194800"/>
              <a:gd name="connsiteY17" fmla="*/ 673100 h 3263900"/>
              <a:gd name="connsiteX18" fmla="*/ 8509000 w 9194800"/>
              <a:gd name="connsiteY18" fmla="*/ 457200 h 3263900"/>
              <a:gd name="connsiteX19" fmla="*/ 8559800 w 9194800"/>
              <a:gd name="connsiteY19" fmla="*/ 406400 h 3263900"/>
              <a:gd name="connsiteX20" fmla="*/ 8686800 w 9194800"/>
              <a:gd name="connsiteY20" fmla="*/ 342900 h 3263900"/>
              <a:gd name="connsiteX21" fmla="*/ 9169400 w 9194800"/>
              <a:gd name="connsiteY21" fmla="*/ 38100 h 3263900"/>
              <a:gd name="connsiteX22" fmla="*/ 9194800 w 9194800"/>
              <a:gd name="connsiteY22" fmla="*/ 0 h 3263900"/>
              <a:gd name="connsiteX23" fmla="*/ 9194800 w 9194800"/>
              <a:gd name="connsiteY23" fmla="*/ 3263900 h 3263900"/>
              <a:gd name="connsiteX24" fmla="*/ 0 w 9194800"/>
              <a:gd name="connsiteY24" fmla="*/ 3263900 h 3263900"/>
              <a:gd name="connsiteX25" fmla="*/ 0 w 9194800"/>
              <a:gd name="connsiteY25"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01000 w 9194800"/>
              <a:gd name="connsiteY12" fmla="*/ 838200 h 3263900"/>
              <a:gd name="connsiteX13" fmla="*/ 8064500 w 9194800"/>
              <a:gd name="connsiteY13" fmla="*/ 774700 h 3263900"/>
              <a:gd name="connsiteX14" fmla="*/ 8102600 w 9194800"/>
              <a:gd name="connsiteY14" fmla="*/ 736600 h 3263900"/>
              <a:gd name="connsiteX15" fmla="*/ 8140700 w 9194800"/>
              <a:gd name="connsiteY15" fmla="*/ 711200 h 3263900"/>
              <a:gd name="connsiteX16" fmla="*/ 8191500 w 9194800"/>
              <a:gd name="connsiteY16" fmla="*/ 673100 h 3263900"/>
              <a:gd name="connsiteX17" fmla="*/ 8509000 w 9194800"/>
              <a:gd name="connsiteY17" fmla="*/ 457200 h 3263900"/>
              <a:gd name="connsiteX18" fmla="*/ 8559800 w 9194800"/>
              <a:gd name="connsiteY18" fmla="*/ 406400 h 3263900"/>
              <a:gd name="connsiteX19" fmla="*/ 8686800 w 9194800"/>
              <a:gd name="connsiteY19" fmla="*/ 342900 h 3263900"/>
              <a:gd name="connsiteX20" fmla="*/ 9169400 w 9194800"/>
              <a:gd name="connsiteY20" fmla="*/ 38100 h 3263900"/>
              <a:gd name="connsiteX21" fmla="*/ 9194800 w 9194800"/>
              <a:gd name="connsiteY21" fmla="*/ 0 h 3263900"/>
              <a:gd name="connsiteX22" fmla="*/ 9194800 w 9194800"/>
              <a:gd name="connsiteY22" fmla="*/ 3263900 h 3263900"/>
              <a:gd name="connsiteX23" fmla="*/ 0 w 9194800"/>
              <a:gd name="connsiteY23" fmla="*/ 3263900 h 3263900"/>
              <a:gd name="connsiteX24" fmla="*/ 0 w 9194800"/>
              <a:gd name="connsiteY24"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102600 w 9194800"/>
              <a:gd name="connsiteY13" fmla="*/ 736600 h 3263900"/>
              <a:gd name="connsiteX14" fmla="*/ 8140700 w 9194800"/>
              <a:gd name="connsiteY14" fmla="*/ 711200 h 3263900"/>
              <a:gd name="connsiteX15" fmla="*/ 8191500 w 9194800"/>
              <a:gd name="connsiteY15" fmla="*/ 673100 h 3263900"/>
              <a:gd name="connsiteX16" fmla="*/ 8509000 w 9194800"/>
              <a:gd name="connsiteY16" fmla="*/ 457200 h 3263900"/>
              <a:gd name="connsiteX17" fmla="*/ 8559800 w 9194800"/>
              <a:gd name="connsiteY17" fmla="*/ 406400 h 3263900"/>
              <a:gd name="connsiteX18" fmla="*/ 8686800 w 9194800"/>
              <a:gd name="connsiteY18" fmla="*/ 342900 h 3263900"/>
              <a:gd name="connsiteX19" fmla="*/ 9169400 w 9194800"/>
              <a:gd name="connsiteY19" fmla="*/ 38100 h 3263900"/>
              <a:gd name="connsiteX20" fmla="*/ 9194800 w 9194800"/>
              <a:gd name="connsiteY20" fmla="*/ 0 h 3263900"/>
              <a:gd name="connsiteX21" fmla="*/ 9194800 w 9194800"/>
              <a:gd name="connsiteY21" fmla="*/ 3263900 h 3263900"/>
              <a:gd name="connsiteX22" fmla="*/ 0 w 9194800"/>
              <a:gd name="connsiteY22" fmla="*/ 3263900 h 3263900"/>
              <a:gd name="connsiteX23" fmla="*/ 0 w 9194800"/>
              <a:gd name="connsiteY23"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140700 w 9194800"/>
              <a:gd name="connsiteY13" fmla="*/ 711200 h 3263900"/>
              <a:gd name="connsiteX14" fmla="*/ 8191500 w 9194800"/>
              <a:gd name="connsiteY14" fmla="*/ 673100 h 3263900"/>
              <a:gd name="connsiteX15" fmla="*/ 8509000 w 9194800"/>
              <a:gd name="connsiteY15" fmla="*/ 457200 h 3263900"/>
              <a:gd name="connsiteX16" fmla="*/ 8559800 w 9194800"/>
              <a:gd name="connsiteY16" fmla="*/ 406400 h 3263900"/>
              <a:gd name="connsiteX17" fmla="*/ 8686800 w 9194800"/>
              <a:gd name="connsiteY17" fmla="*/ 342900 h 3263900"/>
              <a:gd name="connsiteX18" fmla="*/ 9169400 w 9194800"/>
              <a:gd name="connsiteY18" fmla="*/ 38100 h 3263900"/>
              <a:gd name="connsiteX19" fmla="*/ 9194800 w 9194800"/>
              <a:gd name="connsiteY19" fmla="*/ 0 h 3263900"/>
              <a:gd name="connsiteX20" fmla="*/ 9194800 w 9194800"/>
              <a:gd name="connsiteY20" fmla="*/ 3263900 h 3263900"/>
              <a:gd name="connsiteX21" fmla="*/ 0 w 9194800"/>
              <a:gd name="connsiteY21" fmla="*/ 3263900 h 3263900"/>
              <a:gd name="connsiteX22" fmla="*/ 0 w 9194800"/>
              <a:gd name="connsiteY22"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191500 w 9194800"/>
              <a:gd name="connsiteY13" fmla="*/ 673100 h 3263900"/>
              <a:gd name="connsiteX14" fmla="*/ 8509000 w 9194800"/>
              <a:gd name="connsiteY14" fmla="*/ 457200 h 3263900"/>
              <a:gd name="connsiteX15" fmla="*/ 8559800 w 9194800"/>
              <a:gd name="connsiteY15" fmla="*/ 406400 h 3263900"/>
              <a:gd name="connsiteX16" fmla="*/ 8686800 w 9194800"/>
              <a:gd name="connsiteY16" fmla="*/ 342900 h 3263900"/>
              <a:gd name="connsiteX17" fmla="*/ 9169400 w 9194800"/>
              <a:gd name="connsiteY17" fmla="*/ 38100 h 3263900"/>
              <a:gd name="connsiteX18" fmla="*/ 9194800 w 9194800"/>
              <a:gd name="connsiteY18" fmla="*/ 0 h 3263900"/>
              <a:gd name="connsiteX19" fmla="*/ 9194800 w 9194800"/>
              <a:gd name="connsiteY19" fmla="*/ 3263900 h 3263900"/>
              <a:gd name="connsiteX20" fmla="*/ 0 w 9194800"/>
              <a:gd name="connsiteY20" fmla="*/ 3263900 h 3263900"/>
              <a:gd name="connsiteX21" fmla="*/ 0 w 9194800"/>
              <a:gd name="connsiteY21"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509000 w 9194800"/>
              <a:gd name="connsiteY13" fmla="*/ 457200 h 3263900"/>
              <a:gd name="connsiteX14" fmla="*/ 8559800 w 9194800"/>
              <a:gd name="connsiteY14" fmla="*/ 406400 h 3263900"/>
              <a:gd name="connsiteX15" fmla="*/ 8686800 w 9194800"/>
              <a:gd name="connsiteY15" fmla="*/ 342900 h 3263900"/>
              <a:gd name="connsiteX16" fmla="*/ 9169400 w 9194800"/>
              <a:gd name="connsiteY16" fmla="*/ 38100 h 3263900"/>
              <a:gd name="connsiteX17" fmla="*/ 9194800 w 9194800"/>
              <a:gd name="connsiteY17" fmla="*/ 0 h 3263900"/>
              <a:gd name="connsiteX18" fmla="*/ 9194800 w 9194800"/>
              <a:gd name="connsiteY18" fmla="*/ 3263900 h 3263900"/>
              <a:gd name="connsiteX19" fmla="*/ 0 w 9194800"/>
              <a:gd name="connsiteY19" fmla="*/ 3263900 h 3263900"/>
              <a:gd name="connsiteX20" fmla="*/ 0 w 9194800"/>
              <a:gd name="connsiteY20"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509000 w 9194800"/>
              <a:gd name="connsiteY13" fmla="*/ 457200 h 3263900"/>
              <a:gd name="connsiteX14" fmla="*/ 8686800 w 9194800"/>
              <a:gd name="connsiteY14" fmla="*/ 342900 h 3263900"/>
              <a:gd name="connsiteX15" fmla="*/ 9169400 w 9194800"/>
              <a:gd name="connsiteY15" fmla="*/ 38100 h 3263900"/>
              <a:gd name="connsiteX16" fmla="*/ 9194800 w 9194800"/>
              <a:gd name="connsiteY16" fmla="*/ 0 h 3263900"/>
              <a:gd name="connsiteX17" fmla="*/ 9194800 w 9194800"/>
              <a:gd name="connsiteY17" fmla="*/ 3263900 h 3263900"/>
              <a:gd name="connsiteX18" fmla="*/ 0 w 9194800"/>
              <a:gd name="connsiteY18" fmla="*/ 3263900 h 3263900"/>
              <a:gd name="connsiteX19" fmla="*/ 0 w 9194800"/>
              <a:gd name="connsiteY19"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064500 w 9194800"/>
              <a:gd name="connsiteY12" fmla="*/ 774700 h 3263900"/>
              <a:gd name="connsiteX13" fmla="*/ 8686800 w 9194800"/>
              <a:gd name="connsiteY13" fmla="*/ 342900 h 3263900"/>
              <a:gd name="connsiteX14" fmla="*/ 9169400 w 9194800"/>
              <a:gd name="connsiteY14" fmla="*/ 38100 h 3263900"/>
              <a:gd name="connsiteX15" fmla="*/ 9194800 w 9194800"/>
              <a:gd name="connsiteY15" fmla="*/ 0 h 3263900"/>
              <a:gd name="connsiteX16" fmla="*/ 9194800 w 9194800"/>
              <a:gd name="connsiteY16" fmla="*/ 3263900 h 3263900"/>
              <a:gd name="connsiteX17" fmla="*/ 0 w 9194800"/>
              <a:gd name="connsiteY17" fmla="*/ 3263900 h 3263900"/>
              <a:gd name="connsiteX18" fmla="*/ 0 w 9194800"/>
              <a:gd name="connsiteY18"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556500 w 9194800"/>
              <a:gd name="connsiteY10" fmla="*/ 1244600 h 3263900"/>
              <a:gd name="connsiteX11" fmla="*/ 7835900 w 9194800"/>
              <a:gd name="connsiteY11" fmla="*/ 977900 h 3263900"/>
              <a:gd name="connsiteX12" fmla="*/ 8686800 w 9194800"/>
              <a:gd name="connsiteY12" fmla="*/ 342900 h 3263900"/>
              <a:gd name="connsiteX13" fmla="*/ 9169400 w 9194800"/>
              <a:gd name="connsiteY13" fmla="*/ 38100 h 3263900"/>
              <a:gd name="connsiteX14" fmla="*/ 9194800 w 9194800"/>
              <a:gd name="connsiteY14" fmla="*/ 0 h 3263900"/>
              <a:gd name="connsiteX15" fmla="*/ 9194800 w 9194800"/>
              <a:gd name="connsiteY15" fmla="*/ 3263900 h 3263900"/>
              <a:gd name="connsiteX16" fmla="*/ 0 w 9194800"/>
              <a:gd name="connsiteY16" fmla="*/ 3263900 h 3263900"/>
              <a:gd name="connsiteX17" fmla="*/ 0 w 9194800"/>
              <a:gd name="connsiteY17"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442200 w 9194800"/>
              <a:gd name="connsiteY9" fmla="*/ 1320800 h 3263900"/>
              <a:gd name="connsiteX10" fmla="*/ 7835900 w 9194800"/>
              <a:gd name="connsiteY10" fmla="*/ 977900 h 3263900"/>
              <a:gd name="connsiteX11" fmla="*/ 8686800 w 9194800"/>
              <a:gd name="connsiteY11" fmla="*/ 342900 h 3263900"/>
              <a:gd name="connsiteX12" fmla="*/ 9169400 w 9194800"/>
              <a:gd name="connsiteY12" fmla="*/ 38100 h 3263900"/>
              <a:gd name="connsiteX13" fmla="*/ 9194800 w 9194800"/>
              <a:gd name="connsiteY13" fmla="*/ 0 h 3263900"/>
              <a:gd name="connsiteX14" fmla="*/ 9194800 w 9194800"/>
              <a:gd name="connsiteY14" fmla="*/ 3263900 h 3263900"/>
              <a:gd name="connsiteX15" fmla="*/ 0 w 9194800"/>
              <a:gd name="connsiteY15" fmla="*/ 3263900 h 3263900"/>
              <a:gd name="connsiteX16" fmla="*/ 0 w 9194800"/>
              <a:gd name="connsiteY16"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289800 w 9194800"/>
              <a:gd name="connsiteY8" fmla="*/ 1397000 h 3263900"/>
              <a:gd name="connsiteX9" fmla="*/ 7835900 w 9194800"/>
              <a:gd name="connsiteY9" fmla="*/ 977900 h 3263900"/>
              <a:gd name="connsiteX10" fmla="*/ 8686800 w 9194800"/>
              <a:gd name="connsiteY10" fmla="*/ 342900 h 3263900"/>
              <a:gd name="connsiteX11" fmla="*/ 9169400 w 9194800"/>
              <a:gd name="connsiteY11" fmla="*/ 38100 h 3263900"/>
              <a:gd name="connsiteX12" fmla="*/ 9194800 w 9194800"/>
              <a:gd name="connsiteY12" fmla="*/ 0 h 3263900"/>
              <a:gd name="connsiteX13" fmla="*/ 9194800 w 9194800"/>
              <a:gd name="connsiteY13" fmla="*/ 3263900 h 3263900"/>
              <a:gd name="connsiteX14" fmla="*/ 0 w 9194800"/>
              <a:gd name="connsiteY14" fmla="*/ 3263900 h 3263900"/>
              <a:gd name="connsiteX15" fmla="*/ 0 w 9194800"/>
              <a:gd name="connsiteY15"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137400 w 9194800"/>
              <a:gd name="connsiteY7" fmla="*/ 1498600 h 3263900"/>
              <a:gd name="connsiteX8" fmla="*/ 7835900 w 9194800"/>
              <a:gd name="connsiteY8" fmla="*/ 977900 h 3263900"/>
              <a:gd name="connsiteX9" fmla="*/ 8686800 w 9194800"/>
              <a:gd name="connsiteY9" fmla="*/ 342900 h 3263900"/>
              <a:gd name="connsiteX10" fmla="*/ 9169400 w 9194800"/>
              <a:gd name="connsiteY10" fmla="*/ 38100 h 3263900"/>
              <a:gd name="connsiteX11" fmla="*/ 9194800 w 9194800"/>
              <a:gd name="connsiteY11" fmla="*/ 0 h 3263900"/>
              <a:gd name="connsiteX12" fmla="*/ 9194800 w 9194800"/>
              <a:gd name="connsiteY12" fmla="*/ 3263900 h 3263900"/>
              <a:gd name="connsiteX13" fmla="*/ 0 w 9194800"/>
              <a:gd name="connsiteY13" fmla="*/ 3263900 h 3263900"/>
              <a:gd name="connsiteX14" fmla="*/ 0 w 9194800"/>
              <a:gd name="connsiteY14"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023100 w 9194800"/>
              <a:gd name="connsiteY6" fmla="*/ 1536700 h 3263900"/>
              <a:gd name="connsiteX7" fmla="*/ 7835900 w 9194800"/>
              <a:gd name="connsiteY7" fmla="*/ 977900 h 3263900"/>
              <a:gd name="connsiteX8" fmla="*/ 8686800 w 9194800"/>
              <a:gd name="connsiteY8" fmla="*/ 342900 h 3263900"/>
              <a:gd name="connsiteX9" fmla="*/ 9169400 w 9194800"/>
              <a:gd name="connsiteY9" fmla="*/ 38100 h 3263900"/>
              <a:gd name="connsiteX10" fmla="*/ 9194800 w 9194800"/>
              <a:gd name="connsiteY10" fmla="*/ 0 h 3263900"/>
              <a:gd name="connsiteX11" fmla="*/ 9194800 w 9194800"/>
              <a:gd name="connsiteY11" fmla="*/ 3263900 h 3263900"/>
              <a:gd name="connsiteX12" fmla="*/ 0 w 9194800"/>
              <a:gd name="connsiteY12" fmla="*/ 3263900 h 3263900"/>
              <a:gd name="connsiteX13" fmla="*/ 0 w 9194800"/>
              <a:gd name="connsiteY13"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6858000 w 9194800"/>
              <a:gd name="connsiteY5" fmla="*/ 1625600 h 3263900"/>
              <a:gd name="connsiteX6" fmla="*/ 7835900 w 9194800"/>
              <a:gd name="connsiteY6" fmla="*/ 977900 h 3263900"/>
              <a:gd name="connsiteX7" fmla="*/ 8686800 w 9194800"/>
              <a:gd name="connsiteY7" fmla="*/ 342900 h 3263900"/>
              <a:gd name="connsiteX8" fmla="*/ 9169400 w 9194800"/>
              <a:gd name="connsiteY8" fmla="*/ 38100 h 3263900"/>
              <a:gd name="connsiteX9" fmla="*/ 9194800 w 9194800"/>
              <a:gd name="connsiteY9" fmla="*/ 0 h 3263900"/>
              <a:gd name="connsiteX10" fmla="*/ 9194800 w 9194800"/>
              <a:gd name="connsiteY10" fmla="*/ 3263900 h 3263900"/>
              <a:gd name="connsiteX11" fmla="*/ 0 w 9194800"/>
              <a:gd name="connsiteY11" fmla="*/ 3263900 h 3263900"/>
              <a:gd name="connsiteX12" fmla="*/ 0 w 9194800"/>
              <a:gd name="connsiteY12"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6769100 w 9194800"/>
              <a:gd name="connsiteY4" fmla="*/ 1651000 h 3263900"/>
              <a:gd name="connsiteX5" fmla="*/ 7835900 w 9194800"/>
              <a:gd name="connsiteY5" fmla="*/ 977900 h 3263900"/>
              <a:gd name="connsiteX6" fmla="*/ 8686800 w 9194800"/>
              <a:gd name="connsiteY6" fmla="*/ 342900 h 3263900"/>
              <a:gd name="connsiteX7" fmla="*/ 9169400 w 9194800"/>
              <a:gd name="connsiteY7" fmla="*/ 38100 h 3263900"/>
              <a:gd name="connsiteX8" fmla="*/ 9194800 w 9194800"/>
              <a:gd name="connsiteY8" fmla="*/ 0 h 3263900"/>
              <a:gd name="connsiteX9" fmla="*/ 9194800 w 9194800"/>
              <a:gd name="connsiteY9" fmla="*/ 3263900 h 3263900"/>
              <a:gd name="connsiteX10" fmla="*/ 0 w 9194800"/>
              <a:gd name="connsiteY10" fmla="*/ 3263900 h 3263900"/>
              <a:gd name="connsiteX11" fmla="*/ 0 w 9194800"/>
              <a:gd name="connsiteY11"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6413500 w 9194800"/>
              <a:gd name="connsiteY3" fmla="*/ 1752600 h 3263900"/>
              <a:gd name="connsiteX4" fmla="*/ 7835900 w 9194800"/>
              <a:gd name="connsiteY4" fmla="*/ 977900 h 3263900"/>
              <a:gd name="connsiteX5" fmla="*/ 8686800 w 9194800"/>
              <a:gd name="connsiteY5" fmla="*/ 342900 h 3263900"/>
              <a:gd name="connsiteX6" fmla="*/ 9169400 w 9194800"/>
              <a:gd name="connsiteY6" fmla="*/ 38100 h 3263900"/>
              <a:gd name="connsiteX7" fmla="*/ 9194800 w 9194800"/>
              <a:gd name="connsiteY7" fmla="*/ 0 h 3263900"/>
              <a:gd name="connsiteX8" fmla="*/ 9194800 w 9194800"/>
              <a:gd name="connsiteY8" fmla="*/ 3263900 h 3263900"/>
              <a:gd name="connsiteX9" fmla="*/ 0 w 9194800"/>
              <a:gd name="connsiteY9" fmla="*/ 3263900 h 3263900"/>
              <a:gd name="connsiteX10" fmla="*/ 0 w 9194800"/>
              <a:gd name="connsiteY10" fmla="*/ 2298700 h 3263900"/>
              <a:gd name="connsiteX0" fmla="*/ 0 w 9194800"/>
              <a:gd name="connsiteY0" fmla="*/ 2298700 h 3263900"/>
              <a:gd name="connsiteX1" fmla="*/ 3136900 w 9194800"/>
              <a:gd name="connsiteY1" fmla="*/ 2260600 h 3263900"/>
              <a:gd name="connsiteX2" fmla="*/ 4826000 w 9194800"/>
              <a:gd name="connsiteY2" fmla="*/ 2044700 h 3263900"/>
              <a:gd name="connsiteX3" fmla="*/ 7835900 w 9194800"/>
              <a:gd name="connsiteY3" fmla="*/ 977900 h 3263900"/>
              <a:gd name="connsiteX4" fmla="*/ 8686800 w 9194800"/>
              <a:gd name="connsiteY4" fmla="*/ 342900 h 3263900"/>
              <a:gd name="connsiteX5" fmla="*/ 9169400 w 9194800"/>
              <a:gd name="connsiteY5" fmla="*/ 38100 h 3263900"/>
              <a:gd name="connsiteX6" fmla="*/ 9194800 w 9194800"/>
              <a:gd name="connsiteY6" fmla="*/ 0 h 3263900"/>
              <a:gd name="connsiteX7" fmla="*/ 9194800 w 9194800"/>
              <a:gd name="connsiteY7" fmla="*/ 3263900 h 3263900"/>
              <a:gd name="connsiteX8" fmla="*/ 0 w 9194800"/>
              <a:gd name="connsiteY8" fmla="*/ 3263900 h 3263900"/>
              <a:gd name="connsiteX9" fmla="*/ 0 w 9194800"/>
              <a:gd name="connsiteY9" fmla="*/ 2298700 h 3263900"/>
              <a:gd name="connsiteX0" fmla="*/ 0 w 9210678"/>
              <a:gd name="connsiteY0" fmla="*/ 2306815 h 3272015"/>
              <a:gd name="connsiteX1" fmla="*/ 3136900 w 9210678"/>
              <a:gd name="connsiteY1" fmla="*/ 2268715 h 3272015"/>
              <a:gd name="connsiteX2" fmla="*/ 4826000 w 9210678"/>
              <a:gd name="connsiteY2" fmla="*/ 2052815 h 3272015"/>
              <a:gd name="connsiteX3" fmla="*/ 7835900 w 9210678"/>
              <a:gd name="connsiteY3" fmla="*/ 986015 h 3272015"/>
              <a:gd name="connsiteX4" fmla="*/ 8747760 w 9210678"/>
              <a:gd name="connsiteY4" fmla="*/ 442455 h 3272015"/>
              <a:gd name="connsiteX5" fmla="*/ 9169400 w 9210678"/>
              <a:gd name="connsiteY5" fmla="*/ 46215 h 3272015"/>
              <a:gd name="connsiteX6" fmla="*/ 9194800 w 9210678"/>
              <a:gd name="connsiteY6" fmla="*/ 8115 h 3272015"/>
              <a:gd name="connsiteX7" fmla="*/ 9194800 w 9210678"/>
              <a:gd name="connsiteY7" fmla="*/ 3272015 h 3272015"/>
              <a:gd name="connsiteX8" fmla="*/ 0 w 9210678"/>
              <a:gd name="connsiteY8" fmla="*/ 3272015 h 3272015"/>
              <a:gd name="connsiteX9" fmla="*/ 0 w 9210678"/>
              <a:gd name="connsiteY9" fmla="*/ 2306815 h 3272015"/>
              <a:gd name="connsiteX0" fmla="*/ 0 w 9210678"/>
              <a:gd name="connsiteY0" fmla="*/ 2306815 h 3272015"/>
              <a:gd name="connsiteX1" fmla="*/ 3136900 w 9210678"/>
              <a:gd name="connsiteY1" fmla="*/ 2268715 h 3272015"/>
              <a:gd name="connsiteX2" fmla="*/ 4826000 w 9210678"/>
              <a:gd name="connsiteY2" fmla="*/ 2052815 h 3272015"/>
              <a:gd name="connsiteX3" fmla="*/ 8747760 w 9210678"/>
              <a:gd name="connsiteY3" fmla="*/ 442455 h 3272015"/>
              <a:gd name="connsiteX4" fmla="*/ 9169400 w 9210678"/>
              <a:gd name="connsiteY4" fmla="*/ 46215 h 3272015"/>
              <a:gd name="connsiteX5" fmla="*/ 9194800 w 9210678"/>
              <a:gd name="connsiteY5" fmla="*/ 8115 h 3272015"/>
              <a:gd name="connsiteX6" fmla="*/ 9194800 w 9210678"/>
              <a:gd name="connsiteY6" fmla="*/ 3272015 h 3272015"/>
              <a:gd name="connsiteX7" fmla="*/ 0 w 9210678"/>
              <a:gd name="connsiteY7" fmla="*/ 3272015 h 3272015"/>
              <a:gd name="connsiteX8" fmla="*/ 0 w 9210678"/>
              <a:gd name="connsiteY8" fmla="*/ 2306815 h 3272015"/>
              <a:gd name="connsiteX0" fmla="*/ 0 w 9280652"/>
              <a:gd name="connsiteY0" fmla="*/ 2354749 h 3319949"/>
              <a:gd name="connsiteX1" fmla="*/ 3136900 w 9280652"/>
              <a:gd name="connsiteY1" fmla="*/ 2316649 h 3319949"/>
              <a:gd name="connsiteX2" fmla="*/ 4826000 w 9280652"/>
              <a:gd name="connsiteY2" fmla="*/ 2100749 h 3319949"/>
              <a:gd name="connsiteX3" fmla="*/ 8747760 w 9280652"/>
              <a:gd name="connsiteY3" fmla="*/ 490389 h 3319949"/>
              <a:gd name="connsiteX4" fmla="*/ 9169400 w 9280652"/>
              <a:gd name="connsiteY4" fmla="*/ 94149 h 3319949"/>
              <a:gd name="connsiteX5" fmla="*/ 9194800 w 9280652"/>
              <a:gd name="connsiteY5" fmla="*/ 56049 h 3319949"/>
              <a:gd name="connsiteX6" fmla="*/ 9194800 w 9280652"/>
              <a:gd name="connsiteY6" fmla="*/ 3319949 h 3319949"/>
              <a:gd name="connsiteX7" fmla="*/ 0 w 9280652"/>
              <a:gd name="connsiteY7" fmla="*/ 3319949 h 3319949"/>
              <a:gd name="connsiteX8" fmla="*/ 0 w 9280652"/>
              <a:gd name="connsiteY8" fmla="*/ 2354749 h 3319949"/>
              <a:gd name="connsiteX0" fmla="*/ 0 w 9386543"/>
              <a:gd name="connsiteY0" fmla="*/ 2398290 h 3363490"/>
              <a:gd name="connsiteX1" fmla="*/ 3136900 w 9386543"/>
              <a:gd name="connsiteY1" fmla="*/ 2360190 h 3363490"/>
              <a:gd name="connsiteX2" fmla="*/ 4826000 w 9386543"/>
              <a:gd name="connsiteY2" fmla="*/ 2144290 h 3363490"/>
              <a:gd name="connsiteX3" fmla="*/ 6355080 w 9386543"/>
              <a:gd name="connsiteY3" fmla="*/ 1814090 h 3363490"/>
              <a:gd name="connsiteX4" fmla="*/ 9169400 w 9386543"/>
              <a:gd name="connsiteY4" fmla="*/ 137690 h 3363490"/>
              <a:gd name="connsiteX5" fmla="*/ 9194800 w 9386543"/>
              <a:gd name="connsiteY5" fmla="*/ 99590 h 3363490"/>
              <a:gd name="connsiteX6" fmla="*/ 9194800 w 9386543"/>
              <a:gd name="connsiteY6" fmla="*/ 3363490 h 3363490"/>
              <a:gd name="connsiteX7" fmla="*/ 0 w 9386543"/>
              <a:gd name="connsiteY7" fmla="*/ 3363490 h 3363490"/>
              <a:gd name="connsiteX8" fmla="*/ 0 w 9386543"/>
              <a:gd name="connsiteY8" fmla="*/ 2398290 h 3363490"/>
              <a:gd name="connsiteX0" fmla="*/ 0 w 9386543"/>
              <a:gd name="connsiteY0" fmla="*/ 2398290 h 3363490"/>
              <a:gd name="connsiteX1" fmla="*/ 3136900 w 9386543"/>
              <a:gd name="connsiteY1" fmla="*/ 2360190 h 3363490"/>
              <a:gd name="connsiteX2" fmla="*/ 4826000 w 9386543"/>
              <a:gd name="connsiteY2" fmla="*/ 2144290 h 3363490"/>
              <a:gd name="connsiteX3" fmla="*/ 6355080 w 9386543"/>
              <a:gd name="connsiteY3" fmla="*/ 1814090 h 3363490"/>
              <a:gd name="connsiteX4" fmla="*/ 9169400 w 9386543"/>
              <a:gd name="connsiteY4" fmla="*/ 137690 h 3363490"/>
              <a:gd name="connsiteX5" fmla="*/ 9194800 w 9386543"/>
              <a:gd name="connsiteY5" fmla="*/ 99590 h 3363490"/>
              <a:gd name="connsiteX6" fmla="*/ 9194800 w 9386543"/>
              <a:gd name="connsiteY6" fmla="*/ 3363490 h 3363490"/>
              <a:gd name="connsiteX7" fmla="*/ 0 w 9386543"/>
              <a:gd name="connsiteY7" fmla="*/ 3363490 h 3363490"/>
              <a:gd name="connsiteX8" fmla="*/ 0 w 9386543"/>
              <a:gd name="connsiteY8" fmla="*/ 2398290 h 3363490"/>
              <a:gd name="connsiteX0" fmla="*/ 0 w 9386543"/>
              <a:gd name="connsiteY0" fmla="*/ 2398290 h 3363490"/>
              <a:gd name="connsiteX1" fmla="*/ 3136900 w 9386543"/>
              <a:gd name="connsiteY1" fmla="*/ 2360190 h 3363490"/>
              <a:gd name="connsiteX2" fmla="*/ 4826000 w 9386543"/>
              <a:gd name="connsiteY2" fmla="*/ 2144290 h 3363490"/>
              <a:gd name="connsiteX3" fmla="*/ 6355080 w 9386543"/>
              <a:gd name="connsiteY3" fmla="*/ 1814090 h 3363490"/>
              <a:gd name="connsiteX4" fmla="*/ 9169400 w 9386543"/>
              <a:gd name="connsiteY4" fmla="*/ 137690 h 3363490"/>
              <a:gd name="connsiteX5" fmla="*/ 9194800 w 9386543"/>
              <a:gd name="connsiteY5" fmla="*/ 99590 h 3363490"/>
              <a:gd name="connsiteX6" fmla="*/ 9194800 w 9386543"/>
              <a:gd name="connsiteY6" fmla="*/ 3363490 h 3363490"/>
              <a:gd name="connsiteX7" fmla="*/ 0 w 9386543"/>
              <a:gd name="connsiteY7" fmla="*/ 3363490 h 3363490"/>
              <a:gd name="connsiteX8" fmla="*/ 0 w 9386543"/>
              <a:gd name="connsiteY8" fmla="*/ 2398290 h 3363490"/>
              <a:gd name="connsiteX0" fmla="*/ 0 w 9386543"/>
              <a:gd name="connsiteY0" fmla="*/ 2398290 h 3363490"/>
              <a:gd name="connsiteX1" fmla="*/ 3136900 w 9386543"/>
              <a:gd name="connsiteY1" fmla="*/ 2360190 h 3363490"/>
              <a:gd name="connsiteX2" fmla="*/ 4826000 w 9386543"/>
              <a:gd name="connsiteY2" fmla="*/ 2144290 h 3363490"/>
              <a:gd name="connsiteX3" fmla="*/ 6355080 w 9386543"/>
              <a:gd name="connsiteY3" fmla="*/ 1814090 h 3363490"/>
              <a:gd name="connsiteX4" fmla="*/ 9169400 w 9386543"/>
              <a:gd name="connsiteY4" fmla="*/ 137690 h 3363490"/>
              <a:gd name="connsiteX5" fmla="*/ 9194800 w 9386543"/>
              <a:gd name="connsiteY5" fmla="*/ 99590 h 3363490"/>
              <a:gd name="connsiteX6" fmla="*/ 9194800 w 9386543"/>
              <a:gd name="connsiteY6" fmla="*/ 3363490 h 3363490"/>
              <a:gd name="connsiteX7" fmla="*/ 0 w 9386543"/>
              <a:gd name="connsiteY7" fmla="*/ 3363490 h 3363490"/>
              <a:gd name="connsiteX8" fmla="*/ 0 w 9386543"/>
              <a:gd name="connsiteY8" fmla="*/ 2398290 h 3363490"/>
              <a:gd name="connsiteX0" fmla="*/ 0 w 9271470"/>
              <a:gd name="connsiteY0" fmla="*/ 2372042 h 3337242"/>
              <a:gd name="connsiteX1" fmla="*/ 3136900 w 9271470"/>
              <a:gd name="connsiteY1" fmla="*/ 2333942 h 3337242"/>
              <a:gd name="connsiteX2" fmla="*/ 4826000 w 9271470"/>
              <a:gd name="connsiteY2" fmla="*/ 2118042 h 3337242"/>
              <a:gd name="connsiteX3" fmla="*/ 6355080 w 9271470"/>
              <a:gd name="connsiteY3" fmla="*/ 1787842 h 3337242"/>
              <a:gd name="connsiteX4" fmla="*/ 8159750 w 9271470"/>
              <a:gd name="connsiteY4" fmla="*/ 1121092 h 3337242"/>
              <a:gd name="connsiteX5" fmla="*/ 9194800 w 9271470"/>
              <a:gd name="connsiteY5" fmla="*/ 73342 h 3337242"/>
              <a:gd name="connsiteX6" fmla="*/ 9194800 w 9271470"/>
              <a:gd name="connsiteY6" fmla="*/ 3337242 h 3337242"/>
              <a:gd name="connsiteX7" fmla="*/ 0 w 9271470"/>
              <a:gd name="connsiteY7" fmla="*/ 3337242 h 3337242"/>
              <a:gd name="connsiteX8" fmla="*/ 0 w 9271470"/>
              <a:gd name="connsiteY8" fmla="*/ 2372042 h 3337242"/>
              <a:gd name="connsiteX0" fmla="*/ 0 w 9195270"/>
              <a:gd name="connsiteY0" fmla="*/ 2379453 h 3344653"/>
              <a:gd name="connsiteX1" fmla="*/ 3136900 w 9195270"/>
              <a:gd name="connsiteY1" fmla="*/ 2341353 h 3344653"/>
              <a:gd name="connsiteX2" fmla="*/ 4826000 w 9195270"/>
              <a:gd name="connsiteY2" fmla="*/ 2125453 h 3344653"/>
              <a:gd name="connsiteX3" fmla="*/ 6355080 w 9195270"/>
              <a:gd name="connsiteY3" fmla="*/ 1795253 h 3344653"/>
              <a:gd name="connsiteX4" fmla="*/ 8159750 w 9195270"/>
              <a:gd name="connsiteY4" fmla="*/ 1128503 h 3344653"/>
              <a:gd name="connsiteX5" fmla="*/ 9194800 w 9195270"/>
              <a:gd name="connsiteY5" fmla="*/ 80753 h 3344653"/>
              <a:gd name="connsiteX6" fmla="*/ 9194800 w 9195270"/>
              <a:gd name="connsiteY6" fmla="*/ 3344653 h 3344653"/>
              <a:gd name="connsiteX7" fmla="*/ 0 w 9195270"/>
              <a:gd name="connsiteY7" fmla="*/ 3344653 h 3344653"/>
              <a:gd name="connsiteX8" fmla="*/ 0 w 9195270"/>
              <a:gd name="connsiteY8" fmla="*/ 2379453 h 3344653"/>
              <a:gd name="connsiteX0" fmla="*/ 0 w 9195270"/>
              <a:gd name="connsiteY0" fmla="*/ 2379453 h 3344653"/>
              <a:gd name="connsiteX1" fmla="*/ 3136900 w 9195270"/>
              <a:gd name="connsiteY1" fmla="*/ 2341353 h 3344653"/>
              <a:gd name="connsiteX2" fmla="*/ 4826000 w 9195270"/>
              <a:gd name="connsiteY2" fmla="*/ 2125453 h 3344653"/>
              <a:gd name="connsiteX3" fmla="*/ 6355080 w 9195270"/>
              <a:gd name="connsiteY3" fmla="*/ 1795253 h 3344653"/>
              <a:gd name="connsiteX4" fmla="*/ 8159750 w 9195270"/>
              <a:gd name="connsiteY4" fmla="*/ 1128503 h 3344653"/>
              <a:gd name="connsiteX5" fmla="*/ 9194800 w 9195270"/>
              <a:gd name="connsiteY5" fmla="*/ 80753 h 3344653"/>
              <a:gd name="connsiteX6" fmla="*/ 9194800 w 9195270"/>
              <a:gd name="connsiteY6" fmla="*/ 3344653 h 3344653"/>
              <a:gd name="connsiteX7" fmla="*/ 0 w 9195270"/>
              <a:gd name="connsiteY7" fmla="*/ 3344653 h 3344653"/>
              <a:gd name="connsiteX8" fmla="*/ 0 w 9195270"/>
              <a:gd name="connsiteY8" fmla="*/ 2379453 h 3344653"/>
              <a:gd name="connsiteX0" fmla="*/ 0 w 9195270"/>
              <a:gd name="connsiteY0" fmla="*/ 2379453 h 3344653"/>
              <a:gd name="connsiteX1" fmla="*/ 3136900 w 9195270"/>
              <a:gd name="connsiteY1" fmla="*/ 2341353 h 3344653"/>
              <a:gd name="connsiteX2" fmla="*/ 4826000 w 9195270"/>
              <a:gd name="connsiteY2" fmla="*/ 2125453 h 3344653"/>
              <a:gd name="connsiteX3" fmla="*/ 6355080 w 9195270"/>
              <a:gd name="connsiteY3" fmla="*/ 1795253 h 3344653"/>
              <a:gd name="connsiteX4" fmla="*/ 8159750 w 9195270"/>
              <a:gd name="connsiteY4" fmla="*/ 1128503 h 3344653"/>
              <a:gd name="connsiteX5" fmla="*/ 9194800 w 9195270"/>
              <a:gd name="connsiteY5" fmla="*/ 80753 h 3344653"/>
              <a:gd name="connsiteX6" fmla="*/ 9194800 w 9195270"/>
              <a:gd name="connsiteY6" fmla="*/ 3344653 h 3344653"/>
              <a:gd name="connsiteX7" fmla="*/ 0 w 9195270"/>
              <a:gd name="connsiteY7" fmla="*/ 3344653 h 3344653"/>
              <a:gd name="connsiteX8" fmla="*/ 0 w 9195270"/>
              <a:gd name="connsiteY8" fmla="*/ 2379453 h 3344653"/>
              <a:gd name="connsiteX0" fmla="*/ 0 w 9195270"/>
              <a:gd name="connsiteY0" fmla="*/ 2298700 h 3263900"/>
              <a:gd name="connsiteX1" fmla="*/ 3136900 w 9195270"/>
              <a:gd name="connsiteY1" fmla="*/ 2260600 h 3263900"/>
              <a:gd name="connsiteX2" fmla="*/ 4826000 w 9195270"/>
              <a:gd name="connsiteY2" fmla="*/ 2044700 h 3263900"/>
              <a:gd name="connsiteX3" fmla="*/ 6355080 w 9195270"/>
              <a:gd name="connsiteY3" fmla="*/ 1714500 h 3263900"/>
              <a:gd name="connsiteX4" fmla="*/ 8159750 w 9195270"/>
              <a:gd name="connsiteY4" fmla="*/ 1047750 h 3263900"/>
              <a:gd name="connsiteX5" fmla="*/ 9194800 w 9195270"/>
              <a:gd name="connsiteY5" fmla="*/ 0 h 3263900"/>
              <a:gd name="connsiteX6" fmla="*/ 9194800 w 9195270"/>
              <a:gd name="connsiteY6" fmla="*/ 3263900 h 3263900"/>
              <a:gd name="connsiteX7" fmla="*/ 0 w 9195270"/>
              <a:gd name="connsiteY7" fmla="*/ 3263900 h 3263900"/>
              <a:gd name="connsiteX8" fmla="*/ 0 w 9195270"/>
              <a:gd name="connsiteY8" fmla="*/ 2298700 h 3263900"/>
              <a:gd name="connsiteX0" fmla="*/ 0 w 9195270"/>
              <a:gd name="connsiteY0" fmla="*/ 2298700 h 3263900"/>
              <a:gd name="connsiteX1" fmla="*/ 3136900 w 9195270"/>
              <a:gd name="connsiteY1" fmla="*/ 2260600 h 3263900"/>
              <a:gd name="connsiteX2" fmla="*/ 6355080 w 9195270"/>
              <a:gd name="connsiteY2" fmla="*/ 1714500 h 3263900"/>
              <a:gd name="connsiteX3" fmla="*/ 8159750 w 9195270"/>
              <a:gd name="connsiteY3" fmla="*/ 1047750 h 3263900"/>
              <a:gd name="connsiteX4" fmla="*/ 9194800 w 9195270"/>
              <a:gd name="connsiteY4" fmla="*/ 0 h 3263900"/>
              <a:gd name="connsiteX5" fmla="*/ 9194800 w 9195270"/>
              <a:gd name="connsiteY5" fmla="*/ 3263900 h 3263900"/>
              <a:gd name="connsiteX6" fmla="*/ 0 w 9195270"/>
              <a:gd name="connsiteY6" fmla="*/ 3263900 h 3263900"/>
              <a:gd name="connsiteX7" fmla="*/ 0 w 9195270"/>
              <a:gd name="connsiteY7" fmla="*/ 2298700 h 3263900"/>
              <a:gd name="connsiteX0" fmla="*/ 0 w 9195270"/>
              <a:gd name="connsiteY0" fmla="*/ 2298700 h 3263900"/>
              <a:gd name="connsiteX1" fmla="*/ 3136900 w 9195270"/>
              <a:gd name="connsiteY1" fmla="*/ 2260600 h 3263900"/>
              <a:gd name="connsiteX2" fmla="*/ 5212080 w 9195270"/>
              <a:gd name="connsiteY2" fmla="*/ 1950720 h 3263900"/>
              <a:gd name="connsiteX3" fmla="*/ 8159750 w 9195270"/>
              <a:gd name="connsiteY3" fmla="*/ 1047750 h 3263900"/>
              <a:gd name="connsiteX4" fmla="*/ 9194800 w 9195270"/>
              <a:gd name="connsiteY4" fmla="*/ 0 h 3263900"/>
              <a:gd name="connsiteX5" fmla="*/ 9194800 w 9195270"/>
              <a:gd name="connsiteY5" fmla="*/ 3263900 h 3263900"/>
              <a:gd name="connsiteX6" fmla="*/ 0 w 9195270"/>
              <a:gd name="connsiteY6" fmla="*/ 3263900 h 3263900"/>
              <a:gd name="connsiteX7" fmla="*/ 0 w 9195270"/>
              <a:gd name="connsiteY7" fmla="*/ 2298700 h 3263900"/>
              <a:gd name="connsiteX0" fmla="*/ 0 w 9195270"/>
              <a:gd name="connsiteY0" fmla="*/ 2298700 h 3263900"/>
              <a:gd name="connsiteX1" fmla="*/ 3136900 w 9195270"/>
              <a:gd name="connsiteY1" fmla="*/ 2260600 h 3263900"/>
              <a:gd name="connsiteX2" fmla="*/ 5212080 w 9195270"/>
              <a:gd name="connsiteY2" fmla="*/ 1950720 h 3263900"/>
              <a:gd name="connsiteX3" fmla="*/ 6056630 w 9195270"/>
              <a:gd name="connsiteY3" fmla="*/ 1817370 h 3263900"/>
              <a:gd name="connsiteX4" fmla="*/ 9194800 w 9195270"/>
              <a:gd name="connsiteY4" fmla="*/ 0 h 3263900"/>
              <a:gd name="connsiteX5" fmla="*/ 9194800 w 9195270"/>
              <a:gd name="connsiteY5" fmla="*/ 3263900 h 3263900"/>
              <a:gd name="connsiteX6" fmla="*/ 0 w 9195270"/>
              <a:gd name="connsiteY6" fmla="*/ 3263900 h 3263900"/>
              <a:gd name="connsiteX7" fmla="*/ 0 w 9195270"/>
              <a:gd name="connsiteY7" fmla="*/ 2298700 h 3263900"/>
              <a:gd name="connsiteX0" fmla="*/ 0 w 9195270"/>
              <a:gd name="connsiteY0" fmla="*/ 2298700 h 3263900"/>
              <a:gd name="connsiteX1" fmla="*/ 3136900 w 9195270"/>
              <a:gd name="connsiteY1" fmla="*/ 2260600 h 3263900"/>
              <a:gd name="connsiteX2" fmla="*/ 6056630 w 9195270"/>
              <a:gd name="connsiteY2" fmla="*/ 1817370 h 3263900"/>
              <a:gd name="connsiteX3" fmla="*/ 9194800 w 9195270"/>
              <a:gd name="connsiteY3" fmla="*/ 0 h 3263900"/>
              <a:gd name="connsiteX4" fmla="*/ 9194800 w 9195270"/>
              <a:gd name="connsiteY4" fmla="*/ 3263900 h 3263900"/>
              <a:gd name="connsiteX5" fmla="*/ 0 w 9195270"/>
              <a:gd name="connsiteY5" fmla="*/ 3263900 h 3263900"/>
              <a:gd name="connsiteX6" fmla="*/ 0 w 9195270"/>
              <a:gd name="connsiteY6" fmla="*/ 2298700 h 3263900"/>
              <a:gd name="connsiteX0" fmla="*/ 15240 w 9195270"/>
              <a:gd name="connsiteY0" fmla="*/ 2976880 h 3263900"/>
              <a:gd name="connsiteX1" fmla="*/ 3136900 w 9195270"/>
              <a:gd name="connsiteY1" fmla="*/ 2260600 h 3263900"/>
              <a:gd name="connsiteX2" fmla="*/ 6056630 w 9195270"/>
              <a:gd name="connsiteY2" fmla="*/ 1817370 h 3263900"/>
              <a:gd name="connsiteX3" fmla="*/ 9194800 w 9195270"/>
              <a:gd name="connsiteY3" fmla="*/ 0 h 3263900"/>
              <a:gd name="connsiteX4" fmla="*/ 9194800 w 9195270"/>
              <a:gd name="connsiteY4" fmla="*/ 3263900 h 3263900"/>
              <a:gd name="connsiteX5" fmla="*/ 0 w 9195270"/>
              <a:gd name="connsiteY5" fmla="*/ 3263900 h 3263900"/>
              <a:gd name="connsiteX6" fmla="*/ 15240 w 9195270"/>
              <a:gd name="connsiteY6" fmla="*/ 2976880 h 3263900"/>
              <a:gd name="connsiteX0" fmla="*/ 3334 w 9195270"/>
              <a:gd name="connsiteY0" fmla="*/ 2974498 h 3263900"/>
              <a:gd name="connsiteX1" fmla="*/ 3136900 w 9195270"/>
              <a:gd name="connsiteY1" fmla="*/ 2260600 h 3263900"/>
              <a:gd name="connsiteX2" fmla="*/ 6056630 w 9195270"/>
              <a:gd name="connsiteY2" fmla="*/ 1817370 h 3263900"/>
              <a:gd name="connsiteX3" fmla="*/ 9194800 w 9195270"/>
              <a:gd name="connsiteY3" fmla="*/ 0 h 3263900"/>
              <a:gd name="connsiteX4" fmla="*/ 9194800 w 9195270"/>
              <a:gd name="connsiteY4" fmla="*/ 3263900 h 3263900"/>
              <a:gd name="connsiteX5" fmla="*/ 0 w 9195270"/>
              <a:gd name="connsiteY5" fmla="*/ 3263900 h 3263900"/>
              <a:gd name="connsiteX6" fmla="*/ 3334 w 9195270"/>
              <a:gd name="connsiteY6" fmla="*/ 2974498 h 3263900"/>
              <a:gd name="connsiteX0" fmla="*/ 953 w 9195270"/>
              <a:gd name="connsiteY0" fmla="*/ 3036411 h 3263900"/>
              <a:gd name="connsiteX1" fmla="*/ 3136900 w 9195270"/>
              <a:gd name="connsiteY1" fmla="*/ 2260600 h 3263900"/>
              <a:gd name="connsiteX2" fmla="*/ 6056630 w 9195270"/>
              <a:gd name="connsiteY2" fmla="*/ 1817370 h 3263900"/>
              <a:gd name="connsiteX3" fmla="*/ 9194800 w 9195270"/>
              <a:gd name="connsiteY3" fmla="*/ 0 h 3263900"/>
              <a:gd name="connsiteX4" fmla="*/ 9194800 w 9195270"/>
              <a:gd name="connsiteY4" fmla="*/ 3263900 h 3263900"/>
              <a:gd name="connsiteX5" fmla="*/ 0 w 9195270"/>
              <a:gd name="connsiteY5" fmla="*/ 3263900 h 3263900"/>
              <a:gd name="connsiteX6" fmla="*/ 953 w 9195270"/>
              <a:gd name="connsiteY6" fmla="*/ 3036411 h 3263900"/>
              <a:gd name="connsiteX0" fmla="*/ 953 w 9195270"/>
              <a:gd name="connsiteY0" fmla="*/ 3036411 h 3263900"/>
              <a:gd name="connsiteX1" fmla="*/ 6056630 w 9195270"/>
              <a:gd name="connsiteY1" fmla="*/ 181737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959350 w 9195270"/>
              <a:gd name="connsiteY1" fmla="*/ 209931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959350 w 9195270"/>
              <a:gd name="connsiteY1" fmla="*/ 209931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486910 w 9195270"/>
              <a:gd name="connsiteY1" fmla="*/ 235077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486910 w 9195270"/>
              <a:gd name="connsiteY1" fmla="*/ 235077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486910 w 9195270"/>
              <a:gd name="connsiteY1" fmla="*/ 235077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 name="connsiteX0" fmla="*/ 953 w 9195270"/>
              <a:gd name="connsiteY0" fmla="*/ 3036411 h 3263900"/>
              <a:gd name="connsiteX1" fmla="*/ 4486910 w 9195270"/>
              <a:gd name="connsiteY1" fmla="*/ 2350770 h 3263900"/>
              <a:gd name="connsiteX2" fmla="*/ 9194800 w 9195270"/>
              <a:gd name="connsiteY2" fmla="*/ 0 h 3263900"/>
              <a:gd name="connsiteX3" fmla="*/ 9194800 w 9195270"/>
              <a:gd name="connsiteY3" fmla="*/ 3263900 h 3263900"/>
              <a:gd name="connsiteX4" fmla="*/ 0 w 9195270"/>
              <a:gd name="connsiteY4" fmla="*/ 3263900 h 3263900"/>
              <a:gd name="connsiteX5" fmla="*/ 953 w 9195270"/>
              <a:gd name="connsiteY5" fmla="*/ 3036411 h 326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95270" h="3263900">
                <a:moveTo>
                  <a:pt x="953" y="3036411"/>
                </a:moveTo>
                <a:cubicBezTo>
                  <a:pt x="1277091" y="3023923"/>
                  <a:pt x="2977303" y="2843530"/>
                  <a:pt x="4486910" y="2350770"/>
                </a:cubicBezTo>
                <a:cubicBezTo>
                  <a:pt x="5996517" y="1858010"/>
                  <a:pt x="8051695" y="786977"/>
                  <a:pt x="9194800" y="0"/>
                </a:cubicBezTo>
                <a:cubicBezTo>
                  <a:pt x="9195858" y="393170"/>
                  <a:pt x="9194800" y="2175933"/>
                  <a:pt x="9194800" y="3263900"/>
                </a:cubicBezTo>
                <a:lnTo>
                  <a:pt x="0" y="3263900"/>
                </a:lnTo>
                <a:cubicBezTo>
                  <a:pt x="1111" y="3167433"/>
                  <a:pt x="-158" y="3132878"/>
                  <a:pt x="953" y="3036411"/>
                </a:cubicBezTo>
                <a:close/>
              </a:path>
            </a:pathLst>
          </a:custGeom>
          <a:gradFill flip="none" rotWithShape="1">
            <a:gsLst>
              <a:gs pos="0">
                <a:srgbClr val="CCFFCC"/>
              </a:gs>
              <a:gs pos="50000">
                <a:srgbClr val="CCECFF"/>
              </a:gs>
              <a:gs pos="100000">
                <a:schemeClr val="bg1">
                  <a:lumMod val="85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26" name="タイトル 68"/>
          <p:cNvSpPr>
            <a:spLocks/>
          </p:cNvSpPr>
          <p:nvPr/>
        </p:nvSpPr>
        <p:spPr bwMode="auto">
          <a:xfrm>
            <a:off x="1527000" y="136574"/>
            <a:ext cx="9543756" cy="735725"/>
          </a:xfrm>
          <a:prstGeom prst="rect">
            <a:avLst/>
          </a:prstGeom>
          <a:noFill/>
          <a:ln w="9525">
            <a:noFill/>
            <a:miter lim="800000"/>
            <a:headEnd/>
            <a:tailEnd/>
          </a:ln>
        </p:spPr>
        <p:txBody>
          <a:bodyPr lIns="0" rIns="0" anchor="ct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ja-JP" sz="3600" b="0" i="0" u="none" strike="noStrike" kern="1200" cap="none" spc="-150" normalizeH="0" baseline="0" noProof="0" dirty="0">
                <a:ln>
                  <a:noFill/>
                </a:ln>
                <a:solidFill>
                  <a:srgbClr val="0070C0"/>
                </a:solidFill>
                <a:effectLst/>
                <a:uLnTx/>
                <a:uFillTx/>
                <a:latin typeface="Calibri" panose="020F0502020204030204" pitchFamily="34" charset="0"/>
                <a:ea typeface="+mn-ea"/>
                <a:cs typeface="+mn-cs"/>
              </a:rPr>
              <a:t>Supporting Your Traceability Implementation Journey</a:t>
            </a:r>
          </a:p>
        </p:txBody>
      </p:sp>
      <p:sp>
        <p:nvSpPr>
          <p:cNvPr id="8" name="四角形: 角を丸くする 7">
            <a:extLst>
              <a:ext uri="{FF2B5EF4-FFF2-40B4-BE49-F238E27FC236}">
                <a16:creationId xmlns:a16="http://schemas.microsoft.com/office/drawing/2014/main" id="{13F5B6AA-509F-400C-A150-90CE95F91148}"/>
              </a:ext>
            </a:extLst>
          </p:cNvPr>
          <p:cNvSpPr/>
          <p:nvPr/>
        </p:nvSpPr>
        <p:spPr>
          <a:xfrm>
            <a:off x="5366567" y="2810888"/>
            <a:ext cx="1752600" cy="858067"/>
          </a:xfrm>
          <a:prstGeom prst="roundRect">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rPr>
              <a:t>Using </a:t>
            </a:r>
            <a:r>
              <a:rPr kumimoji="1" lang="en-US" altLang="ja-JP" sz="1800" b="0" i="0" u="none" strike="noStrike" kern="1200" cap="none" spc="0" normalizeH="0" baseline="0" noProof="0" dirty="0" smtClean="0">
                <a:ln>
                  <a:noFill/>
                </a:ln>
                <a:solidFill>
                  <a:srgbClr val="FFFFFF"/>
                </a:solidFill>
                <a:effectLst/>
                <a:uLnTx/>
                <a:uFillTx/>
                <a:latin typeface="Meiryo UI" panose="020B0604030504040204" pitchFamily="34" charset="-128"/>
                <a:ea typeface="Meiryo UI" panose="020B0604030504040204" pitchFamily="34" charset="-128"/>
                <a:cs typeface="+mn-cs"/>
              </a:rPr>
              <a:t>Traceability </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rPr>
              <a:t>system</a:t>
            </a: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9" name="四角形: 角を丸くする 8">
            <a:extLst>
              <a:ext uri="{FF2B5EF4-FFF2-40B4-BE49-F238E27FC236}">
                <a16:creationId xmlns:a16="http://schemas.microsoft.com/office/drawing/2014/main" id="{90C94648-5165-494D-8947-73CD5D02814B}"/>
              </a:ext>
            </a:extLst>
          </p:cNvPr>
          <p:cNvSpPr/>
          <p:nvPr/>
        </p:nvSpPr>
        <p:spPr>
          <a:xfrm>
            <a:off x="8858788" y="2007124"/>
            <a:ext cx="1752600" cy="711200"/>
          </a:xfrm>
          <a:prstGeom prst="roundRect">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rPr>
              <a:t>Traceability 4.0</a:t>
            </a: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10" name="テキスト ボックス 9">
            <a:extLst>
              <a:ext uri="{FF2B5EF4-FFF2-40B4-BE49-F238E27FC236}">
                <a16:creationId xmlns:a16="http://schemas.microsoft.com/office/drawing/2014/main" id="{820391A5-3752-422C-A29C-D80E383EFC1F}"/>
              </a:ext>
            </a:extLst>
          </p:cNvPr>
          <p:cNvSpPr txBox="1"/>
          <p:nvPr/>
        </p:nvSpPr>
        <p:spPr>
          <a:xfrm>
            <a:off x="3809730" y="3311220"/>
            <a:ext cx="101341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103DB6"/>
                </a:solidFill>
                <a:effectLst/>
                <a:uLnTx/>
                <a:uFillTx/>
                <a:latin typeface="Meiryo UI" panose="020B0604030504040204" pitchFamily="34" charset="-128"/>
                <a:ea typeface="Meiryo UI" panose="020B0604030504040204" pitchFamily="34" charset="-128"/>
                <a:cs typeface="メイリオ" pitchFamily="50" charset="-128"/>
              </a:rPr>
              <a:t>Phase1</a:t>
            </a:r>
            <a:endParaRPr kumimoji="1" lang="ja-JP" altLang="en-US" sz="1800" b="0" i="0" u="none" strike="noStrike" kern="1200" cap="none" spc="0" normalizeH="0" baseline="0" noProof="0" dirty="0">
              <a:ln>
                <a:noFill/>
              </a:ln>
              <a:solidFill>
                <a:srgbClr val="103DB6"/>
              </a:solidFill>
              <a:effectLst/>
              <a:uLnTx/>
              <a:uFillTx/>
              <a:latin typeface="Meiryo UI" panose="020B0604030504040204" pitchFamily="34" charset="-128"/>
              <a:ea typeface="Meiryo UI" panose="020B0604030504040204" pitchFamily="34" charset="-128"/>
              <a:cs typeface="メイリオ" pitchFamily="50" charset="-128"/>
            </a:endParaRPr>
          </a:p>
        </p:txBody>
      </p:sp>
      <p:sp>
        <p:nvSpPr>
          <p:cNvPr id="13" name="吹き出し: 四角形 12">
            <a:extLst>
              <a:ext uri="{FF2B5EF4-FFF2-40B4-BE49-F238E27FC236}">
                <a16:creationId xmlns:a16="http://schemas.microsoft.com/office/drawing/2014/main" id="{34A5DB6D-C837-422A-8C4C-58C5229A5A90}"/>
              </a:ext>
            </a:extLst>
          </p:cNvPr>
          <p:cNvSpPr/>
          <p:nvPr/>
        </p:nvSpPr>
        <p:spPr>
          <a:xfrm>
            <a:off x="1526999" y="1843796"/>
            <a:ext cx="2251475" cy="667875"/>
          </a:xfrm>
          <a:prstGeom prst="wedgeRectCallout">
            <a:avLst>
              <a:gd name="adj1" fmla="val 5886"/>
              <a:gd name="adj2" fmla="val 161677"/>
            </a:avLst>
          </a:prstGeom>
          <a:ln w="12700"/>
        </p:spPr>
        <p:style>
          <a:lnRef idx="2">
            <a:schemeClr val="accent1"/>
          </a:lnRef>
          <a:fillRef idx="1">
            <a:schemeClr val="lt1"/>
          </a:fillRef>
          <a:effectRef idx="0">
            <a:schemeClr val="accent1"/>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Reg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         </a:t>
            </a:r>
            <a:r>
              <a:rPr kumimoji="1" lang="en-US" altLang="ja-JP" sz="1400" b="0" i="0" u="none" strike="noStrike" kern="1200" cap="none" spc="0" normalizeH="0" baseline="0" noProof="0" dirty="0" smtClean="0">
                <a:ln>
                  <a:noFill/>
                </a:ln>
                <a:solidFill>
                  <a:srgbClr val="000000"/>
                </a:solidFill>
                <a:effectLst/>
                <a:uLnTx/>
                <a:uFillTx/>
                <a:latin typeface="Meiryo UI" panose="020B0604030504040204" pitchFamily="34" charset="-128"/>
                <a:ea typeface="Meiryo UI" panose="020B0604030504040204" pitchFamily="34" charset="-128"/>
                <a:cs typeface="+mn-cs"/>
              </a:rPr>
              <a:t>(AIAG, IATF, </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smtClean="0">
                <a:ln>
                  <a:noFill/>
                </a:ln>
                <a:solidFill>
                  <a:srgbClr val="000000"/>
                </a:solidFill>
                <a:effectLst/>
                <a:uLnTx/>
                <a:uFillTx/>
                <a:latin typeface="Meiryo UI" panose="020B0604030504040204" pitchFamily="34" charset="-128"/>
                <a:ea typeface="Meiryo UI" panose="020B0604030504040204" pitchFamily="34" charset="-128"/>
                <a:cs typeface="+mn-cs"/>
              </a:rPr>
              <a:t>Customer request</a:t>
            </a: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19" name="吹き出し: 四角形 18">
            <a:extLst>
              <a:ext uri="{FF2B5EF4-FFF2-40B4-BE49-F238E27FC236}">
                <a16:creationId xmlns:a16="http://schemas.microsoft.com/office/drawing/2014/main" id="{E91395BE-E87E-4A77-B614-BE20262B3212}"/>
              </a:ext>
            </a:extLst>
          </p:cNvPr>
          <p:cNvSpPr/>
          <p:nvPr/>
        </p:nvSpPr>
        <p:spPr>
          <a:xfrm>
            <a:off x="4012874" y="1609868"/>
            <a:ext cx="2251475" cy="938244"/>
          </a:xfrm>
          <a:prstGeom prst="wedgeRectCallout">
            <a:avLst>
              <a:gd name="adj1" fmla="val 31525"/>
              <a:gd name="adj2" fmla="val 90913"/>
            </a:avLst>
          </a:prstGeom>
          <a:ln w="127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srgbClr val="000000"/>
                </a:solidFill>
                <a:effectLst/>
                <a:uLnTx/>
                <a:uFillTx/>
                <a:latin typeface="Meiryo UI" panose="020B0604030504040204" pitchFamily="34" charset="-128"/>
                <a:ea typeface="Meiryo UI" panose="020B0604030504040204" pitchFamily="34" charset="-128"/>
                <a:cs typeface="+mn-cs"/>
              </a:rPr>
              <a:t>Perfecting </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Imple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System Installation</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Expand variation </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endParaRPr>
          </a:p>
        </p:txBody>
      </p:sp>
      <p:sp>
        <p:nvSpPr>
          <p:cNvPr id="14" name="テキスト ボックス 13">
            <a:extLst>
              <a:ext uri="{FF2B5EF4-FFF2-40B4-BE49-F238E27FC236}">
                <a16:creationId xmlns:a16="http://schemas.microsoft.com/office/drawing/2014/main" id="{59E2F88B-2B73-4E14-89D9-DC8A68C1000A}"/>
              </a:ext>
            </a:extLst>
          </p:cNvPr>
          <p:cNvSpPr txBox="1"/>
          <p:nvPr/>
        </p:nvSpPr>
        <p:spPr>
          <a:xfrm>
            <a:off x="1364641" y="1524001"/>
            <a:ext cx="23484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rPr>
              <a:t>Motivation is “HAVE TO”</a:t>
            </a:r>
            <a:endParaRPr kumimoji="1" lang="ja-JP" altLang="en-US"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endParaRPr>
          </a:p>
        </p:txBody>
      </p:sp>
      <p:sp>
        <p:nvSpPr>
          <p:cNvPr id="22" name="矢印: 山形 21">
            <a:extLst>
              <a:ext uri="{FF2B5EF4-FFF2-40B4-BE49-F238E27FC236}">
                <a16:creationId xmlns:a16="http://schemas.microsoft.com/office/drawing/2014/main" id="{917D4C99-EA7E-4F8C-BE96-7FD73C0BA9F6}"/>
              </a:ext>
            </a:extLst>
          </p:cNvPr>
          <p:cNvSpPr/>
          <p:nvPr/>
        </p:nvSpPr>
        <p:spPr>
          <a:xfrm>
            <a:off x="1219200" y="5314488"/>
            <a:ext cx="5143962" cy="747505"/>
          </a:xfrm>
          <a:prstGeom prst="chevron">
            <a:avLst>
              <a:gd name="adj" fmla="val 37092"/>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srgbClr val="FFFFFF"/>
                </a:solidFill>
                <a:effectLst/>
                <a:uLnTx/>
                <a:uFillTx/>
                <a:latin typeface="Meiryo UI" panose="020B0604030504040204" pitchFamily="34" charset="-128"/>
                <a:ea typeface="Meiryo UI" panose="020B0604030504040204" pitchFamily="34" charset="-128"/>
                <a:cs typeface="+mn-cs"/>
              </a:rPr>
              <a:t>Implementing Robust Traceability through MVRC</a:t>
            </a:r>
            <a:endParaRPr kumimoji="1" lang="en-US" altLang="ja-JP" sz="14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23" name="矢印: 山形 22">
            <a:extLst>
              <a:ext uri="{FF2B5EF4-FFF2-40B4-BE49-F238E27FC236}">
                <a16:creationId xmlns:a16="http://schemas.microsoft.com/office/drawing/2014/main" id="{A919EC50-CE36-43A7-894A-DC0C47F6C58D}"/>
              </a:ext>
            </a:extLst>
          </p:cNvPr>
          <p:cNvSpPr/>
          <p:nvPr/>
        </p:nvSpPr>
        <p:spPr>
          <a:xfrm>
            <a:off x="6220845" y="5294866"/>
            <a:ext cx="5148971" cy="747505"/>
          </a:xfrm>
          <a:prstGeom prst="chevron">
            <a:avLst>
              <a:gd name="adj" fmla="val 37092"/>
            </a:avLst>
          </a:prstGeom>
          <a:solidFill>
            <a:srgbClr val="92D05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rPr>
              <a:t>Expanding Solution </a:t>
            </a:r>
            <a:r>
              <a:rPr kumimoji="0" lang="en-US" altLang="ja-JP" sz="1400" b="0" i="0" u="none" strike="noStrike" kern="1200" cap="none" spc="0" normalizeH="0" baseline="0" noProof="0" dirty="0" smtClean="0">
                <a:ln>
                  <a:noFill/>
                </a:ln>
                <a:solidFill>
                  <a:srgbClr val="FFFFFF"/>
                </a:solidFill>
                <a:effectLst/>
                <a:uLnTx/>
                <a:uFillTx/>
                <a:latin typeface="Meiryo UI" panose="020B0604030504040204" pitchFamily="34" charset="-128"/>
                <a:ea typeface="Meiryo UI" panose="020B0604030504040204" pitchFamily="34" charset="-128"/>
                <a:cs typeface="+mn-cs"/>
              </a:rPr>
              <a:t>with Process Data</a:t>
            </a:r>
            <a:endParaRPr kumimoji="0" lang="en-US" altLang="ja-JP" sz="14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27" name="テキスト ボックス 26">
            <a:extLst>
              <a:ext uri="{FF2B5EF4-FFF2-40B4-BE49-F238E27FC236}">
                <a16:creationId xmlns:a16="http://schemas.microsoft.com/office/drawing/2014/main" id="{C7AAC3D1-EEE6-4D2E-9258-8D7E48627DDF}"/>
              </a:ext>
            </a:extLst>
          </p:cNvPr>
          <p:cNvSpPr txBox="1"/>
          <p:nvPr/>
        </p:nvSpPr>
        <p:spPr>
          <a:xfrm>
            <a:off x="6383835" y="1126763"/>
            <a:ext cx="240059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rPr>
              <a:t>Motivation is “WANT TO”</a:t>
            </a:r>
            <a:endParaRPr kumimoji="1" lang="ja-JP" altLang="en-US"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endParaRPr>
          </a:p>
        </p:txBody>
      </p:sp>
      <p:sp>
        <p:nvSpPr>
          <p:cNvPr id="52" name="フリーフォーム: 図形 51">
            <a:extLst>
              <a:ext uri="{FF2B5EF4-FFF2-40B4-BE49-F238E27FC236}">
                <a16:creationId xmlns:a16="http://schemas.microsoft.com/office/drawing/2014/main" id="{2FA42B06-135C-4C7F-A8C0-7FAE4B97C08C}"/>
              </a:ext>
            </a:extLst>
          </p:cNvPr>
          <p:cNvSpPr/>
          <p:nvPr/>
        </p:nvSpPr>
        <p:spPr>
          <a:xfrm>
            <a:off x="3671659" y="3413366"/>
            <a:ext cx="1622274" cy="412960"/>
          </a:xfrm>
          <a:custGeom>
            <a:avLst/>
            <a:gdLst>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38175 w 676275"/>
              <a:gd name="connsiteY6" fmla="*/ 28575 h 149672"/>
              <a:gd name="connsiteX7" fmla="*/ 666750 w 676275"/>
              <a:gd name="connsiteY7" fmla="*/ 9525 h 149672"/>
              <a:gd name="connsiteX8" fmla="*/ 676275 w 676275"/>
              <a:gd name="connsiteY8"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66750 w 676275"/>
              <a:gd name="connsiteY6" fmla="*/ 9525 h 149672"/>
              <a:gd name="connsiteX7" fmla="*/ 676275 w 676275"/>
              <a:gd name="connsiteY7"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66750 w 676275"/>
              <a:gd name="connsiteY5" fmla="*/ 9525 h 149672"/>
              <a:gd name="connsiteX6" fmla="*/ 676275 w 676275"/>
              <a:gd name="connsiteY6"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66750 w 676275"/>
              <a:gd name="connsiteY4" fmla="*/ 9525 h 149672"/>
              <a:gd name="connsiteX5" fmla="*/ 676275 w 676275"/>
              <a:gd name="connsiteY5" fmla="*/ 0 h 149672"/>
              <a:gd name="connsiteX0" fmla="*/ 0 w 688460"/>
              <a:gd name="connsiteY0" fmla="*/ 114910 h 150282"/>
              <a:gd name="connsiteX1" fmla="*/ 371475 w 688460"/>
              <a:gd name="connsiteY1" fmla="*/ 124435 h 150282"/>
              <a:gd name="connsiteX2" fmla="*/ 409575 w 688460"/>
              <a:gd name="connsiteY2" fmla="*/ 105385 h 150282"/>
              <a:gd name="connsiteX3" fmla="*/ 666750 w 688460"/>
              <a:gd name="connsiteY3" fmla="*/ 10135 h 150282"/>
              <a:gd name="connsiteX4" fmla="*/ 676275 w 688460"/>
              <a:gd name="connsiteY4" fmla="*/ 610 h 150282"/>
              <a:gd name="connsiteX0" fmla="*/ 0 w 691256"/>
              <a:gd name="connsiteY0" fmla="*/ 116194 h 149349"/>
              <a:gd name="connsiteX1" fmla="*/ 371475 w 691256"/>
              <a:gd name="connsiteY1" fmla="*/ 125719 h 149349"/>
              <a:gd name="connsiteX2" fmla="*/ 666750 w 691256"/>
              <a:gd name="connsiteY2" fmla="*/ 11419 h 149349"/>
              <a:gd name="connsiteX3" fmla="*/ 676275 w 691256"/>
              <a:gd name="connsiteY3" fmla="*/ 1894 h 149349"/>
              <a:gd name="connsiteX0" fmla="*/ 0 w 809625"/>
              <a:gd name="connsiteY0" fmla="*/ 204787 h 237942"/>
              <a:gd name="connsiteX1" fmla="*/ 371475 w 809625"/>
              <a:gd name="connsiteY1" fmla="*/ 214312 h 237942"/>
              <a:gd name="connsiteX2" fmla="*/ 666750 w 809625"/>
              <a:gd name="connsiteY2" fmla="*/ 100012 h 237942"/>
              <a:gd name="connsiteX3" fmla="*/ 809625 w 809625"/>
              <a:gd name="connsiteY3" fmla="*/ 0 h 237942"/>
              <a:gd name="connsiteX0" fmla="*/ 0 w 928687"/>
              <a:gd name="connsiteY0" fmla="*/ 240506 h 273661"/>
              <a:gd name="connsiteX1" fmla="*/ 371475 w 928687"/>
              <a:gd name="connsiteY1" fmla="*/ 250031 h 273661"/>
              <a:gd name="connsiteX2" fmla="*/ 666750 w 928687"/>
              <a:gd name="connsiteY2" fmla="*/ 135731 h 273661"/>
              <a:gd name="connsiteX3" fmla="*/ 928687 w 928687"/>
              <a:gd name="connsiteY3" fmla="*/ 0 h 273661"/>
              <a:gd name="connsiteX0" fmla="*/ 0 w 1319212"/>
              <a:gd name="connsiteY0" fmla="*/ 664369 h 697524"/>
              <a:gd name="connsiteX1" fmla="*/ 371475 w 1319212"/>
              <a:gd name="connsiteY1" fmla="*/ 673894 h 697524"/>
              <a:gd name="connsiteX2" fmla="*/ 666750 w 1319212"/>
              <a:gd name="connsiteY2" fmla="*/ 559594 h 697524"/>
              <a:gd name="connsiteX3" fmla="*/ 1319212 w 1319212"/>
              <a:gd name="connsiteY3" fmla="*/ 0 h 697524"/>
              <a:gd name="connsiteX0" fmla="*/ 0 w 1802606"/>
              <a:gd name="connsiteY0" fmla="*/ 476250 h 678131"/>
              <a:gd name="connsiteX1" fmla="*/ 854869 w 1802606"/>
              <a:gd name="connsiteY1" fmla="*/ 673894 h 678131"/>
              <a:gd name="connsiteX2" fmla="*/ 1150144 w 1802606"/>
              <a:gd name="connsiteY2" fmla="*/ 559594 h 678131"/>
              <a:gd name="connsiteX3" fmla="*/ 1802606 w 1802606"/>
              <a:gd name="connsiteY3" fmla="*/ 0 h 678131"/>
              <a:gd name="connsiteX0" fmla="*/ 0 w 1802606"/>
              <a:gd name="connsiteY0" fmla="*/ 476250 h 690960"/>
              <a:gd name="connsiteX1" fmla="*/ 854869 w 1802606"/>
              <a:gd name="connsiteY1" fmla="*/ 673894 h 690960"/>
              <a:gd name="connsiteX2" fmla="*/ 1802606 w 1802606"/>
              <a:gd name="connsiteY2" fmla="*/ 0 h 690960"/>
              <a:gd name="connsiteX0" fmla="*/ 0 w 1802606"/>
              <a:gd name="connsiteY0" fmla="*/ 476250 h 625280"/>
              <a:gd name="connsiteX1" fmla="*/ 1100138 w 1802606"/>
              <a:gd name="connsiteY1" fmla="*/ 602457 h 625280"/>
              <a:gd name="connsiteX2" fmla="*/ 1802606 w 1802606"/>
              <a:gd name="connsiteY2" fmla="*/ 0 h 625280"/>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476250"/>
              <a:gd name="connsiteX1" fmla="*/ 1802606 w 1802606"/>
              <a:gd name="connsiteY1" fmla="*/ 0 h 476250"/>
              <a:gd name="connsiteX0" fmla="*/ 0 w 1802606"/>
              <a:gd name="connsiteY0" fmla="*/ 476250 h 476250"/>
              <a:gd name="connsiteX1" fmla="*/ 1802606 w 1802606"/>
              <a:gd name="connsiteY1" fmla="*/ 0 h 476250"/>
              <a:gd name="connsiteX0" fmla="*/ 0 w 1802606"/>
              <a:gd name="connsiteY0" fmla="*/ 476250 h 542183"/>
              <a:gd name="connsiteX1" fmla="*/ 1802606 w 1802606"/>
              <a:gd name="connsiteY1" fmla="*/ 0 h 542183"/>
              <a:gd name="connsiteX0" fmla="*/ 0 w 1802606"/>
              <a:gd name="connsiteY0" fmla="*/ 566737 h 622687"/>
              <a:gd name="connsiteX1" fmla="*/ 1802606 w 1802606"/>
              <a:gd name="connsiteY1" fmla="*/ 0 h 622687"/>
              <a:gd name="connsiteX0" fmla="*/ 0 w 1864519"/>
              <a:gd name="connsiteY0" fmla="*/ 469106 h 535965"/>
              <a:gd name="connsiteX1" fmla="*/ 1864519 w 1864519"/>
              <a:gd name="connsiteY1" fmla="*/ 0 h 535965"/>
              <a:gd name="connsiteX0" fmla="*/ 0 w 1864519"/>
              <a:gd name="connsiteY0" fmla="*/ 469106 h 555640"/>
              <a:gd name="connsiteX1" fmla="*/ 1864519 w 1864519"/>
              <a:gd name="connsiteY1" fmla="*/ 0 h 555640"/>
              <a:gd name="connsiteX0" fmla="*/ 0 w 1864519"/>
              <a:gd name="connsiteY0" fmla="*/ 469106 h 579832"/>
              <a:gd name="connsiteX1" fmla="*/ 1864519 w 1864519"/>
              <a:gd name="connsiteY1" fmla="*/ 0 h 579832"/>
              <a:gd name="connsiteX0" fmla="*/ 0 w 1864519"/>
              <a:gd name="connsiteY0" fmla="*/ 469106 h 616513"/>
              <a:gd name="connsiteX1" fmla="*/ 1864519 w 1864519"/>
              <a:gd name="connsiteY1" fmla="*/ 0 h 616513"/>
              <a:gd name="connsiteX0" fmla="*/ 0 w 1712119"/>
              <a:gd name="connsiteY0" fmla="*/ 469106 h 616513"/>
              <a:gd name="connsiteX1" fmla="*/ 1712119 w 1712119"/>
              <a:gd name="connsiteY1" fmla="*/ 0 h 616513"/>
              <a:gd name="connsiteX0" fmla="*/ 0 w 1712119"/>
              <a:gd name="connsiteY0" fmla="*/ 469106 h 510666"/>
              <a:gd name="connsiteX1" fmla="*/ 1712119 w 1712119"/>
              <a:gd name="connsiteY1" fmla="*/ 0 h 510666"/>
              <a:gd name="connsiteX0" fmla="*/ 0 w 1712119"/>
              <a:gd name="connsiteY0" fmla="*/ 469106 h 486492"/>
              <a:gd name="connsiteX1" fmla="*/ 1712119 w 1712119"/>
              <a:gd name="connsiteY1" fmla="*/ 0 h 486492"/>
              <a:gd name="connsiteX0" fmla="*/ 0 w 1718469"/>
              <a:gd name="connsiteY0" fmla="*/ 501594 h 515650"/>
              <a:gd name="connsiteX1" fmla="*/ 1718469 w 1718469"/>
              <a:gd name="connsiteY1" fmla="*/ 0 h 515650"/>
              <a:gd name="connsiteX0" fmla="*/ 0 w 1718469"/>
              <a:gd name="connsiteY0" fmla="*/ 501594 h 533183"/>
              <a:gd name="connsiteX1" fmla="*/ 1718469 w 1718469"/>
              <a:gd name="connsiteY1" fmla="*/ 0 h 533183"/>
            </a:gdLst>
            <a:ahLst/>
            <a:cxnLst>
              <a:cxn ang="0">
                <a:pos x="connsiteX0" y="connsiteY0"/>
              </a:cxn>
              <a:cxn ang="0">
                <a:pos x="connsiteX1" y="connsiteY1"/>
              </a:cxn>
            </a:cxnLst>
            <a:rect l="l" t="t" r="r" b="b"/>
            <a:pathLst>
              <a:path w="1718469" h="533183">
                <a:moveTo>
                  <a:pt x="0" y="501594"/>
                </a:moveTo>
                <a:cubicBezTo>
                  <a:pt x="402910" y="594522"/>
                  <a:pt x="1297781" y="498189"/>
                  <a:pt x="1718469" y="0"/>
                </a:cubicBezTo>
              </a:path>
            </a:pathLst>
          </a:custGeom>
          <a:noFill/>
          <a:ln w="76200">
            <a:headEnd type="none" w="med" len="med"/>
            <a:tailEnd type="triangl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55" name="フリーフォーム: 図形 54">
            <a:extLst>
              <a:ext uri="{FF2B5EF4-FFF2-40B4-BE49-F238E27FC236}">
                <a16:creationId xmlns:a16="http://schemas.microsoft.com/office/drawing/2014/main" id="{48B4DF93-BCF3-4B30-8967-DFFA6661A15E}"/>
              </a:ext>
            </a:extLst>
          </p:cNvPr>
          <p:cNvSpPr/>
          <p:nvPr/>
        </p:nvSpPr>
        <p:spPr>
          <a:xfrm>
            <a:off x="7157259" y="2714965"/>
            <a:ext cx="1622274" cy="412960"/>
          </a:xfrm>
          <a:custGeom>
            <a:avLst/>
            <a:gdLst>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38175 w 676275"/>
              <a:gd name="connsiteY6" fmla="*/ 28575 h 149672"/>
              <a:gd name="connsiteX7" fmla="*/ 666750 w 676275"/>
              <a:gd name="connsiteY7" fmla="*/ 9525 h 149672"/>
              <a:gd name="connsiteX8" fmla="*/ 676275 w 676275"/>
              <a:gd name="connsiteY8"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66750 w 676275"/>
              <a:gd name="connsiteY6" fmla="*/ 9525 h 149672"/>
              <a:gd name="connsiteX7" fmla="*/ 676275 w 676275"/>
              <a:gd name="connsiteY7"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66750 w 676275"/>
              <a:gd name="connsiteY5" fmla="*/ 9525 h 149672"/>
              <a:gd name="connsiteX6" fmla="*/ 676275 w 676275"/>
              <a:gd name="connsiteY6"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66750 w 676275"/>
              <a:gd name="connsiteY4" fmla="*/ 9525 h 149672"/>
              <a:gd name="connsiteX5" fmla="*/ 676275 w 676275"/>
              <a:gd name="connsiteY5" fmla="*/ 0 h 149672"/>
              <a:gd name="connsiteX0" fmla="*/ 0 w 688460"/>
              <a:gd name="connsiteY0" fmla="*/ 114910 h 150282"/>
              <a:gd name="connsiteX1" fmla="*/ 371475 w 688460"/>
              <a:gd name="connsiteY1" fmla="*/ 124435 h 150282"/>
              <a:gd name="connsiteX2" fmla="*/ 409575 w 688460"/>
              <a:gd name="connsiteY2" fmla="*/ 105385 h 150282"/>
              <a:gd name="connsiteX3" fmla="*/ 666750 w 688460"/>
              <a:gd name="connsiteY3" fmla="*/ 10135 h 150282"/>
              <a:gd name="connsiteX4" fmla="*/ 676275 w 688460"/>
              <a:gd name="connsiteY4" fmla="*/ 610 h 150282"/>
              <a:gd name="connsiteX0" fmla="*/ 0 w 691256"/>
              <a:gd name="connsiteY0" fmla="*/ 116194 h 149349"/>
              <a:gd name="connsiteX1" fmla="*/ 371475 w 691256"/>
              <a:gd name="connsiteY1" fmla="*/ 125719 h 149349"/>
              <a:gd name="connsiteX2" fmla="*/ 666750 w 691256"/>
              <a:gd name="connsiteY2" fmla="*/ 11419 h 149349"/>
              <a:gd name="connsiteX3" fmla="*/ 676275 w 691256"/>
              <a:gd name="connsiteY3" fmla="*/ 1894 h 149349"/>
              <a:gd name="connsiteX0" fmla="*/ 0 w 809625"/>
              <a:gd name="connsiteY0" fmla="*/ 204787 h 237942"/>
              <a:gd name="connsiteX1" fmla="*/ 371475 w 809625"/>
              <a:gd name="connsiteY1" fmla="*/ 214312 h 237942"/>
              <a:gd name="connsiteX2" fmla="*/ 666750 w 809625"/>
              <a:gd name="connsiteY2" fmla="*/ 100012 h 237942"/>
              <a:gd name="connsiteX3" fmla="*/ 809625 w 809625"/>
              <a:gd name="connsiteY3" fmla="*/ 0 h 237942"/>
              <a:gd name="connsiteX0" fmla="*/ 0 w 928687"/>
              <a:gd name="connsiteY0" fmla="*/ 240506 h 273661"/>
              <a:gd name="connsiteX1" fmla="*/ 371475 w 928687"/>
              <a:gd name="connsiteY1" fmla="*/ 250031 h 273661"/>
              <a:gd name="connsiteX2" fmla="*/ 666750 w 928687"/>
              <a:gd name="connsiteY2" fmla="*/ 135731 h 273661"/>
              <a:gd name="connsiteX3" fmla="*/ 928687 w 928687"/>
              <a:gd name="connsiteY3" fmla="*/ 0 h 273661"/>
              <a:gd name="connsiteX0" fmla="*/ 0 w 1319212"/>
              <a:gd name="connsiteY0" fmla="*/ 664369 h 697524"/>
              <a:gd name="connsiteX1" fmla="*/ 371475 w 1319212"/>
              <a:gd name="connsiteY1" fmla="*/ 673894 h 697524"/>
              <a:gd name="connsiteX2" fmla="*/ 666750 w 1319212"/>
              <a:gd name="connsiteY2" fmla="*/ 559594 h 697524"/>
              <a:gd name="connsiteX3" fmla="*/ 1319212 w 1319212"/>
              <a:gd name="connsiteY3" fmla="*/ 0 h 697524"/>
              <a:gd name="connsiteX0" fmla="*/ 0 w 1802606"/>
              <a:gd name="connsiteY0" fmla="*/ 476250 h 678131"/>
              <a:gd name="connsiteX1" fmla="*/ 854869 w 1802606"/>
              <a:gd name="connsiteY1" fmla="*/ 673894 h 678131"/>
              <a:gd name="connsiteX2" fmla="*/ 1150144 w 1802606"/>
              <a:gd name="connsiteY2" fmla="*/ 559594 h 678131"/>
              <a:gd name="connsiteX3" fmla="*/ 1802606 w 1802606"/>
              <a:gd name="connsiteY3" fmla="*/ 0 h 678131"/>
              <a:gd name="connsiteX0" fmla="*/ 0 w 1802606"/>
              <a:gd name="connsiteY0" fmla="*/ 476250 h 690960"/>
              <a:gd name="connsiteX1" fmla="*/ 854869 w 1802606"/>
              <a:gd name="connsiteY1" fmla="*/ 673894 h 690960"/>
              <a:gd name="connsiteX2" fmla="*/ 1802606 w 1802606"/>
              <a:gd name="connsiteY2" fmla="*/ 0 h 690960"/>
              <a:gd name="connsiteX0" fmla="*/ 0 w 1802606"/>
              <a:gd name="connsiteY0" fmla="*/ 476250 h 625280"/>
              <a:gd name="connsiteX1" fmla="*/ 1100138 w 1802606"/>
              <a:gd name="connsiteY1" fmla="*/ 602457 h 625280"/>
              <a:gd name="connsiteX2" fmla="*/ 1802606 w 1802606"/>
              <a:gd name="connsiteY2" fmla="*/ 0 h 625280"/>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476250"/>
              <a:gd name="connsiteX1" fmla="*/ 1802606 w 1802606"/>
              <a:gd name="connsiteY1" fmla="*/ 0 h 476250"/>
              <a:gd name="connsiteX0" fmla="*/ 0 w 1802606"/>
              <a:gd name="connsiteY0" fmla="*/ 476250 h 476250"/>
              <a:gd name="connsiteX1" fmla="*/ 1802606 w 1802606"/>
              <a:gd name="connsiteY1" fmla="*/ 0 h 476250"/>
              <a:gd name="connsiteX0" fmla="*/ 0 w 1802606"/>
              <a:gd name="connsiteY0" fmla="*/ 476250 h 542183"/>
              <a:gd name="connsiteX1" fmla="*/ 1802606 w 1802606"/>
              <a:gd name="connsiteY1" fmla="*/ 0 h 542183"/>
              <a:gd name="connsiteX0" fmla="*/ 0 w 1802606"/>
              <a:gd name="connsiteY0" fmla="*/ 566737 h 622687"/>
              <a:gd name="connsiteX1" fmla="*/ 1802606 w 1802606"/>
              <a:gd name="connsiteY1" fmla="*/ 0 h 622687"/>
              <a:gd name="connsiteX0" fmla="*/ 0 w 1864519"/>
              <a:gd name="connsiteY0" fmla="*/ 469106 h 535965"/>
              <a:gd name="connsiteX1" fmla="*/ 1864519 w 1864519"/>
              <a:gd name="connsiteY1" fmla="*/ 0 h 535965"/>
              <a:gd name="connsiteX0" fmla="*/ 0 w 1864519"/>
              <a:gd name="connsiteY0" fmla="*/ 469106 h 555640"/>
              <a:gd name="connsiteX1" fmla="*/ 1864519 w 1864519"/>
              <a:gd name="connsiteY1" fmla="*/ 0 h 555640"/>
              <a:gd name="connsiteX0" fmla="*/ 0 w 1864519"/>
              <a:gd name="connsiteY0" fmla="*/ 469106 h 579832"/>
              <a:gd name="connsiteX1" fmla="*/ 1864519 w 1864519"/>
              <a:gd name="connsiteY1" fmla="*/ 0 h 579832"/>
              <a:gd name="connsiteX0" fmla="*/ 0 w 1864519"/>
              <a:gd name="connsiteY0" fmla="*/ 469106 h 616513"/>
              <a:gd name="connsiteX1" fmla="*/ 1864519 w 1864519"/>
              <a:gd name="connsiteY1" fmla="*/ 0 h 616513"/>
              <a:gd name="connsiteX0" fmla="*/ 0 w 1712119"/>
              <a:gd name="connsiteY0" fmla="*/ 469106 h 616513"/>
              <a:gd name="connsiteX1" fmla="*/ 1712119 w 1712119"/>
              <a:gd name="connsiteY1" fmla="*/ 0 h 616513"/>
              <a:gd name="connsiteX0" fmla="*/ 0 w 1712119"/>
              <a:gd name="connsiteY0" fmla="*/ 469106 h 510666"/>
              <a:gd name="connsiteX1" fmla="*/ 1712119 w 1712119"/>
              <a:gd name="connsiteY1" fmla="*/ 0 h 510666"/>
              <a:gd name="connsiteX0" fmla="*/ 0 w 1712119"/>
              <a:gd name="connsiteY0" fmla="*/ 469106 h 486492"/>
              <a:gd name="connsiteX1" fmla="*/ 1712119 w 1712119"/>
              <a:gd name="connsiteY1" fmla="*/ 0 h 486492"/>
              <a:gd name="connsiteX0" fmla="*/ 0 w 1718469"/>
              <a:gd name="connsiteY0" fmla="*/ 501594 h 515650"/>
              <a:gd name="connsiteX1" fmla="*/ 1718469 w 1718469"/>
              <a:gd name="connsiteY1" fmla="*/ 0 h 515650"/>
              <a:gd name="connsiteX0" fmla="*/ 0 w 1718469"/>
              <a:gd name="connsiteY0" fmla="*/ 501594 h 533183"/>
              <a:gd name="connsiteX1" fmla="*/ 1718469 w 1718469"/>
              <a:gd name="connsiteY1" fmla="*/ 0 h 533183"/>
            </a:gdLst>
            <a:ahLst/>
            <a:cxnLst>
              <a:cxn ang="0">
                <a:pos x="connsiteX0" y="connsiteY0"/>
              </a:cxn>
              <a:cxn ang="0">
                <a:pos x="connsiteX1" y="connsiteY1"/>
              </a:cxn>
            </a:cxnLst>
            <a:rect l="l" t="t" r="r" b="b"/>
            <a:pathLst>
              <a:path w="1718469" h="533183">
                <a:moveTo>
                  <a:pt x="0" y="501594"/>
                </a:moveTo>
                <a:cubicBezTo>
                  <a:pt x="402910" y="594522"/>
                  <a:pt x="1297781" y="498189"/>
                  <a:pt x="1718469" y="0"/>
                </a:cubicBezTo>
              </a:path>
            </a:pathLst>
          </a:custGeom>
          <a:noFill/>
          <a:ln w="76200">
            <a:headEnd type="none" w="med" len="med"/>
            <a:tailEnd type="triangl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56" name="フリーフォーム: 図形 55">
            <a:extLst>
              <a:ext uri="{FF2B5EF4-FFF2-40B4-BE49-F238E27FC236}">
                <a16:creationId xmlns:a16="http://schemas.microsoft.com/office/drawing/2014/main" id="{0449C0E9-5E34-4EAF-8443-A7933F7343EC}"/>
              </a:ext>
            </a:extLst>
          </p:cNvPr>
          <p:cNvSpPr/>
          <p:nvPr/>
        </p:nvSpPr>
        <p:spPr>
          <a:xfrm>
            <a:off x="5778448" y="3600260"/>
            <a:ext cx="838777" cy="461487"/>
          </a:xfrm>
          <a:custGeom>
            <a:avLst/>
            <a:gdLst>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38175 w 676275"/>
              <a:gd name="connsiteY6" fmla="*/ 28575 h 149672"/>
              <a:gd name="connsiteX7" fmla="*/ 666750 w 676275"/>
              <a:gd name="connsiteY7" fmla="*/ 9525 h 149672"/>
              <a:gd name="connsiteX8" fmla="*/ 676275 w 676275"/>
              <a:gd name="connsiteY8"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28650 w 676275"/>
              <a:gd name="connsiteY5" fmla="*/ 57150 h 149672"/>
              <a:gd name="connsiteX6" fmla="*/ 666750 w 676275"/>
              <a:gd name="connsiteY6" fmla="*/ 9525 h 149672"/>
              <a:gd name="connsiteX7" fmla="*/ 676275 w 676275"/>
              <a:gd name="connsiteY7"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00075 w 676275"/>
              <a:gd name="connsiteY4" fmla="*/ 66675 h 149672"/>
              <a:gd name="connsiteX5" fmla="*/ 666750 w 676275"/>
              <a:gd name="connsiteY5" fmla="*/ 9525 h 149672"/>
              <a:gd name="connsiteX6" fmla="*/ 676275 w 676275"/>
              <a:gd name="connsiteY6" fmla="*/ 0 h 149672"/>
              <a:gd name="connsiteX0" fmla="*/ 0 w 676275"/>
              <a:gd name="connsiteY0" fmla="*/ 114300 h 149672"/>
              <a:gd name="connsiteX1" fmla="*/ 371475 w 676275"/>
              <a:gd name="connsiteY1" fmla="*/ 123825 h 149672"/>
              <a:gd name="connsiteX2" fmla="*/ 409575 w 676275"/>
              <a:gd name="connsiteY2" fmla="*/ 104775 h 149672"/>
              <a:gd name="connsiteX3" fmla="*/ 581025 w 676275"/>
              <a:gd name="connsiteY3" fmla="*/ 95250 h 149672"/>
              <a:gd name="connsiteX4" fmla="*/ 666750 w 676275"/>
              <a:gd name="connsiteY4" fmla="*/ 9525 h 149672"/>
              <a:gd name="connsiteX5" fmla="*/ 676275 w 676275"/>
              <a:gd name="connsiteY5" fmla="*/ 0 h 149672"/>
              <a:gd name="connsiteX0" fmla="*/ 0 w 688460"/>
              <a:gd name="connsiteY0" fmla="*/ 114910 h 150282"/>
              <a:gd name="connsiteX1" fmla="*/ 371475 w 688460"/>
              <a:gd name="connsiteY1" fmla="*/ 124435 h 150282"/>
              <a:gd name="connsiteX2" fmla="*/ 409575 w 688460"/>
              <a:gd name="connsiteY2" fmla="*/ 105385 h 150282"/>
              <a:gd name="connsiteX3" fmla="*/ 666750 w 688460"/>
              <a:gd name="connsiteY3" fmla="*/ 10135 h 150282"/>
              <a:gd name="connsiteX4" fmla="*/ 676275 w 688460"/>
              <a:gd name="connsiteY4" fmla="*/ 610 h 150282"/>
              <a:gd name="connsiteX0" fmla="*/ 0 w 691256"/>
              <a:gd name="connsiteY0" fmla="*/ 116194 h 149349"/>
              <a:gd name="connsiteX1" fmla="*/ 371475 w 691256"/>
              <a:gd name="connsiteY1" fmla="*/ 125719 h 149349"/>
              <a:gd name="connsiteX2" fmla="*/ 666750 w 691256"/>
              <a:gd name="connsiteY2" fmla="*/ 11419 h 149349"/>
              <a:gd name="connsiteX3" fmla="*/ 676275 w 691256"/>
              <a:gd name="connsiteY3" fmla="*/ 1894 h 149349"/>
              <a:gd name="connsiteX0" fmla="*/ 0 w 809625"/>
              <a:gd name="connsiteY0" fmla="*/ 204787 h 237942"/>
              <a:gd name="connsiteX1" fmla="*/ 371475 w 809625"/>
              <a:gd name="connsiteY1" fmla="*/ 214312 h 237942"/>
              <a:gd name="connsiteX2" fmla="*/ 666750 w 809625"/>
              <a:gd name="connsiteY2" fmla="*/ 100012 h 237942"/>
              <a:gd name="connsiteX3" fmla="*/ 809625 w 809625"/>
              <a:gd name="connsiteY3" fmla="*/ 0 h 237942"/>
              <a:gd name="connsiteX0" fmla="*/ 0 w 928687"/>
              <a:gd name="connsiteY0" fmla="*/ 240506 h 273661"/>
              <a:gd name="connsiteX1" fmla="*/ 371475 w 928687"/>
              <a:gd name="connsiteY1" fmla="*/ 250031 h 273661"/>
              <a:gd name="connsiteX2" fmla="*/ 666750 w 928687"/>
              <a:gd name="connsiteY2" fmla="*/ 135731 h 273661"/>
              <a:gd name="connsiteX3" fmla="*/ 928687 w 928687"/>
              <a:gd name="connsiteY3" fmla="*/ 0 h 273661"/>
              <a:gd name="connsiteX0" fmla="*/ 0 w 1319212"/>
              <a:gd name="connsiteY0" fmla="*/ 664369 h 697524"/>
              <a:gd name="connsiteX1" fmla="*/ 371475 w 1319212"/>
              <a:gd name="connsiteY1" fmla="*/ 673894 h 697524"/>
              <a:gd name="connsiteX2" fmla="*/ 666750 w 1319212"/>
              <a:gd name="connsiteY2" fmla="*/ 559594 h 697524"/>
              <a:gd name="connsiteX3" fmla="*/ 1319212 w 1319212"/>
              <a:gd name="connsiteY3" fmla="*/ 0 h 697524"/>
              <a:gd name="connsiteX0" fmla="*/ 0 w 1802606"/>
              <a:gd name="connsiteY0" fmla="*/ 476250 h 678131"/>
              <a:gd name="connsiteX1" fmla="*/ 854869 w 1802606"/>
              <a:gd name="connsiteY1" fmla="*/ 673894 h 678131"/>
              <a:gd name="connsiteX2" fmla="*/ 1150144 w 1802606"/>
              <a:gd name="connsiteY2" fmla="*/ 559594 h 678131"/>
              <a:gd name="connsiteX3" fmla="*/ 1802606 w 1802606"/>
              <a:gd name="connsiteY3" fmla="*/ 0 h 678131"/>
              <a:gd name="connsiteX0" fmla="*/ 0 w 1802606"/>
              <a:gd name="connsiteY0" fmla="*/ 476250 h 690960"/>
              <a:gd name="connsiteX1" fmla="*/ 854869 w 1802606"/>
              <a:gd name="connsiteY1" fmla="*/ 673894 h 690960"/>
              <a:gd name="connsiteX2" fmla="*/ 1802606 w 1802606"/>
              <a:gd name="connsiteY2" fmla="*/ 0 h 690960"/>
              <a:gd name="connsiteX0" fmla="*/ 0 w 1802606"/>
              <a:gd name="connsiteY0" fmla="*/ 476250 h 625280"/>
              <a:gd name="connsiteX1" fmla="*/ 1100138 w 1802606"/>
              <a:gd name="connsiteY1" fmla="*/ 602457 h 625280"/>
              <a:gd name="connsiteX2" fmla="*/ 1802606 w 1802606"/>
              <a:gd name="connsiteY2" fmla="*/ 0 h 625280"/>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635022"/>
              <a:gd name="connsiteX1" fmla="*/ 1100138 w 1802606"/>
              <a:gd name="connsiteY1" fmla="*/ 602457 h 635022"/>
              <a:gd name="connsiteX2" fmla="*/ 1802606 w 1802606"/>
              <a:gd name="connsiteY2" fmla="*/ 0 h 635022"/>
              <a:gd name="connsiteX0" fmla="*/ 0 w 1802606"/>
              <a:gd name="connsiteY0" fmla="*/ 476250 h 476250"/>
              <a:gd name="connsiteX1" fmla="*/ 1802606 w 1802606"/>
              <a:gd name="connsiteY1" fmla="*/ 0 h 476250"/>
              <a:gd name="connsiteX0" fmla="*/ 0 w 1802606"/>
              <a:gd name="connsiteY0" fmla="*/ 476250 h 476250"/>
              <a:gd name="connsiteX1" fmla="*/ 1802606 w 1802606"/>
              <a:gd name="connsiteY1" fmla="*/ 0 h 476250"/>
              <a:gd name="connsiteX0" fmla="*/ 0 w 1802606"/>
              <a:gd name="connsiteY0" fmla="*/ 476250 h 542183"/>
              <a:gd name="connsiteX1" fmla="*/ 1802606 w 1802606"/>
              <a:gd name="connsiteY1" fmla="*/ 0 h 542183"/>
              <a:gd name="connsiteX0" fmla="*/ 0 w 1802606"/>
              <a:gd name="connsiteY0" fmla="*/ 566737 h 622687"/>
              <a:gd name="connsiteX1" fmla="*/ 1802606 w 1802606"/>
              <a:gd name="connsiteY1" fmla="*/ 0 h 622687"/>
              <a:gd name="connsiteX0" fmla="*/ 0 w 1864519"/>
              <a:gd name="connsiteY0" fmla="*/ 469106 h 535965"/>
              <a:gd name="connsiteX1" fmla="*/ 1864519 w 1864519"/>
              <a:gd name="connsiteY1" fmla="*/ 0 h 535965"/>
              <a:gd name="connsiteX0" fmla="*/ 0 w 1864519"/>
              <a:gd name="connsiteY0" fmla="*/ 469106 h 555640"/>
              <a:gd name="connsiteX1" fmla="*/ 1864519 w 1864519"/>
              <a:gd name="connsiteY1" fmla="*/ 0 h 555640"/>
              <a:gd name="connsiteX0" fmla="*/ 0 w 1864519"/>
              <a:gd name="connsiteY0" fmla="*/ 469106 h 579832"/>
              <a:gd name="connsiteX1" fmla="*/ 1864519 w 1864519"/>
              <a:gd name="connsiteY1" fmla="*/ 0 h 579832"/>
              <a:gd name="connsiteX0" fmla="*/ 0 w 1864519"/>
              <a:gd name="connsiteY0" fmla="*/ 469106 h 616513"/>
              <a:gd name="connsiteX1" fmla="*/ 1864519 w 1864519"/>
              <a:gd name="connsiteY1" fmla="*/ 0 h 616513"/>
              <a:gd name="connsiteX0" fmla="*/ 0 w 1712119"/>
              <a:gd name="connsiteY0" fmla="*/ 469106 h 616513"/>
              <a:gd name="connsiteX1" fmla="*/ 1712119 w 1712119"/>
              <a:gd name="connsiteY1" fmla="*/ 0 h 616513"/>
              <a:gd name="connsiteX0" fmla="*/ 0 w 1712119"/>
              <a:gd name="connsiteY0" fmla="*/ 469106 h 510666"/>
              <a:gd name="connsiteX1" fmla="*/ 1712119 w 1712119"/>
              <a:gd name="connsiteY1" fmla="*/ 0 h 510666"/>
              <a:gd name="connsiteX0" fmla="*/ 0 w 1712119"/>
              <a:gd name="connsiteY0" fmla="*/ 469106 h 486492"/>
              <a:gd name="connsiteX1" fmla="*/ 1712119 w 1712119"/>
              <a:gd name="connsiteY1" fmla="*/ 0 h 486492"/>
              <a:gd name="connsiteX0" fmla="*/ 0 w 1718469"/>
              <a:gd name="connsiteY0" fmla="*/ 501594 h 515650"/>
              <a:gd name="connsiteX1" fmla="*/ 1718469 w 1718469"/>
              <a:gd name="connsiteY1" fmla="*/ 0 h 515650"/>
              <a:gd name="connsiteX0" fmla="*/ 0 w 1718469"/>
              <a:gd name="connsiteY0" fmla="*/ 501594 h 533183"/>
              <a:gd name="connsiteX1" fmla="*/ 1718469 w 1718469"/>
              <a:gd name="connsiteY1" fmla="*/ 0 h 533183"/>
              <a:gd name="connsiteX0" fmla="*/ 0 w 1082675"/>
              <a:gd name="connsiteY0" fmla="*/ 576721 h 600889"/>
              <a:gd name="connsiteX1" fmla="*/ 1082675 w 1082675"/>
              <a:gd name="connsiteY1" fmla="*/ 0 h 600889"/>
              <a:gd name="connsiteX0" fmla="*/ 0 w 1176659"/>
              <a:gd name="connsiteY0" fmla="*/ 576721 h 595139"/>
              <a:gd name="connsiteX1" fmla="*/ 1082675 w 1176659"/>
              <a:gd name="connsiteY1" fmla="*/ 0 h 595139"/>
              <a:gd name="connsiteX0" fmla="*/ 0 w 970039"/>
              <a:gd name="connsiteY0" fmla="*/ 16310 h 205861"/>
              <a:gd name="connsiteX1" fmla="*/ 858837 w 970039"/>
              <a:gd name="connsiteY1" fmla="*/ 0 h 205861"/>
              <a:gd name="connsiteX0" fmla="*/ 17450 w 952051"/>
              <a:gd name="connsiteY0" fmla="*/ 16310 h 290767"/>
              <a:gd name="connsiteX1" fmla="*/ 876287 w 952051"/>
              <a:gd name="connsiteY1" fmla="*/ 0 h 290767"/>
              <a:gd name="connsiteX0" fmla="*/ 17992 w 907102"/>
              <a:gd name="connsiteY0" fmla="*/ 22402 h 293785"/>
              <a:gd name="connsiteX1" fmla="*/ 829204 w 907102"/>
              <a:gd name="connsiteY1" fmla="*/ 0 h 293785"/>
              <a:gd name="connsiteX0" fmla="*/ 0 w 890238"/>
              <a:gd name="connsiteY0" fmla="*/ 22402 h 342024"/>
              <a:gd name="connsiteX1" fmla="*/ 499077 w 890238"/>
              <a:gd name="connsiteY1" fmla="*/ 290674 h 342024"/>
              <a:gd name="connsiteX2" fmla="*/ 811212 w 890238"/>
              <a:gd name="connsiteY2" fmla="*/ 0 h 342024"/>
              <a:gd name="connsiteX0" fmla="*/ 0 w 884103"/>
              <a:gd name="connsiteY0" fmla="*/ 22402 h 639708"/>
              <a:gd name="connsiteX1" fmla="*/ 360965 w 884103"/>
              <a:gd name="connsiteY1" fmla="*/ 625702 h 639708"/>
              <a:gd name="connsiteX2" fmla="*/ 811212 w 884103"/>
              <a:gd name="connsiteY2" fmla="*/ 0 h 639708"/>
              <a:gd name="connsiteX0" fmla="*/ 0 w 937714"/>
              <a:gd name="connsiteY0" fmla="*/ 22402 h 677158"/>
              <a:gd name="connsiteX1" fmla="*/ 360965 w 937714"/>
              <a:gd name="connsiteY1" fmla="*/ 625702 h 677158"/>
              <a:gd name="connsiteX2" fmla="*/ 811212 w 937714"/>
              <a:gd name="connsiteY2" fmla="*/ 0 h 677158"/>
              <a:gd name="connsiteX0" fmla="*/ 154018 w 1091732"/>
              <a:gd name="connsiteY0" fmla="*/ 22402 h 677158"/>
              <a:gd name="connsiteX1" fmla="*/ 514983 w 1091732"/>
              <a:gd name="connsiteY1" fmla="*/ 625702 h 677158"/>
              <a:gd name="connsiteX2" fmla="*/ 965230 w 1091732"/>
              <a:gd name="connsiteY2" fmla="*/ 0 h 677158"/>
              <a:gd name="connsiteX0" fmla="*/ 146597 w 717382"/>
              <a:gd name="connsiteY0" fmla="*/ 22402 h 625743"/>
              <a:gd name="connsiteX1" fmla="*/ 507562 w 717382"/>
              <a:gd name="connsiteY1" fmla="*/ 625702 h 625743"/>
              <a:gd name="connsiteX2" fmla="*/ 519659 w 717382"/>
              <a:gd name="connsiteY2" fmla="*/ 0 h 625743"/>
              <a:gd name="connsiteX0" fmla="*/ 213401 w 912146"/>
              <a:gd name="connsiteY0" fmla="*/ 22402 h 626957"/>
              <a:gd name="connsiteX1" fmla="*/ 574366 w 912146"/>
              <a:gd name="connsiteY1" fmla="*/ 625702 h 626957"/>
              <a:gd name="connsiteX2" fmla="*/ 586463 w 912146"/>
              <a:gd name="connsiteY2" fmla="*/ 0 h 626957"/>
              <a:gd name="connsiteX0" fmla="*/ 196260 w 864168"/>
              <a:gd name="connsiteY0" fmla="*/ 22402 h 627939"/>
              <a:gd name="connsiteX1" fmla="*/ 557225 w 864168"/>
              <a:gd name="connsiteY1" fmla="*/ 625702 h 627939"/>
              <a:gd name="connsiteX2" fmla="*/ 569322 w 864168"/>
              <a:gd name="connsiteY2" fmla="*/ 0 h 627939"/>
              <a:gd name="connsiteX0" fmla="*/ 146597 w 717382"/>
              <a:gd name="connsiteY0" fmla="*/ 22402 h 625743"/>
              <a:gd name="connsiteX1" fmla="*/ 507562 w 717382"/>
              <a:gd name="connsiteY1" fmla="*/ 625702 h 625743"/>
              <a:gd name="connsiteX2" fmla="*/ 519659 w 717382"/>
              <a:gd name="connsiteY2" fmla="*/ 0 h 625743"/>
              <a:gd name="connsiteX0" fmla="*/ 146597 w 717382"/>
              <a:gd name="connsiteY0" fmla="*/ 22402 h 625743"/>
              <a:gd name="connsiteX1" fmla="*/ 507562 w 717382"/>
              <a:gd name="connsiteY1" fmla="*/ 625702 h 625743"/>
              <a:gd name="connsiteX2" fmla="*/ 519659 w 717382"/>
              <a:gd name="connsiteY2" fmla="*/ 0 h 625743"/>
              <a:gd name="connsiteX0" fmla="*/ 146597 w 717382"/>
              <a:gd name="connsiteY0" fmla="*/ 22402 h 625743"/>
              <a:gd name="connsiteX1" fmla="*/ 507562 w 717382"/>
              <a:gd name="connsiteY1" fmla="*/ 625702 h 625743"/>
              <a:gd name="connsiteX2" fmla="*/ 519659 w 717382"/>
              <a:gd name="connsiteY2" fmla="*/ 0 h 625743"/>
              <a:gd name="connsiteX0" fmla="*/ 171165 w 790813"/>
              <a:gd name="connsiteY0" fmla="*/ 22402 h 629139"/>
              <a:gd name="connsiteX1" fmla="*/ 532130 w 790813"/>
              <a:gd name="connsiteY1" fmla="*/ 625702 h 629139"/>
              <a:gd name="connsiteX2" fmla="*/ 544227 w 790813"/>
              <a:gd name="connsiteY2" fmla="*/ 0 h 629139"/>
              <a:gd name="connsiteX0" fmla="*/ 171165 w 784811"/>
              <a:gd name="connsiteY0" fmla="*/ 22402 h 629139"/>
              <a:gd name="connsiteX1" fmla="*/ 532130 w 784811"/>
              <a:gd name="connsiteY1" fmla="*/ 625702 h 629139"/>
              <a:gd name="connsiteX2" fmla="*/ 544227 w 784811"/>
              <a:gd name="connsiteY2" fmla="*/ 0 h 629139"/>
              <a:gd name="connsiteX0" fmla="*/ 193962 w 768420"/>
              <a:gd name="connsiteY0" fmla="*/ 22402 h 679437"/>
              <a:gd name="connsiteX1" fmla="*/ 440627 w 768420"/>
              <a:gd name="connsiteY1" fmla="*/ 676463 h 679437"/>
              <a:gd name="connsiteX2" fmla="*/ 567024 w 768420"/>
              <a:gd name="connsiteY2" fmla="*/ 0 h 679437"/>
              <a:gd name="connsiteX0" fmla="*/ 211777 w 808970"/>
              <a:gd name="connsiteY0" fmla="*/ 22402 h 676791"/>
              <a:gd name="connsiteX1" fmla="*/ 458442 w 808970"/>
              <a:gd name="connsiteY1" fmla="*/ 676463 h 676791"/>
              <a:gd name="connsiteX2" fmla="*/ 584839 w 808970"/>
              <a:gd name="connsiteY2" fmla="*/ 0 h 676791"/>
              <a:gd name="connsiteX0" fmla="*/ 224899 w 838777"/>
              <a:gd name="connsiteY0" fmla="*/ 22402 h 677533"/>
              <a:gd name="connsiteX1" fmla="*/ 471564 w 838777"/>
              <a:gd name="connsiteY1" fmla="*/ 676463 h 677533"/>
              <a:gd name="connsiteX2" fmla="*/ 597961 w 838777"/>
              <a:gd name="connsiteY2" fmla="*/ 0 h 677533"/>
            </a:gdLst>
            <a:ahLst/>
            <a:cxnLst>
              <a:cxn ang="0">
                <a:pos x="connsiteX0" y="connsiteY0"/>
              </a:cxn>
              <a:cxn ang="0">
                <a:pos x="connsiteX1" y="connsiteY1"/>
              </a:cxn>
              <a:cxn ang="0">
                <a:pos x="connsiteX2" y="connsiteY2"/>
              </a:cxn>
            </a:cxnLst>
            <a:rect l="l" t="t" r="r" b="b"/>
            <a:pathLst>
              <a:path w="838777" h="677533">
                <a:moveTo>
                  <a:pt x="224899" y="22402"/>
                </a:moveTo>
                <a:cubicBezTo>
                  <a:pt x="-233423" y="377818"/>
                  <a:pt x="90300" y="698471"/>
                  <a:pt x="471564" y="676463"/>
                </a:cubicBezTo>
                <a:cubicBezTo>
                  <a:pt x="852828" y="654455"/>
                  <a:pt x="1003566" y="293111"/>
                  <a:pt x="597961" y="0"/>
                </a:cubicBezTo>
              </a:path>
            </a:pathLst>
          </a:custGeom>
          <a:noFill/>
          <a:ln w="76200">
            <a:headEnd type="none" w="med" len="med"/>
            <a:tailEnd type="triangl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sp>
        <p:nvSpPr>
          <p:cNvPr id="58" name="テキスト ボックス 57">
            <a:extLst>
              <a:ext uri="{FF2B5EF4-FFF2-40B4-BE49-F238E27FC236}">
                <a16:creationId xmlns:a16="http://schemas.microsoft.com/office/drawing/2014/main" id="{A6291A38-215E-4733-8790-4DD24926268E}"/>
              </a:ext>
            </a:extLst>
          </p:cNvPr>
          <p:cNvSpPr txBox="1"/>
          <p:nvPr/>
        </p:nvSpPr>
        <p:spPr>
          <a:xfrm>
            <a:off x="7349659" y="2574315"/>
            <a:ext cx="101341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solidFill>
                  <a:srgbClr val="33CC33">
                    <a:lumMod val="75000"/>
                  </a:srgbClr>
                </a:solidFill>
                <a:effectLst/>
                <a:uLnTx/>
                <a:uFillTx/>
                <a:latin typeface="Meiryo UI" panose="020B0604030504040204" pitchFamily="34" charset="-128"/>
                <a:ea typeface="Meiryo UI" panose="020B0604030504040204" pitchFamily="34" charset="-128"/>
                <a:cs typeface="メイリオ" pitchFamily="50" charset="-128"/>
              </a:rPr>
              <a:t>Phase2</a:t>
            </a:r>
            <a:endParaRPr kumimoji="1" lang="ja-JP" altLang="en-US" sz="1800" b="0" i="0" u="none" strike="noStrike" kern="1200" cap="none" spc="0" normalizeH="0" baseline="0" noProof="0" dirty="0">
              <a:ln>
                <a:noFill/>
              </a:ln>
              <a:solidFill>
                <a:srgbClr val="33CC33">
                  <a:lumMod val="75000"/>
                </a:srgbClr>
              </a:solidFill>
              <a:effectLst/>
              <a:uLnTx/>
              <a:uFillTx/>
              <a:latin typeface="Meiryo UI" panose="020B0604030504040204" pitchFamily="34" charset="-128"/>
              <a:ea typeface="Meiryo UI" panose="020B0604030504040204" pitchFamily="34" charset="-128"/>
              <a:cs typeface="メイリオ" pitchFamily="50" charset="-128"/>
            </a:endParaRPr>
          </a:p>
        </p:txBody>
      </p:sp>
      <p:sp>
        <p:nvSpPr>
          <p:cNvPr id="44" name="テキスト ボックス 13">
            <a:extLst>
              <a:ext uri="{FF2B5EF4-FFF2-40B4-BE49-F238E27FC236}">
                <a16:creationId xmlns:a16="http://schemas.microsoft.com/office/drawing/2014/main" id="{59E2F88B-2B73-4E14-89D9-DC8A68C1000A}"/>
              </a:ext>
            </a:extLst>
          </p:cNvPr>
          <p:cNvSpPr txBox="1"/>
          <p:nvPr/>
        </p:nvSpPr>
        <p:spPr>
          <a:xfrm>
            <a:off x="3868132" y="1321467"/>
            <a:ext cx="235846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rPr>
              <a:t>Motivation is “NEED TO”</a:t>
            </a:r>
            <a:endParaRPr kumimoji="1" lang="ja-JP" altLang="en-US" sz="1400" b="1"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メイリオ" pitchFamily="50" charset="-128"/>
            </a:endParaRPr>
          </a:p>
        </p:txBody>
      </p:sp>
      <p:sp>
        <p:nvSpPr>
          <p:cNvPr id="7" name="四角形: 角を丸くする 6">
            <a:extLst>
              <a:ext uri="{FF2B5EF4-FFF2-40B4-BE49-F238E27FC236}">
                <a16:creationId xmlns:a16="http://schemas.microsoft.com/office/drawing/2014/main" id="{B1EDE19F-39DE-4AF5-A11E-48FB36E60A09}"/>
              </a:ext>
            </a:extLst>
          </p:cNvPr>
          <p:cNvSpPr/>
          <p:nvPr/>
        </p:nvSpPr>
        <p:spPr>
          <a:xfrm>
            <a:off x="1867225" y="3297616"/>
            <a:ext cx="1752600" cy="766098"/>
          </a:xfrm>
          <a:prstGeom prst="roundRect">
            <a:avLst/>
          </a:prstGeom>
          <a:solidFill>
            <a:schemeClr val="tx1">
              <a:lumMod val="50000"/>
              <a:lumOff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smtClean="0">
                <a:ln>
                  <a:noFill/>
                </a:ln>
                <a:solidFill>
                  <a:srgbClr val="FFFFFF"/>
                </a:solidFill>
                <a:effectLst/>
                <a:uLnTx/>
                <a:uFillTx/>
                <a:latin typeface="Meiryo UI" panose="020B0604030504040204" pitchFamily="34" charset="-128"/>
                <a:ea typeface="Meiryo UI" panose="020B0604030504040204" pitchFamily="34" charset="-128"/>
                <a:cs typeface="+mn-cs"/>
              </a:rPr>
              <a:t>No Traceability </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rPr>
              <a:t>system</a:t>
            </a:r>
            <a:endParaRPr kumimoji="1" lang="ja-JP" altLang="en-US" sz="1800" b="0" i="0" u="none" strike="noStrike" kern="1200" cap="none" spc="0" normalizeH="0" baseline="0" noProof="0" dirty="0">
              <a:ln>
                <a:noFill/>
              </a:ln>
              <a:solidFill>
                <a:srgbClr val="FFFFFF"/>
              </a:solidFill>
              <a:effectLst/>
              <a:uLnTx/>
              <a:uFillTx/>
              <a:latin typeface="Meiryo UI" panose="020B0604030504040204" pitchFamily="34" charset="-128"/>
              <a:ea typeface="Meiryo UI" panose="020B0604030504040204" pitchFamily="34" charset="-128"/>
              <a:cs typeface="+mn-cs"/>
            </a:endParaRPr>
          </a:p>
        </p:txBody>
      </p:sp>
      <p:grpSp>
        <p:nvGrpSpPr>
          <p:cNvPr id="66" name="Group 65"/>
          <p:cNvGrpSpPr/>
          <p:nvPr/>
        </p:nvGrpSpPr>
        <p:grpSpPr>
          <a:xfrm>
            <a:off x="6330505" y="2178959"/>
            <a:ext cx="729410" cy="694705"/>
            <a:chOff x="2857817" y="2678434"/>
            <a:chExt cx="1065034" cy="1014360"/>
          </a:xfrm>
        </p:grpSpPr>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57817" y="2678434"/>
              <a:ext cx="729633" cy="729634"/>
            </a:xfrm>
            <a:prstGeom prst="rect">
              <a:avLst/>
            </a:prstGeom>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81534" y="3202931"/>
              <a:ext cx="741317" cy="489863"/>
            </a:xfrm>
            <a:prstGeom prst="rect">
              <a:avLst/>
            </a:prstGeom>
          </p:spPr>
        </p:pic>
      </p:grpSp>
      <p:pic>
        <p:nvPicPr>
          <p:cNvPr id="67" name="Picture 6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2072" y="1465656"/>
            <a:ext cx="531734" cy="531734"/>
          </a:xfrm>
          <a:prstGeom prst="rect">
            <a:avLst/>
          </a:prstGeom>
        </p:spPr>
      </p:pic>
      <p:pic>
        <p:nvPicPr>
          <p:cNvPr id="115" name="Picture 11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24802" y="4154145"/>
            <a:ext cx="1982797" cy="1032880"/>
          </a:xfrm>
          <a:prstGeom prst="rect">
            <a:avLst/>
          </a:prstGeom>
        </p:spPr>
      </p:pic>
      <p:pic>
        <p:nvPicPr>
          <p:cNvPr id="116" name="Picture 11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916547" y="4160778"/>
            <a:ext cx="2020562" cy="1048325"/>
          </a:xfrm>
          <a:prstGeom prst="rect">
            <a:avLst/>
          </a:prstGeom>
        </p:spPr>
      </p:pic>
      <p:sp>
        <p:nvSpPr>
          <p:cNvPr id="18" name="吹き出し: 四角形 17">
            <a:extLst>
              <a:ext uri="{FF2B5EF4-FFF2-40B4-BE49-F238E27FC236}">
                <a16:creationId xmlns:a16="http://schemas.microsoft.com/office/drawing/2014/main" id="{1A1B147B-DEAD-44DE-A08A-8A19A56FC0B5}"/>
              </a:ext>
            </a:extLst>
          </p:cNvPr>
          <p:cNvSpPr/>
          <p:nvPr/>
        </p:nvSpPr>
        <p:spPr>
          <a:xfrm>
            <a:off x="6528058" y="1446558"/>
            <a:ext cx="2251475" cy="667875"/>
          </a:xfrm>
          <a:prstGeom prst="wedgeRectCallout">
            <a:avLst>
              <a:gd name="adj1" fmla="val 46714"/>
              <a:gd name="adj2" fmla="val 97136"/>
            </a:avLst>
          </a:prstGeom>
          <a:ln w="12700"/>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Data Utilization on-sit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Produ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mn-cs"/>
              </a:rPr>
              <a:t>Quality</a:t>
            </a:r>
          </a:p>
        </p:txBody>
      </p:sp>
      <p:pic>
        <p:nvPicPr>
          <p:cNvPr id="36" name="Picture 3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746165" y="2892795"/>
            <a:ext cx="1977845" cy="1021886"/>
          </a:xfrm>
          <a:prstGeom prst="rect">
            <a:avLst/>
          </a:prstGeom>
        </p:spPr>
      </p:pic>
      <p:sp>
        <p:nvSpPr>
          <p:cNvPr id="2" name="Rectangle 1"/>
          <p:cNvSpPr/>
          <p:nvPr/>
        </p:nvSpPr>
        <p:spPr>
          <a:xfrm>
            <a:off x="9662392" y="2998724"/>
            <a:ext cx="948996" cy="82760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45720" rIns="45720" rtlCol="0" anchor="ctr">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pic>
        <p:nvPicPr>
          <p:cNvPr id="49" name="Picture 48"/>
          <p:cNvPicPr>
            <a:picLocks noChangeAspect="1"/>
          </p:cNvPicPr>
          <p:nvPr/>
        </p:nvPicPr>
        <p:blipFill>
          <a:blip r:embed="rId11"/>
          <a:stretch>
            <a:fillRect/>
          </a:stretch>
        </p:blipFill>
        <p:spPr>
          <a:xfrm>
            <a:off x="9662392" y="3215644"/>
            <a:ext cx="1005090" cy="448875"/>
          </a:xfrm>
          <a:prstGeom prst="rect">
            <a:avLst/>
          </a:prstGeom>
        </p:spPr>
      </p:pic>
      <p:pic>
        <p:nvPicPr>
          <p:cNvPr id="50" name="Picture 4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46926" y="2935486"/>
            <a:ext cx="309575" cy="309575"/>
          </a:xfrm>
          <a:prstGeom prst="rect">
            <a:avLst/>
          </a:prstGeom>
        </p:spPr>
      </p:pic>
      <p:pic>
        <p:nvPicPr>
          <p:cNvPr id="51" name="Picture 2" descr="Image result for NX 102 controlle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259960" y="3544419"/>
            <a:ext cx="318813" cy="31881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14"/>
          <a:stretch>
            <a:fillRect/>
          </a:stretch>
        </p:blipFill>
        <p:spPr>
          <a:xfrm>
            <a:off x="10224338" y="2939145"/>
            <a:ext cx="377196" cy="240489"/>
          </a:xfrm>
          <a:prstGeom prst="rect">
            <a:avLst/>
          </a:prstGeom>
        </p:spPr>
      </p:pic>
    </p:spTree>
    <p:extLst>
      <p:ext uri="{BB962C8B-B14F-4D97-AF65-F5344CB8AC3E}">
        <p14:creationId xmlns:p14="http://schemas.microsoft.com/office/powerpoint/2010/main" val="13598834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smtClean="0"/>
              <a:t>Omron Traceability 4.0 demo</a:t>
            </a:r>
            <a:endParaRPr lang="en-CA" sz="1800" dirty="0"/>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13492885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a:spLocks noGrp="1"/>
          </p:cNvSpPr>
          <p:nvPr>
            <p:ph type="title"/>
          </p:nvPr>
        </p:nvSpPr>
        <p:spPr>
          <a:xfrm>
            <a:off x="816864" y="118872"/>
            <a:ext cx="10765536" cy="576072"/>
          </a:xfrm>
        </p:spPr>
        <p:txBody>
          <a:bodyPr>
            <a:noAutofit/>
          </a:bodyPr>
          <a:lstStyle/>
          <a:p>
            <a:r>
              <a:rPr lang="en-US" sz="3600" b="0" dirty="0" smtClean="0">
                <a:solidFill>
                  <a:srgbClr val="0070C0"/>
                </a:solidFill>
                <a:latin typeface="Calibri" panose="020F0502020204030204" pitchFamily="34" charset="0"/>
                <a:cs typeface="Calibri" panose="020F0502020204030204" pitchFamily="34" charset="0"/>
              </a:rPr>
              <a:t>Omron Proof of Concept Centers</a:t>
            </a:r>
            <a:endParaRPr lang="en-US" sz="3600" b="0" dirty="0">
              <a:solidFill>
                <a:srgbClr val="0070C0"/>
              </a:solidFill>
              <a:latin typeface="Calibri" panose="020F0502020204030204" pitchFamily="34" charset="0"/>
              <a:cs typeface="Calibri" panose="020F0502020204030204" pitchFamily="34" charset="0"/>
            </a:endParaRPr>
          </a:p>
        </p:txBody>
      </p:sp>
      <p:pic>
        <p:nvPicPr>
          <p:cNvPr id="25" name="Picture 24"/>
          <p:cNvPicPr>
            <a:picLocks noChangeAspect="1"/>
          </p:cNvPicPr>
          <p:nvPr/>
        </p:nvPicPr>
        <p:blipFill>
          <a:blip r:embed="rId3"/>
          <a:stretch>
            <a:fillRect/>
          </a:stretch>
        </p:blipFill>
        <p:spPr>
          <a:xfrm>
            <a:off x="488477" y="2057400"/>
            <a:ext cx="11093923" cy="2819400"/>
          </a:xfrm>
          <a:prstGeom prst="rect">
            <a:avLst/>
          </a:prstGeom>
        </p:spPr>
      </p:pic>
      <p:sp>
        <p:nvSpPr>
          <p:cNvPr id="28" name="Rectangle 27"/>
          <p:cNvSpPr/>
          <p:nvPr/>
        </p:nvSpPr>
        <p:spPr>
          <a:xfrm>
            <a:off x="617507" y="5723110"/>
            <a:ext cx="1114385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Myriad Pro"/>
                <a:ea typeface="+mn-ea"/>
                <a:cs typeface="Arial" panose="020B0604020202020204" pitchFamily="34" charset="0"/>
              </a:rPr>
              <a:t>PoC </a:t>
            </a:r>
            <a:r>
              <a:rPr kumimoji="1" lang="en-US" altLang="ja-JP" sz="1800" b="1" i="0" u="none" strike="noStrike" kern="1200" cap="none" spc="0" normalizeH="0" baseline="0" noProof="0" dirty="0" smtClean="0">
                <a:ln>
                  <a:noFill/>
                </a:ln>
                <a:solidFill>
                  <a:prstClr val="black"/>
                </a:solidFill>
                <a:effectLst/>
                <a:uLnTx/>
                <a:uFillTx/>
                <a:latin typeface="Myriad Pro"/>
                <a:ea typeface="+mn-ea"/>
                <a:cs typeface="Arial" panose="020B0604020202020204" pitchFamily="34" charset="0"/>
              </a:rPr>
              <a:t>Locations: </a:t>
            </a:r>
            <a:r>
              <a:rPr kumimoji="1" lang="en-US" altLang="ja-JP" sz="1800" b="0" i="0" u="none" strike="noStrike" kern="1200" cap="none" spc="0" normalizeH="0" baseline="0" noProof="0" dirty="0" smtClean="0">
                <a:ln>
                  <a:noFill/>
                </a:ln>
                <a:solidFill>
                  <a:prstClr val="black"/>
                </a:solidFill>
                <a:effectLst/>
                <a:uLnTx/>
                <a:uFillTx/>
                <a:latin typeface="Myriad Pro"/>
                <a:ea typeface="+mn-ea"/>
                <a:cs typeface="Arial" panose="020B0604020202020204" pitchFamily="34" charset="0"/>
              </a:rPr>
              <a:t>Amherst, Chicago, Cincinnati, Dallas, Detroit, Leon, Los Angeles, Sao Paulo, Toronto</a:t>
            </a:r>
            <a:endParaRPr kumimoji="1" lang="en-US" altLang="ja-JP" sz="1800" b="0" i="0" u="none" strike="noStrike" kern="1200" cap="none" spc="0" normalizeH="0" baseline="0" noProof="0" dirty="0">
              <a:ln>
                <a:noFill/>
              </a:ln>
              <a:solidFill>
                <a:prstClr val="black"/>
              </a:solidFill>
              <a:effectLst/>
              <a:uLnTx/>
              <a:uFillTx/>
              <a:latin typeface="Myriad Pro"/>
              <a:ea typeface="+mn-ea"/>
              <a:cs typeface="Arial" panose="020B0604020202020204" pitchFamily="34" charset="0"/>
            </a:endParaRPr>
          </a:p>
        </p:txBody>
      </p:sp>
    </p:spTree>
    <p:extLst>
      <p:ext uri="{BB962C8B-B14F-4D97-AF65-F5344CB8AC3E}">
        <p14:creationId xmlns:p14="http://schemas.microsoft.com/office/powerpoint/2010/main" val="2794289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smtClean="0"/>
              <a:t>Omron brand video</a:t>
            </a:r>
            <a:endParaRPr lang="en-CA" sz="1800" dirty="0"/>
          </a:p>
        </p:txBody>
      </p:sp>
      <p:sp>
        <p:nvSpPr>
          <p:cNvPr id="3" name="Title 2"/>
          <p:cNvSpPr>
            <a:spLocks noGrp="1"/>
          </p:cNvSpPr>
          <p:nvPr>
            <p:ph type="title"/>
          </p:nvPr>
        </p:nvSpPr>
        <p:spPr/>
        <p:txBody>
          <a:bodyPr/>
          <a:lstStyle/>
          <a:p>
            <a:r>
              <a:rPr lang="en-US" dirty="0" smtClean="0"/>
              <a:t>Video</a:t>
            </a:r>
            <a:endParaRPr lang="en-CA" dirty="0"/>
          </a:p>
        </p:txBody>
      </p:sp>
    </p:spTree>
    <p:extLst>
      <p:ext uri="{BB962C8B-B14F-4D97-AF65-F5344CB8AC3E}">
        <p14:creationId xmlns:p14="http://schemas.microsoft.com/office/powerpoint/2010/main" val="12275602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E5E0989-E7A4-3D47-99D0-E767CA644580}"/>
              </a:ext>
            </a:extLst>
          </p:cNvPr>
          <p:cNvSpPr>
            <a:spLocks noGrp="1"/>
          </p:cNvSpPr>
          <p:nvPr>
            <p:ph type="body" sz="quarter" idx="17"/>
          </p:nvPr>
        </p:nvSpPr>
        <p:spPr>
          <a:xfrm>
            <a:off x="3429000" y="935635"/>
            <a:ext cx="2718414" cy="722313"/>
          </a:xfrm>
        </p:spPr>
        <p:txBody>
          <a:bodyPr anchor="ctr"/>
          <a:lstStyle/>
          <a:p>
            <a:pPr algn="r">
              <a:lnSpc>
                <a:spcPct val="70000"/>
              </a:lnSpc>
            </a:pPr>
            <a:r>
              <a:rPr lang="en-US" dirty="0"/>
              <a:t>thank </a:t>
            </a:r>
            <a:br>
              <a:rPr lang="en-US" dirty="0"/>
            </a:br>
            <a:r>
              <a:rPr lang="en-US" sz="6000" dirty="0"/>
              <a:t>you</a:t>
            </a:r>
          </a:p>
        </p:txBody>
      </p:sp>
      <p:sp>
        <p:nvSpPr>
          <p:cNvPr id="4" name="Text Placeholder 3">
            <a:extLst>
              <a:ext uri="{FF2B5EF4-FFF2-40B4-BE49-F238E27FC236}">
                <a16:creationId xmlns:a16="http://schemas.microsoft.com/office/drawing/2014/main" id="{48E0C770-20AC-0A4B-A885-50271E4F97DF}"/>
              </a:ext>
            </a:extLst>
          </p:cNvPr>
          <p:cNvSpPr>
            <a:spLocks noGrp="1"/>
          </p:cNvSpPr>
          <p:nvPr>
            <p:ph type="body" sz="quarter" idx="18"/>
          </p:nvPr>
        </p:nvSpPr>
        <p:spPr>
          <a:xfrm>
            <a:off x="6806587" y="810477"/>
            <a:ext cx="4438509" cy="847471"/>
          </a:xfrm>
        </p:spPr>
        <p:txBody>
          <a:bodyPr anchor="ctr"/>
          <a:lstStyle/>
          <a:p>
            <a:r>
              <a:rPr lang="en-US" dirty="0" smtClean="0"/>
              <a:t>automation.omron.com</a:t>
            </a:r>
            <a:endParaRPr lang="en-US" dirty="0"/>
          </a:p>
        </p:txBody>
      </p:sp>
      <p:cxnSp>
        <p:nvCxnSpPr>
          <p:cNvPr id="12" name="Straight Connector 11">
            <a:extLst>
              <a:ext uri="{FF2B5EF4-FFF2-40B4-BE49-F238E27FC236}">
                <a16:creationId xmlns:a16="http://schemas.microsoft.com/office/drawing/2014/main" id="{9ADD0CE3-944E-6A47-858A-57E67AFF8EC5}"/>
              </a:ext>
            </a:extLst>
          </p:cNvPr>
          <p:cNvCxnSpPr>
            <a:cxnSpLocks/>
          </p:cNvCxnSpPr>
          <p:nvPr/>
        </p:nvCxnSpPr>
        <p:spPr>
          <a:xfrm flipV="1">
            <a:off x="6477000" y="523362"/>
            <a:ext cx="0" cy="142170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4F6AAF2E-DF76-44EE-A78A-EA01AA8D51C9}"/>
              </a:ext>
            </a:extLst>
          </p:cNvPr>
          <p:cNvPicPr>
            <a:picLocks noGrp="1" noChangeAspect="1"/>
          </p:cNvPicPr>
          <p:nvPr>
            <p:ph type="pic" sz="quarter" idx="19"/>
          </p:nvPr>
        </p:nvPicPr>
        <p:blipFill>
          <a:blip r:embed="rId2" cstate="print">
            <a:extLst>
              <a:ext uri="{28A0092B-C50C-407E-A947-70E740481C1C}">
                <a14:useLocalDpi xmlns:a14="http://schemas.microsoft.com/office/drawing/2010/main" val="0"/>
              </a:ext>
            </a:extLst>
          </a:blip>
          <a:srcRect t="28344" b="28344"/>
          <a:stretch>
            <a:fillRect/>
          </a:stretch>
        </p:blipFill>
        <p:spPr/>
      </p:pic>
      <p:pic>
        <p:nvPicPr>
          <p:cNvPr id="9" name="Picture Placeholder 4">
            <a:extLst>
              <a:ext uri="{FF2B5EF4-FFF2-40B4-BE49-F238E27FC236}">
                <a16:creationId xmlns:a16="http://schemas.microsoft.com/office/drawing/2014/main" id="{E3695AEB-4E3F-4882-A56C-D7F26DB37DBC}"/>
              </a:ext>
            </a:extLst>
          </p:cNvPr>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t="29" b="29"/>
          <a:stretch>
            <a:fillRect/>
          </a:stretch>
        </p:blipFill>
        <p:spPr>
          <a:prstGeom prst="rect">
            <a:avLst/>
          </a:prstGeom>
          <a:ln>
            <a:noFill/>
          </a:ln>
        </p:spPr>
      </p:pic>
    </p:spTree>
    <p:extLst>
      <p:ext uri="{BB962C8B-B14F-4D97-AF65-F5344CB8AC3E}">
        <p14:creationId xmlns:p14="http://schemas.microsoft.com/office/powerpoint/2010/main" val="219960998"/>
      </p:ext>
    </p:extLst>
  </p:cSld>
  <p:clrMapOvr>
    <a:masterClrMapping/>
  </p:clrMapOvr>
  <mc:AlternateContent xmlns:mc="http://schemas.openxmlformats.org/markup-compatibility/2006" xmlns:p14="http://schemas.microsoft.com/office/powerpoint/2010/main">
    <mc:Choice Requires="p14">
      <p:transition spd="slow" p14:dur="2000" advTm="9934"/>
    </mc:Choice>
    <mc:Fallback xmlns="">
      <p:transition spd="slow" advTm="9934"/>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381000" y="990600"/>
            <a:ext cx="6019800" cy="5029200"/>
          </a:xfrm>
        </p:spPr>
        <p:txBody>
          <a:bodyPr/>
          <a:lstStyle/>
          <a:p>
            <a:pPr marL="0" indent="0">
              <a:spcAft>
                <a:spcPts val="1200"/>
              </a:spcAft>
              <a:buNone/>
            </a:pPr>
            <a:r>
              <a:rPr lang="en-US" sz="2000" dirty="0"/>
              <a:t>We design, build and integrate intelligent automation solutions that leverage new technologies to create smart and sustainable factories for the world’s leading companies.</a:t>
            </a:r>
          </a:p>
          <a:p>
            <a:pPr marL="0" indent="0">
              <a:spcAft>
                <a:spcPts val="600"/>
              </a:spcAft>
              <a:buNone/>
            </a:pPr>
            <a:r>
              <a:rPr lang="en-US" sz="1800" dirty="0">
                <a:solidFill>
                  <a:schemeClr val="tx2"/>
                </a:solidFill>
                <a:latin typeface="+mj-lt"/>
              </a:rPr>
              <a:t>Highlights</a:t>
            </a:r>
          </a:p>
          <a:p>
            <a:pPr marL="171450" indent="-171450">
              <a:buFont typeface="Arial" panose="020B0604020202020204" pitchFamily="34" charset="0"/>
              <a:buChar char="•"/>
            </a:pPr>
            <a:r>
              <a:rPr lang="en-US" dirty="0"/>
              <a:t>Highly-skilled and diverse team of professionals</a:t>
            </a:r>
          </a:p>
          <a:p>
            <a:pPr marL="171450" indent="-171450">
              <a:buFont typeface="Arial" panose="020B0604020202020204" pitchFamily="34" charset="0"/>
              <a:buChar char="•"/>
            </a:pPr>
            <a:r>
              <a:rPr lang="en-US" dirty="0"/>
              <a:t>Culture driven by integrity, quality, and customer satisfaction</a:t>
            </a:r>
          </a:p>
          <a:p>
            <a:r>
              <a:rPr lang="en-US" dirty="0"/>
              <a:t>Commitment to sustainability and community partnership</a:t>
            </a:r>
          </a:p>
          <a:p>
            <a:pPr marL="171450" indent="-171450">
              <a:buFont typeface="Arial" panose="020B0604020202020204" pitchFamily="34" charset="0"/>
              <a:buChar char="•"/>
            </a:pPr>
            <a:r>
              <a:rPr lang="en-US" dirty="0"/>
              <a:t>A leader in digital transformation and Industry 4.0 integration</a:t>
            </a:r>
          </a:p>
          <a:p>
            <a:pPr marL="171450" indent="-171450">
              <a:buFont typeface="Arial" panose="020B0604020202020204" pitchFamily="34" charset="0"/>
              <a:buChar char="•"/>
            </a:pPr>
            <a:r>
              <a:rPr lang="en-US" dirty="0"/>
              <a:t>Extensive portfolio of successful projects</a:t>
            </a:r>
          </a:p>
          <a:p>
            <a:r>
              <a:rPr lang="en-US" dirty="0"/>
              <a:t>Global systems, processes, resources, and capacity</a:t>
            </a:r>
          </a:p>
          <a:p>
            <a:r>
              <a:rPr lang="en-US" dirty="0"/>
              <a:t>Full-service supplier – a single source for complete solutions</a:t>
            </a:r>
          </a:p>
          <a:p>
            <a:pPr marL="171450" indent="-171450">
              <a:buFont typeface="Arial" panose="020B0604020202020204" pitchFamily="34" charset="0"/>
              <a:buChar char="•"/>
            </a:pPr>
            <a:endParaRPr lang="en-US" dirty="0"/>
          </a:p>
        </p:txBody>
      </p:sp>
      <p:sp>
        <p:nvSpPr>
          <p:cNvPr id="6" name="Title 5"/>
          <p:cNvSpPr>
            <a:spLocks noGrp="1"/>
          </p:cNvSpPr>
          <p:nvPr>
            <p:ph type="title"/>
          </p:nvPr>
        </p:nvSpPr>
        <p:spPr>
          <a:xfrm>
            <a:off x="342898" y="347713"/>
            <a:ext cx="11430000" cy="352968"/>
          </a:xfrm>
        </p:spPr>
        <p:txBody>
          <a:bodyPr/>
          <a:lstStyle/>
          <a:p>
            <a:r>
              <a:rPr lang="en-US" dirty="0"/>
              <a:t>About Valiant TMS</a:t>
            </a:r>
            <a:endParaRPr lang="en-CA" dirty="0"/>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96400" y="2676865"/>
            <a:ext cx="2514600" cy="1414463"/>
          </a:xfrm>
          <a:prstGeom prst="rect">
            <a:avLst/>
          </a:prstGeom>
          <a:solidFill>
            <a:schemeClr val="bg2">
              <a:lumMod val="85000"/>
            </a:schemeClr>
          </a:solidFill>
          <a:ln>
            <a:noFill/>
          </a:ln>
        </p:spPr>
      </p:pic>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07480" y="997362"/>
            <a:ext cx="2514600" cy="1414463"/>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07480" y="2676865"/>
            <a:ext cx="2514600" cy="1414463"/>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507480" y="4362718"/>
            <a:ext cx="2514600" cy="1414408"/>
          </a:xfrm>
          <a:prstGeom prst="rect">
            <a:avLst/>
          </a:prstGeom>
          <a:solidFill>
            <a:schemeClr val="bg2">
              <a:lumMod val="85000"/>
            </a:schemeClr>
          </a:solidFill>
          <a:ln>
            <a:noFill/>
          </a:ln>
        </p:spPr>
      </p:pic>
      <p:pic>
        <p:nvPicPr>
          <p:cNvPr id="7" name="Picture 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296400" y="991067"/>
            <a:ext cx="2514600" cy="1414463"/>
          </a:xfrm>
          <a:prstGeom prst="rect">
            <a:avLst/>
          </a:prstGeom>
          <a:solidFill>
            <a:schemeClr val="bg2">
              <a:lumMod val="85000"/>
            </a:schemeClr>
          </a:solidFill>
          <a:ln>
            <a:noFill/>
          </a:ln>
        </p:spPr>
      </p:pic>
      <p:pic>
        <p:nvPicPr>
          <p:cNvPr id="5" name="Picture 4"/>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296400" y="4362388"/>
            <a:ext cx="2514600" cy="1414738"/>
          </a:xfrm>
          <a:prstGeom prst="rect">
            <a:avLst/>
          </a:prstGeom>
        </p:spPr>
      </p:pic>
    </p:spTree>
    <p:extLst>
      <p:ext uri="{BB962C8B-B14F-4D97-AF65-F5344CB8AC3E}">
        <p14:creationId xmlns:p14="http://schemas.microsoft.com/office/powerpoint/2010/main" val="3041404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chor="ctr"/>
          <a:lstStyle/>
          <a:p>
            <a:pPr marL="0" indent="0" algn="ctr">
              <a:buNone/>
            </a:pPr>
            <a:r>
              <a:rPr lang="en-CA" sz="1800" dirty="0"/>
              <a:t>01-valianttms-company-overview.mp4</a:t>
            </a:r>
          </a:p>
        </p:txBody>
      </p:sp>
      <p:sp>
        <p:nvSpPr>
          <p:cNvPr id="3" name="Title 2"/>
          <p:cNvSpPr>
            <a:spLocks noGrp="1"/>
          </p:cNvSpPr>
          <p:nvPr>
            <p:ph type="title"/>
          </p:nvPr>
        </p:nvSpPr>
        <p:spPr/>
        <p:txBody>
          <a:bodyPr/>
          <a:lstStyle/>
          <a:p>
            <a:r>
              <a:rPr lang="en-US" dirty="0"/>
              <a:t>Video</a:t>
            </a:r>
            <a:endParaRPr lang="en-CA" dirty="0"/>
          </a:p>
        </p:txBody>
      </p:sp>
    </p:spTree>
    <p:extLst>
      <p:ext uri="{BB962C8B-B14F-4D97-AF65-F5344CB8AC3E}">
        <p14:creationId xmlns:p14="http://schemas.microsoft.com/office/powerpoint/2010/main" val="39553991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a:grpSpLocks noChangeAspect="1"/>
          </p:cNvGrpSpPr>
          <p:nvPr/>
        </p:nvGrpSpPr>
        <p:grpSpPr>
          <a:xfrm>
            <a:off x="2169725" y="1093250"/>
            <a:ext cx="8887450" cy="4442900"/>
            <a:chOff x="397329" y="1346221"/>
            <a:chExt cx="8229600" cy="4114028"/>
          </a:xfrm>
        </p:grpSpPr>
        <p:sp>
          <p:nvSpPr>
            <p:cNvPr id="10" name="Freeform 381">
              <a:extLst>
                <a:ext uri="{FF2B5EF4-FFF2-40B4-BE49-F238E27FC236}">
                  <a16:creationId xmlns:a16="http://schemas.microsoft.com/office/drawing/2014/main" id="{A49B581E-8316-4F2E-98D8-C8BA39E9D851}"/>
                </a:ext>
              </a:extLst>
            </p:cNvPr>
            <p:cNvSpPr/>
            <p:nvPr/>
          </p:nvSpPr>
          <p:spPr>
            <a:xfrm>
              <a:off x="397329" y="1346221"/>
              <a:ext cx="8229600" cy="4114028"/>
            </a:xfrm>
            <a:custGeom>
              <a:avLst/>
              <a:gdLst/>
              <a:ahLst/>
              <a:cxnLst>
                <a:cxn ang="3cd4">
                  <a:pos x="hc" y="t"/>
                </a:cxn>
                <a:cxn ang="cd2">
                  <a:pos x="l" y="vc"/>
                </a:cxn>
                <a:cxn ang="cd4">
                  <a:pos x="hc" y="b"/>
                </a:cxn>
                <a:cxn ang="0">
                  <a:pos x="r" y="vc"/>
                </a:cxn>
              </a:cxnLst>
              <a:rect l="l" t="t" r="r" b="b"/>
              <a:pathLst>
                <a:path w="26422" h="13211">
                  <a:moveTo>
                    <a:pt x="6731" y="5710"/>
                  </a:moveTo>
                  <a:lnTo>
                    <a:pt x="6723" y="5710"/>
                  </a:lnTo>
                  <a:close/>
                  <a:moveTo>
                    <a:pt x="6634" y="6715"/>
                  </a:moveTo>
                  <a:lnTo>
                    <a:pt x="6643" y="6724"/>
                  </a:lnTo>
                  <a:lnTo>
                    <a:pt x="6652" y="6724"/>
                  </a:lnTo>
                  <a:lnTo>
                    <a:pt x="6652" y="6715"/>
                  </a:lnTo>
                  <a:lnTo>
                    <a:pt x="6643" y="6715"/>
                  </a:lnTo>
                  <a:lnTo>
                    <a:pt x="6634" y="6706"/>
                  </a:lnTo>
                  <a:close/>
                  <a:moveTo>
                    <a:pt x="6714" y="6443"/>
                  </a:moveTo>
                  <a:lnTo>
                    <a:pt x="6714" y="6452"/>
                  </a:lnTo>
                  <a:lnTo>
                    <a:pt x="6723" y="6452"/>
                  </a:lnTo>
                  <a:lnTo>
                    <a:pt x="6731" y="6460"/>
                  </a:lnTo>
                  <a:lnTo>
                    <a:pt x="6740" y="6460"/>
                  </a:lnTo>
                  <a:lnTo>
                    <a:pt x="6749" y="6469"/>
                  </a:lnTo>
                  <a:lnTo>
                    <a:pt x="6758" y="6478"/>
                  </a:lnTo>
                  <a:lnTo>
                    <a:pt x="6758" y="6487"/>
                  </a:lnTo>
                  <a:lnTo>
                    <a:pt x="6758" y="6496"/>
                  </a:lnTo>
                  <a:lnTo>
                    <a:pt x="6758" y="6505"/>
                  </a:lnTo>
                  <a:lnTo>
                    <a:pt x="6749" y="6505"/>
                  </a:lnTo>
                  <a:lnTo>
                    <a:pt x="6758" y="6513"/>
                  </a:lnTo>
                  <a:lnTo>
                    <a:pt x="6758" y="6505"/>
                  </a:lnTo>
                  <a:lnTo>
                    <a:pt x="6758" y="6496"/>
                  </a:lnTo>
                  <a:lnTo>
                    <a:pt x="6767" y="6478"/>
                  </a:lnTo>
                  <a:lnTo>
                    <a:pt x="6758" y="6478"/>
                  </a:lnTo>
                  <a:lnTo>
                    <a:pt x="6758" y="6469"/>
                  </a:lnTo>
                  <a:lnTo>
                    <a:pt x="6749" y="6460"/>
                  </a:lnTo>
                  <a:lnTo>
                    <a:pt x="6731" y="6460"/>
                  </a:lnTo>
                  <a:lnTo>
                    <a:pt x="6723" y="6452"/>
                  </a:lnTo>
                  <a:lnTo>
                    <a:pt x="6723" y="6443"/>
                  </a:lnTo>
                  <a:close/>
                  <a:moveTo>
                    <a:pt x="6758" y="5693"/>
                  </a:moveTo>
                  <a:lnTo>
                    <a:pt x="6749" y="5693"/>
                  </a:lnTo>
                  <a:lnTo>
                    <a:pt x="6740" y="5701"/>
                  </a:lnTo>
                  <a:lnTo>
                    <a:pt x="6731" y="5719"/>
                  </a:lnTo>
                  <a:lnTo>
                    <a:pt x="6731" y="5710"/>
                  </a:lnTo>
                  <a:lnTo>
                    <a:pt x="6749" y="5701"/>
                  </a:lnTo>
                  <a:close/>
                  <a:moveTo>
                    <a:pt x="6767" y="6593"/>
                  </a:moveTo>
                  <a:lnTo>
                    <a:pt x="6776" y="6593"/>
                  </a:lnTo>
                  <a:lnTo>
                    <a:pt x="6784" y="6602"/>
                  </a:lnTo>
                  <a:lnTo>
                    <a:pt x="6793" y="6609"/>
                  </a:lnTo>
                  <a:lnTo>
                    <a:pt x="6793" y="6602"/>
                  </a:lnTo>
                  <a:lnTo>
                    <a:pt x="6784" y="6602"/>
                  </a:lnTo>
                  <a:lnTo>
                    <a:pt x="6776" y="6593"/>
                  </a:lnTo>
                  <a:close/>
                  <a:moveTo>
                    <a:pt x="6661" y="6575"/>
                  </a:moveTo>
                  <a:lnTo>
                    <a:pt x="6661" y="6566"/>
                  </a:lnTo>
                  <a:lnTo>
                    <a:pt x="6652" y="6557"/>
                  </a:lnTo>
                  <a:lnTo>
                    <a:pt x="6652" y="6549"/>
                  </a:lnTo>
                  <a:lnTo>
                    <a:pt x="6643" y="6557"/>
                  </a:lnTo>
                  <a:lnTo>
                    <a:pt x="6643" y="6549"/>
                  </a:lnTo>
                  <a:lnTo>
                    <a:pt x="6652" y="6549"/>
                  </a:lnTo>
                  <a:lnTo>
                    <a:pt x="6643" y="6540"/>
                  </a:lnTo>
                  <a:lnTo>
                    <a:pt x="6634" y="6549"/>
                  </a:lnTo>
                  <a:lnTo>
                    <a:pt x="6626" y="6549"/>
                  </a:lnTo>
                  <a:lnTo>
                    <a:pt x="6634" y="6557"/>
                  </a:lnTo>
                  <a:lnTo>
                    <a:pt x="6634" y="6575"/>
                  </a:lnTo>
                  <a:lnTo>
                    <a:pt x="6643" y="6575"/>
                  </a:lnTo>
                  <a:lnTo>
                    <a:pt x="6643" y="6584"/>
                  </a:lnTo>
                  <a:lnTo>
                    <a:pt x="6652" y="6584"/>
                  </a:lnTo>
                  <a:close/>
                  <a:moveTo>
                    <a:pt x="6670" y="6487"/>
                  </a:moveTo>
                  <a:lnTo>
                    <a:pt x="6679" y="6487"/>
                  </a:lnTo>
                  <a:lnTo>
                    <a:pt x="6679" y="6478"/>
                  </a:lnTo>
                  <a:lnTo>
                    <a:pt x="6670" y="6478"/>
                  </a:lnTo>
                  <a:lnTo>
                    <a:pt x="6661" y="6478"/>
                  </a:lnTo>
                  <a:lnTo>
                    <a:pt x="6652" y="6487"/>
                  </a:lnTo>
                  <a:lnTo>
                    <a:pt x="6661" y="6487"/>
                  </a:lnTo>
                  <a:close/>
                  <a:moveTo>
                    <a:pt x="6793" y="5604"/>
                  </a:moveTo>
                  <a:lnTo>
                    <a:pt x="6793" y="5613"/>
                  </a:lnTo>
                  <a:lnTo>
                    <a:pt x="6802" y="5613"/>
                  </a:lnTo>
                  <a:close/>
                  <a:moveTo>
                    <a:pt x="6829" y="6627"/>
                  </a:moveTo>
                  <a:lnTo>
                    <a:pt x="6837" y="6636"/>
                  </a:lnTo>
                  <a:lnTo>
                    <a:pt x="6846" y="6636"/>
                  </a:lnTo>
                  <a:lnTo>
                    <a:pt x="6855" y="6654"/>
                  </a:lnTo>
                  <a:lnTo>
                    <a:pt x="6855" y="6645"/>
                  </a:lnTo>
                  <a:lnTo>
                    <a:pt x="6846" y="6636"/>
                  </a:lnTo>
                  <a:lnTo>
                    <a:pt x="6837" y="6627"/>
                  </a:lnTo>
                  <a:lnTo>
                    <a:pt x="6837" y="6618"/>
                  </a:lnTo>
                  <a:lnTo>
                    <a:pt x="6829" y="6609"/>
                  </a:lnTo>
                  <a:lnTo>
                    <a:pt x="6829" y="6602"/>
                  </a:lnTo>
                  <a:lnTo>
                    <a:pt x="6820" y="6593"/>
                  </a:lnTo>
                  <a:lnTo>
                    <a:pt x="6820" y="6602"/>
                  </a:lnTo>
                  <a:lnTo>
                    <a:pt x="6829" y="6602"/>
                  </a:lnTo>
                  <a:lnTo>
                    <a:pt x="6837" y="6618"/>
                  </a:lnTo>
                  <a:lnTo>
                    <a:pt x="6837" y="6627"/>
                  </a:lnTo>
                  <a:close/>
                  <a:moveTo>
                    <a:pt x="6829" y="5428"/>
                  </a:moveTo>
                  <a:lnTo>
                    <a:pt x="6820" y="5445"/>
                  </a:lnTo>
                  <a:lnTo>
                    <a:pt x="6829" y="5428"/>
                  </a:lnTo>
                  <a:lnTo>
                    <a:pt x="6837" y="5419"/>
                  </a:lnTo>
                  <a:lnTo>
                    <a:pt x="6837" y="5410"/>
                  </a:lnTo>
                  <a:close/>
                  <a:moveTo>
                    <a:pt x="6890" y="6557"/>
                  </a:moveTo>
                  <a:lnTo>
                    <a:pt x="6881" y="6557"/>
                  </a:lnTo>
                  <a:lnTo>
                    <a:pt x="6881" y="6566"/>
                  </a:lnTo>
                  <a:close/>
                  <a:moveTo>
                    <a:pt x="6899" y="6654"/>
                  </a:moveTo>
                  <a:lnTo>
                    <a:pt x="6899" y="6662"/>
                  </a:lnTo>
                  <a:lnTo>
                    <a:pt x="6908" y="6662"/>
                  </a:lnTo>
                  <a:lnTo>
                    <a:pt x="6917" y="6662"/>
                  </a:lnTo>
                  <a:lnTo>
                    <a:pt x="6908" y="6662"/>
                  </a:lnTo>
                  <a:close/>
                  <a:moveTo>
                    <a:pt x="6793" y="6513"/>
                  </a:moveTo>
                  <a:lnTo>
                    <a:pt x="6793" y="6522"/>
                  </a:lnTo>
                  <a:lnTo>
                    <a:pt x="6802" y="6522"/>
                  </a:lnTo>
                  <a:lnTo>
                    <a:pt x="6811" y="6540"/>
                  </a:lnTo>
                  <a:lnTo>
                    <a:pt x="6811" y="6549"/>
                  </a:lnTo>
                  <a:lnTo>
                    <a:pt x="6811" y="6557"/>
                  </a:lnTo>
                  <a:lnTo>
                    <a:pt x="6820" y="6549"/>
                  </a:lnTo>
                  <a:lnTo>
                    <a:pt x="6811" y="6531"/>
                  </a:lnTo>
                  <a:lnTo>
                    <a:pt x="6802" y="6531"/>
                  </a:lnTo>
                  <a:close/>
                  <a:moveTo>
                    <a:pt x="6784" y="5666"/>
                  </a:moveTo>
                  <a:lnTo>
                    <a:pt x="6776" y="5675"/>
                  </a:lnTo>
                  <a:close/>
                  <a:moveTo>
                    <a:pt x="6802" y="5657"/>
                  </a:moveTo>
                  <a:lnTo>
                    <a:pt x="6793" y="5666"/>
                  </a:lnTo>
                  <a:lnTo>
                    <a:pt x="6802" y="5666"/>
                  </a:lnTo>
                  <a:lnTo>
                    <a:pt x="6811" y="5657"/>
                  </a:lnTo>
                  <a:lnTo>
                    <a:pt x="6811" y="5648"/>
                  </a:lnTo>
                  <a:lnTo>
                    <a:pt x="6811" y="5640"/>
                  </a:lnTo>
                  <a:lnTo>
                    <a:pt x="6811" y="5622"/>
                  </a:lnTo>
                  <a:lnTo>
                    <a:pt x="6811" y="5640"/>
                  </a:lnTo>
                  <a:lnTo>
                    <a:pt x="6811" y="5648"/>
                  </a:lnTo>
                  <a:close/>
                  <a:moveTo>
                    <a:pt x="6634" y="6706"/>
                  </a:moveTo>
                  <a:lnTo>
                    <a:pt x="6634" y="6698"/>
                  </a:lnTo>
                  <a:lnTo>
                    <a:pt x="6626" y="6698"/>
                  </a:lnTo>
                  <a:lnTo>
                    <a:pt x="6617" y="6706"/>
                  </a:lnTo>
                  <a:lnTo>
                    <a:pt x="6626" y="6706"/>
                  </a:lnTo>
                  <a:close/>
                  <a:moveTo>
                    <a:pt x="6908" y="5287"/>
                  </a:moveTo>
                  <a:lnTo>
                    <a:pt x="6899" y="5295"/>
                  </a:lnTo>
                  <a:lnTo>
                    <a:pt x="6899" y="5304"/>
                  </a:lnTo>
                  <a:close/>
                  <a:moveTo>
                    <a:pt x="6361" y="6513"/>
                  </a:moveTo>
                  <a:lnTo>
                    <a:pt x="6361" y="6522"/>
                  </a:lnTo>
                  <a:close/>
                  <a:moveTo>
                    <a:pt x="6608" y="6689"/>
                  </a:moveTo>
                  <a:lnTo>
                    <a:pt x="6617" y="6698"/>
                  </a:lnTo>
                  <a:lnTo>
                    <a:pt x="6626" y="6698"/>
                  </a:lnTo>
                  <a:lnTo>
                    <a:pt x="6617" y="6698"/>
                  </a:lnTo>
                  <a:lnTo>
                    <a:pt x="6617" y="6689"/>
                  </a:lnTo>
                  <a:lnTo>
                    <a:pt x="6608" y="6680"/>
                  </a:lnTo>
                  <a:close/>
                  <a:moveTo>
                    <a:pt x="6405" y="6505"/>
                  </a:moveTo>
                  <a:lnTo>
                    <a:pt x="6396" y="6505"/>
                  </a:lnTo>
                  <a:lnTo>
                    <a:pt x="6396" y="6513"/>
                  </a:lnTo>
                  <a:lnTo>
                    <a:pt x="6396" y="6505"/>
                  </a:lnTo>
                  <a:close/>
                  <a:moveTo>
                    <a:pt x="6379" y="6513"/>
                  </a:moveTo>
                  <a:lnTo>
                    <a:pt x="6370" y="6505"/>
                  </a:lnTo>
                  <a:close/>
                  <a:moveTo>
                    <a:pt x="6326" y="6372"/>
                  </a:moveTo>
                  <a:lnTo>
                    <a:pt x="6326" y="6363"/>
                  </a:lnTo>
                  <a:lnTo>
                    <a:pt x="6317" y="6354"/>
                  </a:lnTo>
                  <a:lnTo>
                    <a:pt x="6317" y="6363"/>
                  </a:lnTo>
                  <a:close/>
                  <a:moveTo>
                    <a:pt x="6255" y="6751"/>
                  </a:moveTo>
                  <a:lnTo>
                    <a:pt x="6246" y="6751"/>
                  </a:lnTo>
                  <a:lnTo>
                    <a:pt x="6255" y="6759"/>
                  </a:lnTo>
                  <a:lnTo>
                    <a:pt x="6264" y="6759"/>
                  </a:lnTo>
                  <a:lnTo>
                    <a:pt x="6282" y="6751"/>
                  </a:lnTo>
                  <a:lnTo>
                    <a:pt x="6290" y="6751"/>
                  </a:lnTo>
                  <a:lnTo>
                    <a:pt x="6282" y="6733"/>
                  </a:lnTo>
                  <a:lnTo>
                    <a:pt x="6282" y="6724"/>
                  </a:lnTo>
                  <a:lnTo>
                    <a:pt x="6273" y="6724"/>
                  </a:lnTo>
                  <a:lnTo>
                    <a:pt x="6255" y="6724"/>
                  </a:lnTo>
                  <a:lnTo>
                    <a:pt x="6255" y="6733"/>
                  </a:lnTo>
                  <a:lnTo>
                    <a:pt x="6246" y="6733"/>
                  </a:lnTo>
                  <a:close/>
                  <a:moveTo>
                    <a:pt x="6123" y="6116"/>
                  </a:moveTo>
                  <a:lnTo>
                    <a:pt x="6105" y="6125"/>
                  </a:lnTo>
                  <a:lnTo>
                    <a:pt x="6114" y="6116"/>
                  </a:lnTo>
                  <a:lnTo>
                    <a:pt x="6132" y="6116"/>
                  </a:lnTo>
                  <a:close/>
                  <a:moveTo>
                    <a:pt x="6317" y="6372"/>
                  </a:moveTo>
                  <a:lnTo>
                    <a:pt x="6326" y="6372"/>
                  </a:lnTo>
                  <a:lnTo>
                    <a:pt x="6317" y="6372"/>
                  </a:lnTo>
                  <a:lnTo>
                    <a:pt x="6317" y="6363"/>
                  </a:lnTo>
                  <a:close/>
                  <a:moveTo>
                    <a:pt x="6352" y="6522"/>
                  </a:moveTo>
                  <a:lnTo>
                    <a:pt x="6343" y="6522"/>
                  </a:lnTo>
                  <a:close/>
                  <a:moveTo>
                    <a:pt x="6679" y="6354"/>
                  </a:moveTo>
                  <a:lnTo>
                    <a:pt x="6670" y="6346"/>
                  </a:lnTo>
                  <a:lnTo>
                    <a:pt x="6661" y="6346"/>
                  </a:lnTo>
                  <a:lnTo>
                    <a:pt x="6661" y="6337"/>
                  </a:lnTo>
                  <a:lnTo>
                    <a:pt x="6652" y="6337"/>
                  </a:lnTo>
                  <a:lnTo>
                    <a:pt x="6643" y="6337"/>
                  </a:lnTo>
                  <a:lnTo>
                    <a:pt x="6634" y="6337"/>
                  </a:lnTo>
                  <a:lnTo>
                    <a:pt x="6626" y="6337"/>
                  </a:lnTo>
                  <a:lnTo>
                    <a:pt x="6643" y="6337"/>
                  </a:lnTo>
                  <a:lnTo>
                    <a:pt x="6661" y="6346"/>
                  </a:lnTo>
                  <a:lnTo>
                    <a:pt x="6670" y="6363"/>
                  </a:lnTo>
                  <a:lnTo>
                    <a:pt x="6679" y="6363"/>
                  </a:lnTo>
                  <a:lnTo>
                    <a:pt x="6679" y="6372"/>
                  </a:lnTo>
                  <a:lnTo>
                    <a:pt x="6679" y="6381"/>
                  </a:lnTo>
                  <a:lnTo>
                    <a:pt x="6679" y="6390"/>
                  </a:lnTo>
                  <a:lnTo>
                    <a:pt x="6679" y="6399"/>
                  </a:lnTo>
                  <a:lnTo>
                    <a:pt x="6670" y="6407"/>
                  </a:lnTo>
                  <a:lnTo>
                    <a:pt x="6679" y="6416"/>
                  </a:lnTo>
                  <a:lnTo>
                    <a:pt x="6687" y="6416"/>
                  </a:lnTo>
                  <a:lnTo>
                    <a:pt x="6687" y="6390"/>
                  </a:lnTo>
                  <a:lnTo>
                    <a:pt x="6696" y="6381"/>
                  </a:lnTo>
                  <a:lnTo>
                    <a:pt x="6696" y="6363"/>
                  </a:lnTo>
                  <a:lnTo>
                    <a:pt x="6687" y="6363"/>
                  </a:lnTo>
                  <a:close/>
                  <a:moveTo>
                    <a:pt x="6608" y="6531"/>
                  </a:moveTo>
                  <a:lnTo>
                    <a:pt x="6617" y="6522"/>
                  </a:lnTo>
                  <a:lnTo>
                    <a:pt x="6617" y="6531"/>
                  </a:lnTo>
                  <a:lnTo>
                    <a:pt x="6617" y="6540"/>
                  </a:lnTo>
                  <a:lnTo>
                    <a:pt x="6626" y="6540"/>
                  </a:lnTo>
                  <a:lnTo>
                    <a:pt x="6634" y="6540"/>
                  </a:lnTo>
                  <a:lnTo>
                    <a:pt x="6634" y="6531"/>
                  </a:lnTo>
                  <a:lnTo>
                    <a:pt x="6643" y="6531"/>
                  </a:lnTo>
                  <a:lnTo>
                    <a:pt x="6643" y="6522"/>
                  </a:lnTo>
                  <a:lnTo>
                    <a:pt x="6643" y="6513"/>
                  </a:lnTo>
                  <a:lnTo>
                    <a:pt x="6634" y="6505"/>
                  </a:lnTo>
                  <a:lnTo>
                    <a:pt x="6626" y="6487"/>
                  </a:lnTo>
                  <a:lnTo>
                    <a:pt x="6626" y="6478"/>
                  </a:lnTo>
                  <a:lnTo>
                    <a:pt x="6608" y="6469"/>
                  </a:lnTo>
                  <a:lnTo>
                    <a:pt x="6608" y="6487"/>
                  </a:lnTo>
                  <a:lnTo>
                    <a:pt x="6608" y="6496"/>
                  </a:lnTo>
                  <a:lnTo>
                    <a:pt x="6599" y="6505"/>
                  </a:lnTo>
                  <a:lnTo>
                    <a:pt x="6608" y="6513"/>
                  </a:lnTo>
                  <a:lnTo>
                    <a:pt x="6599" y="6522"/>
                  </a:lnTo>
                  <a:lnTo>
                    <a:pt x="6599" y="6513"/>
                  </a:lnTo>
                  <a:lnTo>
                    <a:pt x="6590" y="6513"/>
                  </a:lnTo>
                  <a:lnTo>
                    <a:pt x="6599" y="6522"/>
                  </a:lnTo>
                  <a:close/>
                  <a:moveTo>
                    <a:pt x="6573" y="6363"/>
                  </a:moveTo>
                  <a:lnTo>
                    <a:pt x="6564" y="6363"/>
                  </a:lnTo>
                  <a:lnTo>
                    <a:pt x="6555" y="6354"/>
                  </a:lnTo>
                  <a:lnTo>
                    <a:pt x="6564" y="6363"/>
                  </a:lnTo>
                  <a:lnTo>
                    <a:pt x="6573" y="6372"/>
                  </a:lnTo>
                  <a:lnTo>
                    <a:pt x="6590" y="6363"/>
                  </a:lnTo>
                  <a:lnTo>
                    <a:pt x="6608" y="6354"/>
                  </a:lnTo>
                  <a:lnTo>
                    <a:pt x="6626" y="6354"/>
                  </a:lnTo>
                  <a:lnTo>
                    <a:pt x="6617" y="6354"/>
                  </a:lnTo>
                  <a:lnTo>
                    <a:pt x="6608" y="6354"/>
                  </a:lnTo>
                  <a:lnTo>
                    <a:pt x="6599" y="6354"/>
                  </a:lnTo>
                  <a:lnTo>
                    <a:pt x="6590" y="6354"/>
                  </a:lnTo>
                  <a:lnTo>
                    <a:pt x="6581" y="6346"/>
                  </a:lnTo>
                  <a:lnTo>
                    <a:pt x="6581" y="6354"/>
                  </a:lnTo>
                  <a:close/>
                  <a:moveTo>
                    <a:pt x="6423" y="6496"/>
                  </a:moveTo>
                  <a:lnTo>
                    <a:pt x="6414" y="6496"/>
                  </a:lnTo>
                  <a:lnTo>
                    <a:pt x="6414" y="6505"/>
                  </a:lnTo>
                  <a:lnTo>
                    <a:pt x="6423" y="6505"/>
                  </a:lnTo>
                  <a:close/>
                  <a:moveTo>
                    <a:pt x="19999" y="8269"/>
                  </a:moveTo>
                  <a:lnTo>
                    <a:pt x="19999" y="8277"/>
                  </a:lnTo>
                  <a:lnTo>
                    <a:pt x="20008" y="8277"/>
                  </a:lnTo>
                  <a:lnTo>
                    <a:pt x="20008" y="8269"/>
                  </a:lnTo>
                  <a:close/>
                  <a:moveTo>
                    <a:pt x="6432" y="6496"/>
                  </a:moveTo>
                  <a:close/>
                  <a:moveTo>
                    <a:pt x="6458" y="6460"/>
                  </a:moveTo>
                  <a:lnTo>
                    <a:pt x="6449" y="6460"/>
                  </a:lnTo>
                  <a:lnTo>
                    <a:pt x="6449" y="6469"/>
                  </a:lnTo>
                  <a:lnTo>
                    <a:pt x="6440" y="6478"/>
                  </a:lnTo>
                  <a:lnTo>
                    <a:pt x="6440" y="6487"/>
                  </a:lnTo>
                  <a:lnTo>
                    <a:pt x="6432" y="6487"/>
                  </a:lnTo>
                  <a:lnTo>
                    <a:pt x="6449" y="6478"/>
                  </a:lnTo>
                  <a:close/>
                  <a:moveTo>
                    <a:pt x="5214" y="6266"/>
                  </a:moveTo>
                  <a:lnTo>
                    <a:pt x="5205" y="6293"/>
                  </a:lnTo>
                  <a:lnTo>
                    <a:pt x="5196" y="6302"/>
                  </a:lnTo>
                  <a:lnTo>
                    <a:pt x="5196" y="6310"/>
                  </a:lnTo>
                  <a:lnTo>
                    <a:pt x="5205" y="6310"/>
                  </a:lnTo>
                  <a:lnTo>
                    <a:pt x="5205" y="6284"/>
                  </a:lnTo>
                  <a:lnTo>
                    <a:pt x="5223" y="6266"/>
                  </a:lnTo>
                  <a:close/>
                  <a:moveTo>
                    <a:pt x="6996" y="6689"/>
                  </a:moveTo>
                  <a:lnTo>
                    <a:pt x="7005" y="6698"/>
                  </a:lnTo>
                  <a:lnTo>
                    <a:pt x="7014" y="6689"/>
                  </a:lnTo>
                  <a:lnTo>
                    <a:pt x="7005" y="6689"/>
                  </a:lnTo>
                  <a:lnTo>
                    <a:pt x="6996" y="6689"/>
                  </a:lnTo>
                  <a:lnTo>
                    <a:pt x="6987" y="6689"/>
                  </a:lnTo>
                  <a:lnTo>
                    <a:pt x="6978" y="6680"/>
                  </a:lnTo>
                  <a:lnTo>
                    <a:pt x="6978" y="6689"/>
                  </a:lnTo>
                  <a:lnTo>
                    <a:pt x="6987" y="6689"/>
                  </a:lnTo>
                  <a:close/>
                  <a:moveTo>
                    <a:pt x="5999" y="7148"/>
                  </a:moveTo>
                  <a:lnTo>
                    <a:pt x="5990" y="7148"/>
                  </a:lnTo>
                  <a:lnTo>
                    <a:pt x="6008" y="7148"/>
                  </a:lnTo>
                  <a:lnTo>
                    <a:pt x="6017" y="7139"/>
                  </a:lnTo>
                  <a:lnTo>
                    <a:pt x="6008" y="7139"/>
                  </a:lnTo>
                  <a:close/>
                  <a:moveTo>
                    <a:pt x="5840" y="6072"/>
                  </a:moveTo>
                  <a:lnTo>
                    <a:pt x="5849" y="6072"/>
                  </a:lnTo>
                  <a:lnTo>
                    <a:pt x="5832" y="6072"/>
                  </a:lnTo>
                  <a:close/>
                  <a:moveTo>
                    <a:pt x="5964" y="6830"/>
                  </a:moveTo>
                  <a:lnTo>
                    <a:pt x="5964" y="6839"/>
                  </a:lnTo>
                  <a:lnTo>
                    <a:pt x="5964" y="6848"/>
                  </a:lnTo>
                  <a:lnTo>
                    <a:pt x="5973" y="6839"/>
                  </a:lnTo>
                  <a:lnTo>
                    <a:pt x="5982" y="6830"/>
                  </a:lnTo>
                  <a:lnTo>
                    <a:pt x="5973" y="6830"/>
                  </a:lnTo>
                  <a:close/>
                  <a:moveTo>
                    <a:pt x="5867" y="6072"/>
                  </a:moveTo>
                  <a:lnTo>
                    <a:pt x="5876" y="6072"/>
                  </a:lnTo>
                  <a:lnTo>
                    <a:pt x="5885" y="6072"/>
                  </a:lnTo>
                  <a:close/>
                  <a:moveTo>
                    <a:pt x="5982" y="6777"/>
                  </a:moveTo>
                  <a:close/>
                  <a:moveTo>
                    <a:pt x="6043" y="7139"/>
                  </a:moveTo>
                  <a:lnTo>
                    <a:pt x="6035" y="7139"/>
                  </a:lnTo>
                  <a:lnTo>
                    <a:pt x="6043" y="7139"/>
                  </a:lnTo>
                  <a:lnTo>
                    <a:pt x="6052" y="7130"/>
                  </a:lnTo>
                  <a:lnTo>
                    <a:pt x="6043" y="7130"/>
                  </a:lnTo>
                  <a:close/>
                  <a:moveTo>
                    <a:pt x="6449" y="6275"/>
                  </a:moveTo>
                  <a:lnTo>
                    <a:pt x="6449" y="6266"/>
                  </a:lnTo>
                  <a:lnTo>
                    <a:pt x="6449" y="6284"/>
                  </a:lnTo>
                  <a:lnTo>
                    <a:pt x="6458" y="6302"/>
                  </a:lnTo>
                  <a:lnTo>
                    <a:pt x="6467" y="6310"/>
                  </a:lnTo>
                  <a:close/>
                  <a:moveTo>
                    <a:pt x="6370" y="6019"/>
                  </a:moveTo>
                  <a:lnTo>
                    <a:pt x="6370" y="6028"/>
                  </a:lnTo>
                  <a:lnTo>
                    <a:pt x="6370" y="6037"/>
                  </a:lnTo>
                  <a:lnTo>
                    <a:pt x="6370" y="6010"/>
                  </a:lnTo>
                  <a:close/>
                  <a:moveTo>
                    <a:pt x="5805" y="6081"/>
                  </a:moveTo>
                  <a:lnTo>
                    <a:pt x="5796" y="6081"/>
                  </a:lnTo>
                  <a:lnTo>
                    <a:pt x="5796" y="6090"/>
                  </a:lnTo>
                  <a:lnTo>
                    <a:pt x="5787" y="6090"/>
                  </a:lnTo>
                  <a:lnTo>
                    <a:pt x="5796" y="6090"/>
                  </a:lnTo>
                  <a:lnTo>
                    <a:pt x="5796" y="6081"/>
                  </a:lnTo>
                  <a:close/>
                  <a:moveTo>
                    <a:pt x="5382" y="6151"/>
                  </a:moveTo>
                  <a:lnTo>
                    <a:pt x="5364" y="6160"/>
                  </a:lnTo>
                  <a:lnTo>
                    <a:pt x="5373" y="6160"/>
                  </a:lnTo>
                  <a:lnTo>
                    <a:pt x="5382" y="6151"/>
                  </a:lnTo>
                  <a:lnTo>
                    <a:pt x="5390" y="6143"/>
                  </a:lnTo>
                  <a:close/>
                  <a:moveTo>
                    <a:pt x="5267" y="6222"/>
                  </a:moveTo>
                  <a:lnTo>
                    <a:pt x="5249" y="6231"/>
                  </a:lnTo>
                  <a:lnTo>
                    <a:pt x="5240" y="6240"/>
                  </a:lnTo>
                  <a:lnTo>
                    <a:pt x="5258" y="6231"/>
                  </a:lnTo>
                  <a:close/>
                  <a:moveTo>
                    <a:pt x="5611" y="6125"/>
                  </a:moveTo>
                  <a:lnTo>
                    <a:pt x="5602" y="6125"/>
                  </a:lnTo>
                  <a:lnTo>
                    <a:pt x="5602" y="6116"/>
                  </a:lnTo>
                  <a:lnTo>
                    <a:pt x="5593" y="6125"/>
                  </a:lnTo>
                  <a:lnTo>
                    <a:pt x="5611" y="6134"/>
                  </a:lnTo>
                  <a:close/>
                  <a:moveTo>
                    <a:pt x="5832" y="6107"/>
                  </a:moveTo>
                  <a:lnTo>
                    <a:pt x="5832" y="6099"/>
                  </a:lnTo>
                  <a:lnTo>
                    <a:pt x="5832" y="6090"/>
                  </a:lnTo>
                  <a:lnTo>
                    <a:pt x="5823" y="6090"/>
                  </a:lnTo>
                  <a:lnTo>
                    <a:pt x="5832" y="6099"/>
                  </a:lnTo>
                  <a:lnTo>
                    <a:pt x="5823" y="6107"/>
                  </a:lnTo>
                  <a:close/>
                  <a:moveTo>
                    <a:pt x="5232" y="6249"/>
                  </a:moveTo>
                  <a:lnTo>
                    <a:pt x="5223" y="6257"/>
                  </a:lnTo>
                  <a:lnTo>
                    <a:pt x="5232" y="6249"/>
                  </a:lnTo>
                  <a:lnTo>
                    <a:pt x="5240" y="6249"/>
                  </a:lnTo>
                  <a:lnTo>
                    <a:pt x="5240" y="6240"/>
                  </a:lnTo>
                  <a:lnTo>
                    <a:pt x="5232" y="6240"/>
                  </a:lnTo>
                  <a:close/>
                  <a:moveTo>
                    <a:pt x="5823" y="6116"/>
                  </a:moveTo>
                  <a:lnTo>
                    <a:pt x="5823" y="6107"/>
                  </a:lnTo>
                  <a:close/>
                  <a:moveTo>
                    <a:pt x="6908" y="5207"/>
                  </a:moveTo>
                  <a:lnTo>
                    <a:pt x="6899" y="5216"/>
                  </a:lnTo>
                  <a:lnTo>
                    <a:pt x="6908" y="5216"/>
                  </a:lnTo>
                  <a:lnTo>
                    <a:pt x="6908" y="5207"/>
                  </a:lnTo>
                  <a:lnTo>
                    <a:pt x="6917" y="5207"/>
                  </a:lnTo>
                  <a:close/>
                  <a:moveTo>
                    <a:pt x="5620" y="6971"/>
                  </a:moveTo>
                  <a:lnTo>
                    <a:pt x="5629" y="6962"/>
                  </a:lnTo>
                  <a:lnTo>
                    <a:pt x="5611" y="6971"/>
                  </a:lnTo>
                  <a:close/>
                  <a:moveTo>
                    <a:pt x="6943" y="6795"/>
                  </a:moveTo>
                  <a:lnTo>
                    <a:pt x="6961" y="6795"/>
                  </a:lnTo>
                  <a:lnTo>
                    <a:pt x="6978" y="6795"/>
                  </a:lnTo>
                  <a:lnTo>
                    <a:pt x="6987" y="6786"/>
                  </a:lnTo>
                  <a:lnTo>
                    <a:pt x="6987" y="6777"/>
                  </a:lnTo>
                  <a:lnTo>
                    <a:pt x="6987" y="6768"/>
                  </a:lnTo>
                  <a:lnTo>
                    <a:pt x="6978" y="6777"/>
                  </a:lnTo>
                  <a:lnTo>
                    <a:pt x="6978" y="6786"/>
                  </a:lnTo>
                  <a:lnTo>
                    <a:pt x="6970" y="6786"/>
                  </a:lnTo>
                  <a:lnTo>
                    <a:pt x="6961" y="6777"/>
                  </a:lnTo>
                  <a:lnTo>
                    <a:pt x="6952" y="6777"/>
                  </a:lnTo>
                  <a:lnTo>
                    <a:pt x="6952" y="6786"/>
                  </a:lnTo>
                  <a:lnTo>
                    <a:pt x="6943" y="6786"/>
                  </a:lnTo>
                  <a:close/>
                  <a:moveTo>
                    <a:pt x="6996" y="6751"/>
                  </a:moveTo>
                  <a:lnTo>
                    <a:pt x="6987" y="6751"/>
                  </a:lnTo>
                  <a:lnTo>
                    <a:pt x="6987" y="6759"/>
                  </a:lnTo>
                  <a:lnTo>
                    <a:pt x="6996" y="6759"/>
                  </a:lnTo>
                  <a:close/>
                  <a:moveTo>
                    <a:pt x="7005" y="6962"/>
                  </a:moveTo>
                  <a:lnTo>
                    <a:pt x="6996" y="6954"/>
                  </a:lnTo>
                  <a:lnTo>
                    <a:pt x="6987" y="6954"/>
                  </a:lnTo>
                  <a:lnTo>
                    <a:pt x="6978" y="6945"/>
                  </a:lnTo>
                  <a:lnTo>
                    <a:pt x="6970" y="6954"/>
                  </a:lnTo>
                  <a:lnTo>
                    <a:pt x="6987" y="6962"/>
                  </a:lnTo>
                  <a:lnTo>
                    <a:pt x="7005" y="6971"/>
                  </a:lnTo>
                  <a:close/>
                  <a:moveTo>
                    <a:pt x="6996" y="6865"/>
                  </a:moveTo>
                  <a:lnTo>
                    <a:pt x="7005" y="6865"/>
                  </a:lnTo>
                  <a:lnTo>
                    <a:pt x="7014" y="6874"/>
                  </a:lnTo>
                  <a:lnTo>
                    <a:pt x="7023" y="6865"/>
                  </a:lnTo>
                  <a:lnTo>
                    <a:pt x="7014" y="6865"/>
                  </a:lnTo>
                  <a:lnTo>
                    <a:pt x="7005" y="6865"/>
                  </a:lnTo>
                  <a:close/>
                  <a:moveTo>
                    <a:pt x="7349" y="4872"/>
                  </a:moveTo>
                  <a:lnTo>
                    <a:pt x="7340" y="4872"/>
                  </a:lnTo>
                  <a:lnTo>
                    <a:pt x="7331" y="4872"/>
                  </a:lnTo>
                  <a:lnTo>
                    <a:pt x="7331" y="4881"/>
                  </a:lnTo>
                  <a:lnTo>
                    <a:pt x="7340" y="4889"/>
                  </a:lnTo>
                  <a:lnTo>
                    <a:pt x="7340" y="4881"/>
                  </a:lnTo>
                  <a:lnTo>
                    <a:pt x="7349" y="4881"/>
                  </a:lnTo>
                  <a:close/>
                  <a:moveTo>
                    <a:pt x="6308" y="7660"/>
                  </a:moveTo>
                  <a:lnTo>
                    <a:pt x="6308" y="7668"/>
                  </a:lnTo>
                  <a:lnTo>
                    <a:pt x="6317" y="7660"/>
                  </a:lnTo>
                  <a:close/>
                  <a:moveTo>
                    <a:pt x="7031" y="5172"/>
                  </a:moveTo>
                  <a:lnTo>
                    <a:pt x="7049" y="5163"/>
                  </a:lnTo>
                  <a:lnTo>
                    <a:pt x="7040" y="5163"/>
                  </a:lnTo>
                  <a:lnTo>
                    <a:pt x="7023" y="5172"/>
                  </a:lnTo>
                  <a:lnTo>
                    <a:pt x="7005" y="5181"/>
                  </a:lnTo>
                  <a:lnTo>
                    <a:pt x="6987" y="5181"/>
                  </a:lnTo>
                  <a:lnTo>
                    <a:pt x="6978" y="5181"/>
                  </a:lnTo>
                  <a:lnTo>
                    <a:pt x="6970" y="5181"/>
                  </a:lnTo>
                  <a:lnTo>
                    <a:pt x="6961" y="5181"/>
                  </a:lnTo>
                  <a:lnTo>
                    <a:pt x="6952" y="5181"/>
                  </a:lnTo>
                  <a:lnTo>
                    <a:pt x="6943" y="5181"/>
                  </a:lnTo>
                  <a:lnTo>
                    <a:pt x="6943" y="5189"/>
                  </a:lnTo>
                  <a:lnTo>
                    <a:pt x="6934" y="5189"/>
                  </a:lnTo>
                  <a:lnTo>
                    <a:pt x="6926" y="5189"/>
                  </a:lnTo>
                  <a:lnTo>
                    <a:pt x="6917" y="5198"/>
                  </a:lnTo>
                  <a:lnTo>
                    <a:pt x="6917" y="5207"/>
                  </a:lnTo>
                  <a:lnTo>
                    <a:pt x="6926" y="5207"/>
                  </a:lnTo>
                  <a:lnTo>
                    <a:pt x="6934" y="5207"/>
                  </a:lnTo>
                  <a:lnTo>
                    <a:pt x="6926" y="5216"/>
                  </a:lnTo>
                  <a:lnTo>
                    <a:pt x="6934" y="5207"/>
                  </a:lnTo>
                  <a:lnTo>
                    <a:pt x="6943" y="5207"/>
                  </a:lnTo>
                  <a:lnTo>
                    <a:pt x="6970" y="5207"/>
                  </a:lnTo>
                  <a:lnTo>
                    <a:pt x="6978" y="5207"/>
                  </a:lnTo>
                  <a:lnTo>
                    <a:pt x="7005" y="5189"/>
                  </a:lnTo>
                  <a:lnTo>
                    <a:pt x="7014" y="5189"/>
                  </a:lnTo>
                  <a:lnTo>
                    <a:pt x="7023" y="5189"/>
                  </a:lnTo>
                  <a:lnTo>
                    <a:pt x="7031" y="5189"/>
                  </a:lnTo>
                  <a:lnTo>
                    <a:pt x="7040" y="5181"/>
                  </a:lnTo>
                  <a:lnTo>
                    <a:pt x="7076" y="5172"/>
                  </a:lnTo>
                  <a:lnTo>
                    <a:pt x="7067" y="5172"/>
                  </a:lnTo>
                  <a:lnTo>
                    <a:pt x="7058" y="5172"/>
                  </a:lnTo>
                  <a:lnTo>
                    <a:pt x="7049" y="5172"/>
                  </a:lnTo>
                  <a:lnTo>
                    <a:pt x="7040" y="5172"/>
                  </a:lnTo>
                  <a:lnTo>
                    <a:pt x="7031" y="5181"/>
                  </a:lnTo>
                  <a:lnTo>
                    <a:pt x="7023" y="5181"/>
                  </a:lnTo>
                  <a:close/>
                  <a:moveTo>
                    <a:pt x="7067" y="6724"/>
                  </a:moveTo>
                  <a:lnTo>
                    <a:pt x="7076" y="6733"/>
                  </a:lnTo>
                  <a:lnTo>
                    <a:pt x="7076" y="6724"/>
                  </a:lnTo>
                  <a:close/>
                  <a:moveTo>
                    <a:pt x="7040" y="6733"/>
                  </a:moveTo>
                  <a:lnTo>
                    <a:pt x="7049" y="6733"/>
                  </a:lnTo>
                  <a:lnTo>
                    <a:pt x="7058" y="6733"/>
                  </a:lnTo>
                  <a:lnTo>
                    <a:pt x="7049" y="6733"/>
                  </a:lnTo>
                  <a:close/>
                  <a:moveTo>
                    <a:pt x="6917" y="6680"/>
                  </a:moveTo>
                  <a:lnTo>
                    <a:pt x="6917" y="6689"/>
                  </a:lnTo>
                  <a:lnTo>
                    <a:pt x="6908" y="6689"/>
                  </a:lnTo>
                  <a:lnTo>
                    <a:pt x="6899" y="6698"/>
                  </a:lnTo>
                  <a:lnTo>
                    <a:pt x="6899" y="6706"/>
                  </a:lnTo>
                  <a:lnTo>
                    <a:pt x="6899" y="6698"/>
                  </a:lnTo>
                  <a:lnTo>
                    <a:pt x="6908" y="6698"/>
                  </a:lnTo>
                  <a:lnTo>
                    <a:pt x="6917" y="6689"/>
                  </a:lnTo>
                  <a:lnTo>
                    <a:pt x="6934" y="6680"/>
                  </a:lnTo>
                  <a:lnTo>
                    <a:pt x="6926" y="6662"/>
                  </a:lnTo>
                  <a:lnTo>
                    <a:pt x="6917" y="6662"/>
                  </a:lnTo>
                  <a:lnTo>
                    <a:pt x="6917" y="6671"/>
                  </a:lnTo>
                  <a:lnTo>
                    <a:pt x="6926" y="6671"/>
                  </a:lnTo>
                  <a:lnTo>
                    <a:pt x="6926" y="6680"/>
                  </a:lnTo>
                  <a:close/>
                  <a:moveTo>
                    <a:pt x="7314" y="4889"/>
                  </a:moveTo>
                  <a:lnTo>
                    <a:pt x="7305" y="4889"/>
                  </a:lnTo>
                  <a:close/>
                  <a:moveTo>
                    <a:pt x="7340" y="7457"/>
                  </a:moveTo>
                  <a:lnTo>
                    <a:pt x="7340" y="7466"/>
                  </a:lnTo>
                  <a:lnTo>
                    <a:pt x="7340" y="7457"/>
                  </a:lnTo>
                  <a:lnTo>
                    <a:pt x="7331" y="7448"/>
                  </a:lnTo>
                  <a:lnTo>
                    <a:pt x="7331" y="7457"/>
                  </a:lnTo>
                  <a:close/>
                  <a:moveTo>
                    <a:pt x="7217" y="5154"/>
                  </a:moveTo>
                  <a:lnTo>
                    <a:pt x="7217" y="5145"/>
                  </a:lnTo>
                  <a:lnTo>
                    <a:pt x="7208" y="5137"/>
                  </a:lnTo>
                  <a:lnTo>
                    <a:pt x="7208" y="5145"/>
                  </a:lnTo>
                  <a:lnTo>
                    <a:pt x="7199" y="5145"/>
                  </a:lnTo>
                  <a:lnTo>
                    <a:pt x="7208" y="5154"/>
                  </a:lnTo>
                  <a:close/>
                  <a:moveTo>
                    <a:pt x="7084" y="6733"/>
                  </a:moveTo>
                  <a:lnTo>
                    <a:pt x="7093" y="6733"/>
                  </a:lnTo>
                  <a:lnTo>
                    <a:pt x="7076" y="6733"/>
                  </a:lnTo>
                  <a:close/>
                  <a:moveTo>
                    <a:pt x="7173" y="5137"/>
                  </a:moveTo>
                  <a:lnTo>
                    <a:pt x="7164" y="5137"/>
                  </a:lnTo>
                  <a:lnTo>
                    <a:pt x="7155" y="5145"/>
                  </a:lnTo>
                  <a:lnTo>
                    <a:pt x="7173" y="5145"/>
                  </a:lnTo>
                  <a:close/>
                  <a:moveTo>
                    <a:pt x="7111" y="5128"/>
                  </a:moveTo>
                  <a:lnTo>
                    <a:pt x="7111" y="5137"/>
                  </a:lnTo>
                  <a:close/>
                  <a:moveTo>
                    <a:pt x="7120" y="5119"/>
                  </a:moveTo>
                  <a:lnTo>
                    <a:pt x="7120" y="5128"/>
                  </a:lnTo>
                  <a:lnTo>
                    <a:pt x="7111" y="5128"/>
                  </a:lnTo>
                  <a:lnTo>
                    <a:pt x="7111" y="5137"/>
                  </a:lnTo>
                  <a:lnTo>
                    <a:pt x="7120" y="5137"/>
                  </a:lnTo>
                  <a:lnTo>
                    <a:pt x="7120" y="5128"/>
                  </a:lnTo>
                  <a:close/>
                  <a:moveTo>
                    <a:pt x="6529" y="6671"/>
                  </a:moveTo>
                  <a:lnTo>
                    <a:pt x="6529" y="6662"/>
                  </a:lnTo>
                  <a:lnTo>
                    <a:pt x="6520" y="6662"/>
                  </a:lnTo>
                  <a:lnTo>
                    <a:pt x="6511" y="6654"/>
                  </a:lnTo>
                  <a:lnTo>
                    <a:pt x="6502" y="6654"/>
                  </a:lnTo>
                  <a:lnTo>
                    <a:pt x="6511" y="6654"/>
                  </a:lnTo>
                  <a:lnTo>
                    <a:pt x="6511" y="6662"/>
                  </a:lnTo>
                  <a:close/>
                  <a:moveTo>
                    <a:pt x="7975" y="7377"/>
                  </a:moveTo>
                  <a:lnTo>
                    <a:pt x="7975" y="7386"/>
                  </a:lnTo>
                  <a:lnTo>
                    <a:pt x="7984" y="7395"/>
                  </a:lnTo>
                  <a:lnTo>
                    <a:pt x="7984" y="7386"/>
                  </a:lnTo>
                  <a:lnTo>
                    <a:pt x="7993" y="7386"/>
                  </a:lnTo>
                  <a:lnTo>
                    <a:pt x="7984" y="7377"/>
                  </a:lnTo>
                  <a:lnTo>
                    <a:pt x="7975" y="7368"/>
                  </a:lnTo>
                  <a:close/>
                  <a:moveTo>
                    <a:pt x="7931" y="4748"/>
                  </a:moveTo>
                  <a:lnTo>
                    <a:pt x="7940" y="4748"/>
                  </a:lnTo>
                  <a:lnTo>
                    <a:pt x="7949" y="4739"/>
                  </a:lnTo>
                  <a:lnTo>
                    <a:pt x="7958" y="4731"/>
                  </a:lnTo>
                  <a:lnTo>
                    <a:pt x="7949" y="4722"/>
                  </a:lnTo>
                  <a:lnTo>
                    <a:pt x="7958" y="4722"/>
                  </a:lnTo>
                  <a:lnTo>
                    <a:pt x="7958" y="4713"/>
                  </a:lnTo>
                  <a:lnTo>
                    <a:pt x="7949" y="4713"/>
                  </a:lnTo>
                  <a:lnTo>
                    <a:pt x="7940" y="4704"/>
                  </a:lnTo>
                  <a:lnTo>
                    <a:pt x="7931" y="4713"/>
                  </a:lnTo>
                  <a:lnTo>
                    <a:pt x="7931" y="4704"/>
                  </a:lnTo>
                  <a:lnTo>
                    <a:pt x="7922" y="4695"/>
                  </a:lnTo>
                  <a:lnTo>
                    <a:pt x="7922" y="4704"/>
                  </a:lnTo>
                  <a:lnTo>
                    <a:pt x="7914" y="4704"/>
                  </a:lnTo>
                  <a:lnTo>
                    <a:pt x="7914" y="4713"/>
                  </a:lnTo>
                  <a:lnTo>
                    <a:pt x="7905" y="4713"/>
                  </a:lnTo>
                  <a:lnTo>
                    <a:pt x="7905" y="4722"/>
                  </a:lnTo>
                  <a:lnTo>
                    <a:pt x="7896" y="4731"/>
                  </a:lnTo>
                  <a:lnTo>
                    <a:pt x="7914" y="4731"/>
                  </a:lnTo>
                  <a:lnTo>
                    <a:pt x="7896" y="4748"/>
                  </a:lnTo>
                  <a:lnTo>
                    <a:pt x="7887" y="4748"/>
                  </a:lnTo>
                  <a:lnTo>
                    <a:pt x="7878" y="4748"/>
                  </a:lnTo>
                  <a:lnTo>
                    <a:pt x="7870" y="4757"/>
                  </a:lnTo>
                  <a:lnTo>
                    <a:pt x="7870" y="4748"/>
                  </a:lnTo>
                  <a:lnTo>
                    <a:pt x="7878" y="4739"/>
                  </a:lnTo>
                  <a:lnTo>
                    <a:pt x="7870" y="4739"/>
                  </a:lnTo>
                  <a:lnTo>
                    <a:pt x="7878" y="4739"/>
                  </a:lnTo>
                  <a:lnTo>
                    <a:pt x="7887" y="4731"/>
                  </a:lnTo>
                  <a:lnTo>
                    <a:pt x="7878" y="4731"/>
                  </a:lnTo>
                  <a:lnTo>
                    <a:pt x="7870" y="4731"/>
                  </a:lnTo>
                  <a:lnTo>
                    <a:pt x="7878" y="4722"/>
                  </a:lnTo>
                  <a:lnTo>
                    <a:pt x="7887" y="4722"/>
                  </a:lnTo>
                  <a:lnTo>
                    <a:pt x="7896" y="4722"/>
                  </a:lnTo>
                  <a:lnTo>
                    <a:pt x="7905" y="4713"/>
                  </a:lnTo>
                  <a:lnTo>
                    <a:pt x="7905" y="4704"/>
                  </a:lnTo>
                  <a:lnTo>
                    <a:pt x="7914" y="4704"/>
                  </a:lnTo>
                  <a:lnTo>
                    <a:pt x="7914" y="4695"/>
                  </a:lnTo>
                  <a:lnTo>
                    <a:pt x="7914" y="4686"/>
                  </a:lnTo>
                  <a:lnTo>
                    <a:pt x="7922" y="4669"/>
                  </a:lnTo>
                  <a:lnTo>
                    <a:pt x="7922" y="4660"/>
                  </a:lnTo>
                  <a:lnTo>
                    <a:pt x="7914" y="4642"/>
                  </a:lnTo>
                  <a:lnTo>
                    <a:pt x="7914" y="4633"/>
                  </a:lnTo>
                  <a:lnTo>
                    <a:pt x="7905" y="4633"/>
                  </a:lnTo>
                  <a:lnTo>
                    <a:pt x="7887" y="4651"/>
                  </a:lnTo>
                  <a:lnTo>
                    <a:pt x="7878" y="4660"/>
                  </a:lnTo>
                  <a:lnTo>
                    <a:pt x="7878" y="4669"/>
                  </a:lnTo>
                  <a:lnTo>
                    <a:pt x="7852" y="4695"/>
                  </a:lnTo>
                  <a:lnTo>
                    <a:pt x="7852" y="4704"/>
                  </a:lnTo>
                  <a:lnTo>
                    <a:pt x="7843" y="4713"/>
                  </a:lnTo>
                  <a:lnTo>
                    <a:pt x="7834" y="4722"/>
                  </a:lnTo>
                  <a:lnTo>
                    <a:pt x="7834" y="4731"/>
                  </a:lnTo>
                  <a:lnTo>
                    <a:pt x="7843" y="4757"/>
                  </a:lnTo>
                  <a:lnTo>
                    <a:pt x="7852" y="4766"/>
                  </a:lnTo>
                  <a:lnTo>
                    <a:pt x="7861" y="4766"/>
                  </a:lnTo>
                  <a:lnTo>
                    <a:pt x="7870" y="4766"/>
                  </a:lnTo>
                  <a:lnTo>
                    <a:pt x="7878" y="4766"/>
                  </a:lnTo>
                  <a:lnTo>
                    <a:pt x="7887" y="4766"/>
                  </a:lnTo>
                  <a:lnTo>
                    <a:pt x="7896" y="4766"/>
                  </a:lnTo>
                  <a:lnTo>
                    <a:pt x="7922" y="4757"/>
                  </a:lnTo>
                  <a:close/>
                  <a:moveTo>
                    <a:pt x="7878" y="7686"/>
                  </a:moveTo>
                  <a:lnTo>
                    <a:pt x="7870" y="7695"/>
                  </a:lnTo>
                  <a:lnTo>
                    <a:pt x="7870" y="7704"/>
                  </a:lnTo>
                  <a:lnTo>
                    <a:pt x="7878" y="7704"/>
                  </a:lnTo>
                  <a:lnTo>
                    <a:pt x="7887" y="7695"/>
                  </a:lnTo>
                  <a:close/>
                  <a:moveTo>
                    <a:pt x="7905" y="7518"/>
                  </a:moveTo>
                  <a:lnTo>
                    <a:pt x="7896" y="7527"/>
                  </a:lnTo>
                  <a:lnTo>
                    <a:pt x="7887" y="7527"/>
                  </a:lnTo>
                  <a:lnTo>
                    <a:pt x="7887" y="7536"/>
                  </a:lnTo>
                  <a:lnTo>
                    <a:pt x="7896" y="7527"/>
                  </a:lnTo>
                  <a:lnTo>
                    <a:pt x="7905" y="7527"/>
                  </a:lnTo>
                  <a:close/>
                  <a:moveTo>
                    <a:pt x="8337" y="4395"/>
                  </a:moveTo>
                  <a:lnTo>
                    <a:pt x="8328" y="4395"/>
                  </a:lnTo>
                  <a:lnTo>
                    <a:pt x="8328" y="4386"/>
                  </a:lnTo>
                  <a:lnTo>
                    <a:pt x="8328" y="4395"/>
                  </a:lnTo>
                  <a:lnTo>
                    <a:pt x="8328" y="4404"/>
                  </a:lnTo>
                  <a:lnTo>
                    <a:pt x="8337" y="4395"/>
                  </a:lnTo>
                  <a:lnTo>
                    <a:pt x="8346" y="4395"/>
                  </a:lnTo>
                  <a:lnTo>
                    <a:pt x="8346" y="4386"/>
                  </a:lnTo>
                  <a:close/>
                  <a:moveTo>
                    <a:pt x="8214" y="4651"/>
                  </a:moveTo>
                  <a:lnTo>
                    <a:pt x="8222" y="4651"/>
                  </a:lnTo>
                  <a:lnTo>
                    <a:pt x="8222" y="4642"/>
                  </a:lnTo>
                  <a:lnTo>
                    <a:pt x="8222" y="4633"/>
                  </a:lnTo>
                  <a:lnTo>
                    <a:pt x="8222" y="4625"/>
                  </a:lnTo>
                  <a:lnTo>
                    <a:pt x="8214" y="4625"/>
                  </a:lnTo>
                  <a:lnTo>
                    <a:pt x="8214" y="4642"/>
                  </a:lnTo>
                  <a:close/>
                  <a:moveTo>
                    <a:pt x="8381" y="4572"/>
                  </a:moveTo>
                  <a:lnTo>
                    <a:pt x="8372" y="4581"/>
                  </a:lnTo>
                  <a:lnTo>
                    <a:pt x="8372" y="4589"/>
                  </a:lnTo>
                  <a:lnTo>
                    <a:pt x="8364" y="4598"/>
                  </a:lnTo>
                  <a:lnTo>
                    <a:pt x="8372" y="4598"/>
                  </a:lnTo>
                  <a:lnTo>
                    <a:pt x="8381" y="4581"/>
                  </a:lnTo>
                  <a:close/>
                  <a:moveTo>
                    <a:pt x="8231" y="4651"/>
                  </a:moveTo>
                  <a:lnTo>
                    <a:pt x="8222" y="4651"/>
                  </a:lnTo>
                  <a:lnTo>
                    <a:pt x="8222" y="4660"/>
                  </a:lnTo>
                  <a:lnTo>
                    <a:pt x="8231" y="4660"/>
                  </a:lnTo>
                  <a:close/>
                  <a:moveTo>
                    <a:pt x="7887" y="7677"/>
                  </a:moveTo>
                  <a:lnTo>
                    <a:pt x="7896" y="7677"/>
                  </a:lnTo>
                  <a:lnTo>
                    <a:pt x="7887" y="7677"/>
                  </a:lnTo>
                  <a:lnTo>
                    <a:pt x="7878" y="7677"/>
                  </a:lnTo>
                  <a:lnTo>
                    <a:pt x="7878" y="7686"/>
                  </a:lnTo>
                  <a:lnTo>
                    <a:pt x="7887" y="7686"/>
                  </a:lnTo>
                  <a:close/>
                  <a:moveTo>
                    <a:pt x="7817" y="7466"/>
                  </a:moveTo>
                  <a:lnTo>
                    <a:pt x="7825" y="7466"/>
                  </a:lnTo>
                  <a:lnTo>
                    <a:pt x="7825" y="7457"/>
                  </a:lnTo>
                  <a:close/>
                  <a:moveTo>
                    <a:pt x="7878" y="7554"/>
                  </a:moveTo>
                  <a:lnTo>
                    <a:pt x="7870" y="7554"/>
                  </a:lnTo>
                  <a:lnTo>
                    <a:pt x="7861" y="7563"/>
                  </a:lnTo>
                  <a:lnTo>
                    <a:pt x="7843" y="7563"/>
                  </a:lnTo>
                  <a:lnTo>
                    <a:pt x="7834" y="7563"/>
                  </a:lnTo>
                  <a:lnTo>
                    <a:pt x="7825" y="7563"/>
                  </a:lnTo>
                  <a:lnTo>
                    <a:pt x="7834" y="7571"/>
                  </a:lnTo>
                  <a:lnTo>
                    <a:pt x="7843" y="7580"/>
                  </a:lnTo>
                  <a:lnTo>
                    <a:pt x="7834" y="7598"/>
                  </a:lnTo>
                  <a:lnTo>
                    <a:pt x="7825" y="7598"/>
                  </a:lnTo>
                  <a:lnTo>
                    <a:pt x="7825" y="7607"/>
                  </a:lnTo>
                  <a:lnTo>
                    <a:pt x="7808" y="7616"/>
                  </a:lnTo>
                  <a:lnTo>
                    <a:pt x="7817" y="7616"/>
                  </a:lnTo>
                  <a:lnTo>
                    <a:pt x="7825" y="7616"/>
                  </a:lnTo>
                  <a:lnTo>
                    <a:pt x="7861" y="7616"/>
                  </a:lnTo>
                  <a:lnTo>
                    <a:pt x="7870" y="7607"/>
                  </a:lnTo>
                  <a:lnTo>
                    <a:pt x="7870" y="7598"/>
                  </a:lnTo>
                  <a:lnTo>
                    <a:pt x="7878" y="7598"/>
                  </a:lnTo>
                  <a:lnTo>
                    <a:pt x="7870" y="7589"/>
                  </a:lnTo>
                  <a:lnTo>
                    <a:pt x="7870" y="7580"/>
                  </a:lnTo>
                  <a:lnTo>
                    <a:pt x="7870" y="7571"/>
                  </a:lnTo>
                  <a:lnTo>
                    <a:pt x="7870" y="7563"/>
                  </a:lnTo>
                  <a:close/>
                  <a:moveTo>
                    <a:pt x="7861" y="7386"/>
                  </a:moveTo>
                  <a:lnTo>
                    <a:pt x="7861" y="7377"/>
                  </a:lnTo>
                  <a:lnTo>
                    <a:pt x="7861" y="7368"/>
                  </a:lnTo>
                  <a:lnTo>
                    <a:pt x="7852" y="7377"/>
                  </a:lnTo>
                  <a:close/>
                  <a:moveTo>
                    <a:pt x="7852" y="7210"/>
                  </a:moveTo>
                  <a:lnTo>
                    <a:pt x="7852" y="7201"/>
                  </a:lnTo>
                  <a:lnTo>
                    <a:pt x="7843" y="7201"/>
                  </a:lnTo>
                  <a:lnTo>
                    <a:pt x="7834" y="7210"/>
                  </a:lnTo>
                  <a:lnTo>
                    <a:pt x="7843" y="7218"/>
                  </a:lnTo>
                  <a:lnTo>
                    <a:pt x="7843" y="7227"/>
                  </a:lnTo>
                  <a:lnTo>
                    <a:pt x="7852" y="7227"/>
                  </a:lnTo>
                  <a:lnTo>
                    <a:pt x="7852" y="7218"/>
                  </a:lnTo>
                  <a:close/>
                  <a:moveTo>
                    <a:pt x="7834" y="7157"/>
                  </a:moveTo>
                  <a:lnTo>
                    <a:pt x="7843" y="7157"/>
                  </a:lnTo>
                  <a:lnTo>
                    <a:pt x="7852" y="7157"/>
                  </a:lnTo>
                  <a:lnTo>
                    <a:pt x="7861" y="7157"/>
                  </a:lnTo>
                  <a:lnTo>
                    <a:pt x="7852" y="7148"/>
                  </a:lnTo>
                  <a:lnTo>
                    <a:pt x="7843" y="7139"/>
                  </a:lnTo>
                  <a:lnTo>
                    <a:pt x="7843" y="7130"/>
                  </a:lnTo>
                  <a:lnTo>
                    <a:pt x="7834" y="7139"/>
                  </a:lnTo>
                  <a:lnTo>
                    <a:pt x="7834" y="7148"/>
                  </a:lnTo>
                  <a:close/>
                  <a:moveTo>
                    <a:pt x="7808" y="7095"/>
                  </a:moveTo>
                  <a:lnTo>
                    <a:pt x="7817" y="7095"/>
                  </a:lnTo>
                  <a:lnTo>
                    <a:pt x="7825" y="7095"/>
                  </a:lnTo>
                  <a:lnTo>
                    <a:pt x="7825" y="7086"/>
                  </a:lnTo>
                  <a:lnTo>
                    <a:pt x="7817" y="7086"/>
                  </a:lnTo>
                  <a:lnTo>
                    <a:pt x="7808" y="7086"/>
                  </a:lnTo>
                  <a:close/>
                  <a:moveTo>
                    <a:pt x="7817" y="7051"/>
                  </a:moveTo>
                  <a:lnTo>
                    <a:pt x="7817" y="7042"/>
                  </a:lnTo>
                  <a:lnTo>
                    <a:pt x="7808" y="7042"/>
                  </a:lnTo>
                  <a:lnTo>
                    <a:pt x="7808" y="7051"/>
                  </a:lnTo>
                  <a:lnTo>
                    <a:pt x="7817" y="7060"/>
                  </a:lnTo>
                  <a:close/>
                  <a:moveTo>
                    <a:pt x="7825" y="7148"/>
                  </a:moveTo>
                  <a:lnTo>
                    <a:pt x="7817" y="7148"/>
                  </a:lnTo>
                  <a:lnTo>
                    <a:pt x="7817" y="7165"/>
                  </a:lnTo>
                  <a:lnTo>
                    <a:pt x="7825" y="7174"/>
                  </a:lnTo>
                  <a:lnTo>
                    <a:pt x="7834" y="7174"/>
                  </a:lnTo>
                  <a:lnTo>
                    <a:pt x="7834" y="7165"/>
                  </a:lnTo>
                  <a:lnTo>
                    <a:pt x="7834" y="7157"/>
                  </a:lnTo>
                  <a:lnTo>
                    <a:pt x="7834" y="7148"/>
                  </a:lnTo>
                  <a:close/>
                  <a:moveTo>
                    <a:pt x="529" y="3486"/>
                  </a:moveTo>
                  <a:lnTo>
                    <a:pt x="547" y="3460"/>
                  </a:lnTo>
                  <a:lnTo>
                    <a:pt x="538" y="3460"/>
                  </a:lnTo>
                  <a:lnTo>
                    <a:pt x="521" y="3468"/>
                  </a:lnTo>
                  <a:lnTo>
                    <a:pt x="512" y="3468"/>
                  </a:lnTo>
                  <a:lnTo>
                    <a:pt x="521" y="3486"/>
                  </a:lnTo>
                  <a:close/>
                  <a:moveTo>
                    <a:pt x="3353" y="4581"/>
                  </a:moveTo>
                  <a:lnTo>
                    <a:pt x="3353" y="4572"/>
                  </a:lnTo>
                  <a:lnTo>
                    <a:pt x="3344" y="4572"/>
                  </a:lnTo>
                  <a:lnTo>
                    <a:pt x="3344" y="4581"/>
                  </a:lnTo>
                  <a:close/>
                  <a:moveTo>
                    <a:pt x="7861" y="7174"/>
                  </a:moveTo>
                  <a:lnTo>
                    <a:pt x="7852" y="7174"/>
                  </a:lnTo>
                  <a:lnTo>
                    <a:pt x="7852" y="7183"/>
                  </a:lnTo>
                  <a:lnTo>
                    <a:pt x="7861" y="7183"/>
                  </a:lnTo>
                  <a:close/>
                  <a:moveTo>
                    <a:pt x="4411" y="2454"/>
                  </a:moveTo>
                  <a:lnTo>
                    <a:pt x="4411" y="2462"/>
                  </a:lnTo>
                  <a:lnTo>
                    <a:pt x="4420" y="2462"/>
                  </a:lnTo>
                  <a:lnTo>
                    <a:pt x="4420" y="2471"/>
                  </a:lnTo>
                  <a:lnTo>
                    <a:pt x="4429" y="2462"/>
                  </a:lnTo>
                  <a:lnTo>
                    <a:pt x="4429" y="2454"/>
                  </a:lnTo>
                  <a:lnTo>
                    <a:pt x="4420" y="2454"/>
                  </a:lnTo>
                  <a:lnTo>
                    <a:pt x="4420" y="2445"/>
                  </a:lnTo>
                  <a:lnTo>
                    <a:pt x="4420" y="2436"/>
                  </a:lnTo>
                  <a:lnTo>
                    <a:pt x="4411" y="2427"/>
                  </a:lnTo>
                  <a:lnTo>
                    <a:pt x="4411" y="2436"/>
                  </a:lnTo>
                  <a:lnTo>
                    <a:pt x="4411" y="2445"/>
                  </a:lnTo>
                  <a:close/>
                  <a:moveTo>
                    <a:pt x="168" y="2595"/>
                  </a:moveTo>
                  <a:lnTo>
                    <a:pt x="150" y="2604"/>
                  </a:lnTo>
                  <a:lnTo>
                    <a:pt x="141" y="2604"/>
                  </a:lnTo>
                  <a:lnTo>
                    <a:pt x="150" y="2604"/>
                  </a:lnTo>
                  <a:lnTo>
                    <a:pt x="159" y="2604"/>
                  </a:lnTo>
                  <a:close/>
                  <a:moveTo>
                    <a:pt x="3326" y="4616"/>
                  </a:moveTo>
                  <a:lnTo>
                    <a:pt x="3326" y="4607"/>
                  </a:lnTo>
                  <a:close/>
                  <a:moveTo>
                    <a:pt x="3317" y="4492"/>
                  </a:moveTo>
                  <a:lnTo>
                    <a:pt x="3308" y="4483"/>
                  </a:lnTo>
                  <a:lnTo>
                    <a:pt x="3300" y="4483"/>
                  </a:lnTo>
                  <a:lnTo>
                    <a:pt x="3308" y="4492"/>
                  </a:lnTo>
                  <a:lnTo>
                    <a:pt x="3317" y="4501"/>
                  </a:lnTo>
                  <a:close/>
                  <a:moveTo>
                    <a:pt x="3353" y="4519"/>
                  </a:moveTo>
                  <a:lnTo>
                    <a:pt x="3353" y="4510"/>
                  </a:lnTo>
                  <a:lnTo>
                    <a:pt x="3344" y="4510"/>
                  </a:lnTo>
                  <a:lnTo>
                    <a:pt x="3335" y="4519"/>
                  </a:lnTo>
                  <a:lnTo>
                    <a:pt x="3335" y="4528"/>
                  </a:lnTo>
                  <a:lnTo>
                    <a:pt x="3344" y="4528"/>
                  </a:lnTo>
                  <a:lnTo>
                    <a:pt x="3344" y="4536"/>
                  </a:lnTo>
                  <a:lnTo>
                    <a:pt x="3353" y="4545"/>
                  </a:lnTo>
                  <a:lnTo>
                    <a:pt x="3361" y="4545"/>
                  </a:lnTo>
                  <a:lnTo>
                    <a:pt x="3361" y="4554"/>
                  </a:lnTo>
                  <a:lnTo>
                    <a:pt x="3361" y="4545"/>
                  </a:lnTo>
                  <a:lnTo>
                    <a:pt x="3353" y="4536"/>
                  </a:lnTo>
                  <a:lnTo>
                    <a:pt x="3344" y="4528"/>
                  </a:lnTo>
                  <a:lnTo>
                    <a:pt x="3344" y="4519"/>
                  </a:lnTo>
                  <a:lnTo>
                    <a:pt x="3335" y="4519"/>
                  </a:lnTo>
                  <a:close/>
                  <a:moveTo>
                    <a:pt x="3353" y="4598"/>
                  </a:moveTo>
                  <a:lnTo>
                    <a:pt x="3361" y="4598"/>
                  </a:lnTo>
                  <a:lnTo>
                    <a:pt x="3361" y="4589"/>
                  </a:lnTo>
                  <a:lnTo>
                    <a:pt x="3353" y="4589"/>
                  </a:lnTo>
                  <a:close/>
                  <a:moveTo>
                    <a:pt x="8381" y="4378"/>
                  </a:moveTo>
                  <a:lnTo>
                    <a:pt x="8372" y="4386"/>
                  </a:lnTo>
                  <a:lnTo>
                    <a:pt x="8372" y="4378"/>
                  </a:lnTo>
                  <a:lnTo>
                    <a:pt x="8364" y="4378"/>
                  </a:lnTo>
                  <a:lnTo>
                    <a:pt x="8364" y="4386"/>
                  </a:lnTo>
                  <a:lnTo>
                    <a:pt x="8364" y="4395"/>
                  </a:lnTo>
                  <a:lnTo>
                    <a:pt x="8372" y="4395"/>
                  </a:lnTo>
                  <a:lnTo>
                    <a:pt x="8390" y="4386"/>
                  </a:lnTo>
                  <a:close/>
                  <a:moveTo>
                    <a:pt x="8284" y="4201"/>
                  </a:moveTo>
                  <a:lnTo>
                    <a:pt x="8275" y="4201"/>
                  </a:lnTo>
                  <a:lnTo>
                    <a:pt x="8267" y="4201"/>
                  </a:lnTo>
                  <a:lnTo>
                    <a:pt x="8267" y="4210"/>
                  </a:lnTo>
                  <a:lnTo>
                    <a:pt x="8249" y="4210"/>
                  </a:lnTo>
                  <a:lnTo>
                    <a:pt x="8249" y="4201"/>
                  </a:lnTo>
                  <a:lnTo>
                    <a:pt x="8240" y="4201"/>
                  </a:lnTo>
                  <a:lnTo>
                    <a:pt x="8222" y="4210"/>
                  </a:lnTo>
                  <a:lnTo>
                    <a:pt x="8205" y="4219"/>
                  </a:lnTo>
                  <a:lnTo>
                    <a:pt x="8196" y="4219"/>
                  </a:lnTo>
                  <a:lnTo>
                    <a:pt x="8187" y="4227"/>
                  </a:lnTo>
                  <a:lnTo>
                    <a:pt x="8178" y="4245"/>
                  </a:lnTo>
                  <a:lnTo>
                    <a:pt x="8170" y="4254"/>
                  </a:lnTo>
                  <a:lnTo>
                    <a:pt x="8161" y="4254"/>
                  </a:lnTo>
                  <a:lnTo>
                    <a:pt x="8170" y="4263"/>
                  </a:lnTo>
                  <a:lnTo>
                    <a:pt x="8161" y="4272"/>
                  </a:lnTo>
                  <a:lnTo>
                    <a:pt x="8161" y="4280"/>
                  </a:lnTo>
                  <a:lnTo>
                    <a:pt x="8152" y="4280"/>
                  </a:lnTo>
                  <a:lnTo>
                    <a:pt x="8143" y="4289"/>
                  </a:lnTo>
                  <a:lnTo>
                    <a:pt x="8152" y="4289"/>
                  </a:lnTo>
                  <a:lnTo>
                    <a:pt x="8152" y="4298"/>
                  </a:lnTo>
                  <a:lnTo>
                    <a:pt x="8143" y="4298"/>
                  </a:lnTo>
                  <a:lnTo>
                    <a:pt x="8134" y="4307"/>
                  </a:lnTo>
                  <a:lnTo>
                    <a:pt x="8125" y="4333"/>
                  </a:lnTo>
                  <a:lnTo>
                    <a:pt x="8117" y="4351"/>
                  </a:lnTo>
                  <a:lnTo>
                    <a:pt x="8099" y="4378"/>
                  </a:lnTo>
                  <a:lnTo>
                    <a:pt x="8099" y="4386"/>
                  </a:lnTo>
                  <a:lnTo>
                    <a:pt x="8108" y="4395"/>
                  </a:lnTo>
                  <a:lnTo>
                    <a:pt x="8108" y="4404"/>
                  </a:lnTo>
                  <a:lnTo>
                    <a:pt x="8099" y="4395"/>
                  </a:lnTo>
                  <a:lnTo>
                    <a:pt x="8090" y="4395"/>
                  </a:lnTo>
                  <a:lnTo>
                    <a:pt x="8090" y="4404"/>
                  </a:lnTo>
                  <a:lnTo>
                    <a:pt x="8081" y="4404"/>
                  </a:lnTo>
                  <a:lnTo>
                    <a:pt x="8081" y="4413"/>
                  </a:lnTo>
                  <a:lnTo>
                    <a:pt x="8081" y="4422"/>
                  </a:lnTo>
                  <a:lnTo>
                    <a:pt x="8090" y="4422"/>
                  </a:lnTo>
                  <a:lnTo>
                    <a:pt x="8099" y="4422"/>
                  </a:lnTo>
                  <a:lnTo>
                    <a:pt x="8099" y="4430"/>
                  </a:lnTo>
                  <a:lnTo>
                    <a:pt x="8090" y="4430"/>
                  </a:lnTo>
                  <a:lnTo>
                    <a:pt x="8090" y="4439"/>
                  </a:lnTo>
                  <a:lnTo>
                    <a:pt x="8090" y="4448"/>
                  </a:lnTo>
                  <a:lnTo>
                    <a:pt x="8099" y="4448"/>
                  </a:lnTo>
                  <a:lnTo>
                    <a:pt x="8090" y="4448"/>
                  </a:lnTo>
                  <a:lnTo>
                    <a:pt x="8081" y="4439"/>
                  </a:lnTo>
                  <a:lnTo>
                    <a:pt x="8072" y="4439"/>
                  </a:lnTo>
                  <a:lnTo>
                    <a:pt x="8064" y="4439"/>
                  </a:lnTo>
                  <a:lnTo>
                    <a:pt x="8055" y="4448"/>
                  </a:lnTo>
                  <a:lnTo>
                    <a:pt x="8055" y="4457"/>
                  </a:lnTo>
                  <a:lnTo>
                    <a:pt x="8046" y="4475"/>
                  </a:lnTo>
                  <a:lnTo>
                    <a:pt x="8046" y="4483"/>
                  </a:lnTo>
                  <a:lnTo>
                    <a:pt x="8037" y="4483"/>
                  </a:lnTo>
                  <a:lnTo>
                    <a:pt x="8028" y="4483"/>
                  </a:lnTo>
                  <a:lnTo>
                    <a:pt x="8028" y="4475"/>
                  </a:lnTo>
                  <a:lnTo>
                    <a:pt x="8037" y="4475"/>
                  </a:lnTo>
                  <a:lnTo>
                    <a:pt x="8028" y="4475"/>
                  </a:lnTo>
                  <a:lnTo>
                    <a:pt x="8020" y="4483"/>
                  </a:lnTo>
                  <a:lnTo>
                    <a:pt x="8011" y="4492"/>
                  </a:lnTo>
                  <a:lnTo>
                    <a:pt x="8028" y="4492"/>
                  </a:lnTo>
                  <a:lnTo>
                    <a:pt x="8037" y="4492"/>
                  </a:lnTo>
                  <a:lnTo>
                    <a:pt x="8046" y="4492"/>
                  </a:lnTo>
                  <a:lnTo>
                    <a:pt x="8055" y="4492"/>
                  </a:lnTo>
                  <a:lnTo>
                    <a:pt x="8072" y="4492"/>
                  </a:lnTo>
                  <a:lnTo>
                    <a:pt x="8055" y="4501"/>
                  </a:lnTo>
                  <a:lnTo>
                    <a:pt x="8046" y="4501"/>
                  </a:lnTo>
                  <a:lnTo>
                    <a:pt x="8046" y="4510"/>
                  </a:lnTo>
                  <a:lnTo>
                    <a:pt x="8020" y="4528"/>
                  </a:lnTo>
                  <a:lnTo>
                    <a:pt x="8002" y="4545"/>
                  </a:lnTo>
                  <a:lnTo>
                    <a:pt x="7993" y="4545"/>
                  </a:lnTo>
                  <a:lnTo>
                    <a:pt x="7993" y="4554"/>
                  </a:lnTo>
                  <a:lnTo>
                    <a:pt x="7993" y="4563"/>
                  </a:lnTo>
                  <a:lnTo>
                    <a:pt x="8002" y="4581"/>
                  </a:lnTo>
                  <a:lnTo>
                    <a:pt x="8011" y="4581"/>
                  </a:lnTo>
                  <a:lnTo>
                    <a:pt x="8028" y="4581"/>
                  </a:lnTo>
                  <a:lnTo>
                    <a:pt x="8046" y="4581"/>
                  </a:lnTo>
                  <a:lnTo>
                    <a:pt x="8055" y="4572"/>
                  </a:lnTo>
                  <a:lnTo>
                    <a:pt x="8064" y="4572"/>
                  </a:lnTo>
                  <a:lnTo>
                    <a:pt x="8072" y="4563"/>
                  </a:lnTo>
                  <a:lnTo>
                    <a:pt x="8072" y="4572"/>
                  </a:lnTo>
                  <a:lnTo>
                    <a:pt x="8099" y="4572"/>
                  </a:lnTo>
                  <a:lnTo>
                    <a:pt x="8117" y="4581"/>
                  </a:lnTo>
                  <a:lnTo>
                    <a:pt x="8134" y="4581"/>
                  </a:lnTo>
                  <a:lnTo>
                    <a:pt x="8170" y="4581"/>
                  </a:lnTo>
                  <a:lnTo>
                    <a:pt x="8187" y="4581"/>
                  </a:lnTo>
                  <a:lnTo>
                    <a:pt x="8205" y="4581"/>
                  </a:lnTo>
                  <a:lnTo>
                    <a:pt x="8214" y="4572"/>
                  </a:lnTo>
                  <a:lnTo>
                    <a:pt x="8222" y="4572"/>
                  </a:lnTo>
                  <a:lnTo>
                    <a:pt x="8231" y="4563"/>
                  </a:lnTo>
                  <a:lnTo>
                    <a:pt x="8240" y="4563"/>
                  </a:lnTo>
                  <a:lnTo>
                    <a:pt x="8249" y="4563"/>
                  </a:lnTo>
                  <a:lnTo>
                    <a:pt x="8249" y="4581"/>
                  </a:lnTo>
                  <a:lnTo>
                    <a:pt x="8231" y="4589"/>
                  </a:lnTo>
                  <a:lnTo>
                    <a:pt x="8249" y="4589"/>
                  </a:lnTo>
                  <a:lnTo>
                    <a:pt x="8258" y="4589"/>
                  </a:lnTo>
                  <a:lnTo>
                    <a:pt x="8275" y="4589"/>
                  </a:lnTo>
                  <a:lnTo>
                    <a:pt x="8284" y="4589"/>
                  </a:lnTo>
                  <a:lnTo>
                    <a:pt x="8284" y="4581"/>
                  </a:lnTo>
                  <a:lnTo>
                    <a:pt x="8284" y="4572"/>
                  </a:lnTo>
                  <a:lnTo>
                    <a:pt x="8302" y="4572"/>
                  </a:lnTo>
                  <a:lnTo>
                    <a:pt x="8311" y="4572"/>
                  </a:lnTo>
                  <a:lnTo>
                    <a:pt x="8311" y="4581"/>
                  </a:lnTo>
                  <a:lnTo>
                    <a:pt x="8319" y="4581"/>
                  </a:lnTo>
                  <a:lnTo>
                    <a:pt x="8328" y="4572"/>
                  </a:lnTo>
                  <a:lnTo>
                    <a:pt x="8328" y="4581"/>
                  </a:lnTo>
                  <a:lnTo>
                    <a:pt x="8319" y="4589"/>
                  </a:lnTo>
                  <a:lnTo>
                    <a:pt x="8302" y="4589"/>
                  </a:lnTo>
                  <a:lnTo>
                    <a:pt x="8284" y="4607"/>
                  </a:lnTo>
                  <a:lnTo>
                    <a:pt x="8284" y="4616"/>
                  </a:lnTo>
                  <a:lnTo>
                    <a:pt x="8275" y="4616"/>
                  </a:lnTo>
                  <a:lnTo>
                    <a:pt x="8267" y="4625"/>
                  </a:lnTo>
                  <a:lnTo>
                    <a:pt x="8258" y="4625"/>
                  </a:lnTo>
                  <a:lnTo>
                    <a:pt x="8249" y="4625"/>
                  </a:lnTo>
                  <a:lnTo>
                    <a:pt x="8249" y="4633"/>
                  </a:lnTo>
                  <a:lnTo>
                    <a:pt x="8240" y="4642"/>
                  </a:lnTo>
                  <a:lnTo>
                    <a:pt x="8249" y="4642"/>
                  </a:lnTo>
                  <a:lnTo>
                    <a:pt x="8249" y="4651"/>
                  </a:lnTo>
                  <a:lnTo>
                    <a:pt x="8258" y="4651"/>
                  </a:lnTo>
                  <a:lnTo>
                    <a:pt x="8267" y="4642"/>
                  </a:lnTo>
                  <a:lnTo>
                    <a:pt x="8275" y="4642"/>
                  </a:lnTo>
                  <a:lnTo>
                    <a:pt x="8284" y="4642"/>
                  </a:lnTo>
                  <a:lnTo>
                    <a:pt x="8293" y="4642"/>
                  </a:lnTo>
                  <a:lnTo>
                    <a:pt x="8302" y="4633"/>
                  </a:lnTo>
                  <a:lnTo>
                    <a:pt x="8311" y="4625"/>
                  </a:lnTo>
                  <a:lnTo>
                    <a:pt x="8311" y="4616"/>
                  </a:lnTo>
                  <a:lnTo>
                    <a:pt x="8328" y="4598"/>
                  </a:lnTo>
                  <a:lnTo>
                    <a:pt x="8337" y="4598"/>
                  </a:lnTo>
                  <a:lnTo>
                    <a:pt x="8346" y="4589"/>
                  </a:lnTo>
                  <a:lnTo>
                    <a:pt x="8355" y="4581"/>
                  </a:lnTo>
                  <a:lnTo>
                    <a:pt x="8355" y="4589"/>
                  </a:lnTo>
                  <a:lnTo>
                    <a:pt x="8346" y="4598"/>
                  </a:lnTo>
                  <a:lnTo>
                    <a:pt x="8355" y="4598"/>
                  </a:lnTo>
                  <a:lnTo>
                    <a:pt x="8355" y="4589"/>
                  </a:lnTo>
                  <a:lnTo>
                    <a:pt x="8355" y="4581"/>
                  </a:lnTo>
                  <a:lnTo>
                    <a:pt x="8372" y="4563"/>
                  </a:lnTo>
                  <a:lnTo>
                    <a:pt x="8372" y="4554"/>
                  </a:lnTo>
                  <a:lnTo>
                    <a:pt x="8381" y="4563"/>
                  </a:lnTo>
                  <a:lnTo>
                    <a:pt x="8390" y="4563"/>
                  </a:lnTo>
                  <a:lnTo>
                    <a:pt x="8390" y="4572"/>
                  </a:lnTo>
                  <a:lnTo>
                    <a:pt x="8399" y="4589"/>
                  </a:lnTo>
                  <a:lnTo>
                    <a:pt x="8399" y="4598"/>
                  </a:lnTo>
                  <a:lnTo>
                    <a:pt x="8390" y="4607"/>
                  </a:lnTo>
                  <a:lnTo>
                    <a:pt x="8381" y="4625"/>
                  </a:lnTo>
                  <a:lnTo>
                    <a:pt x="8381" y="4642"/>
                  </a:lnTo>
                  <a:lnTo>
                    <a:pt x="8372" y="4642"/>
                  </a:lnTo>
                  <a:lnTo>
                    <a:pt x="8381" y="4651"/>
                  </a:lnTo>
                  <a:lnTo>
                    <a:pt x="8390" y="4651"/>
                  </a:lnTo>
                  <a:lnTo>
                    <a:pt x="8399" y="4642"/>
                  </a:lnTo>
                  <a:lnTo>
                    <a:pt x="8408" y="4633"/>
                  </a:lnTo>
                  <a:lnTo>
                    <a:pt x="8408" y="4625"/>
                  </a:lnTo>
                  <a:lnTo>
                    <a:pt x="8417" y="4625"/>
                  </a:lnTo>
                  <a:lnTo>
                    <a:pt x="8417" y="4633"/>
                  </a:lnTo>
                  <a:lnTo>
                    <a:pt x="8417" y="4642"/>
                  </a:lnTo>
                  <a:lnTo>
                    <a:pt x="8417" y="4669"/>
                  </a:lnTo>
                  <a:lnTo>
                    <a:pt x="8425" y="4669"/>
                  </a:lnTo>
                  <a:lnTo>
                    <a:pt x="8434" y="4660"/>
                  </a:lnTo>
                  <a:lnTo>
                    <a:pt x="8443" y="4660"/>
                  </a:lnTo>
                  <a:lnTo>
                    <a:pt x="8443" y="4669"/>
                  </a:lnTo>
                  <a:lnTo>
                    <a:pt x="8452" y="4669"/>
                  </a:lnTo>
                  <a:lnTo>
                    <a:pt x="8461" y="4669"/>
                  </a:lnTo>
                  <a:lnTo>
                    <a:pt x="8461" y="4660"/>
                  </a:lnTo>
                  <a:lnTo>
                    <a:pt x="8461" y="4651"/>
                  </a:lnTo>
                  <a:lnTo>
                    <a:pt x="8469" y="4633"/>
                  </a:lnTo>
                  <a:lnTo>
                    <a:pt x="8469" y="4625"/>
                  </a:lnTo>
                  <a:lnTo>
                    <a:pt x="8487" y="4598"/>
                  </a:lnTo>
                  <a:lnTo>
                    <a:pt x="8487" y="4589"/>
                  </a:lnTo>
                  <a:lnTo>
                    <a:pt x="8487" y="4581"/>
                  </a:lnTo>
                  <a:lnTo>
                    <a:pt x="8487" y="4572"/>
                  </a:lnTo>
                  <a:lnTo>
                    <a:pt x="8487" y="4563"/>
                  </a:lnTo>
                  <a:lnTo>
                    <a:pt x="8478" y="4563"/>
                  </a:lnTo>
                  <a:lnTo>
                    <a:pt x="8478" y="4572"/>
                  </a:lnTo>
                  <a:lnTo>
                    <a:pt x="8469" y="4581"/>
                  </a:lnTo>
                  <a:lnTo>
                    <a:pt x="8461" y="4589"/>
                  </a:lnTo>
                  <a:lnTo>
                    <a:pt x="8452" y="4589"/>
                  </a:lnTo>
                  <a:lnTo>
                    <a:pt x="8452" y="4572"/>
                  </a:lnTo>
                  <a:lnTo>
                    <a:pt x="8452" y="4563"/>
                  </a:lnTo>
                  <a:lnTo>
                    <a:pt x="8461" y="4545"/>
                  </a:lnTo>
                  <a:lnTo>
                    <a:pt x="8469" y="4536"/>
                  </a:lnTo>
                  <a:lnTo>
                    <a:pt x="8469" y="4528"/>
                  </a:lnTo>
                  <a:lnTo>
                    <a:pt x="8452" y="4536"/>
                  </a:lnTo>
                  <a:lnTo>
                    <a:pt x="8443" y="4545"/>
                  </a:lnTo>
                  <a:lnTo>
                    <a:pt x="8425" y="4563"/>
                  </a:lnTo>
                  <a:lnTo>
                    <a:pt x="8417" y="4572"/>
                  </a:lnTo>
                  <a:lnTo>
                    <a:pt x="8408" y="4572"/>
                  </a:lnTo>
                  <a:lnTo>
                    <a:pt x="8399" y="4572"/>
                  </a:lnTo>
                  <a:lnTo>
                    <a:pt x="8399" y="4563"/>
                  </a:lnTo>
                  <a:lnTo>
                    <a:pt x="8408" y="4545"/>
                  </a:lnTo>
                  <a:lnTo>
                    <a:pt x="8417" y="4545"/>
                  </a:lnTo>
                  <a:lnTo>
                    <a:pt x="8417" y="4536"/>
                  </a:lnTo>
                  <a:lnTo>
                    <a:pt x="8408" y="4545"/>
                  </a:lnTo>
                  <a:lnTo>
                    <a:pt x="8399" y="4536"/>
                  </a:lnTo>
                  <a:lnTo>
                    <a:pt x="8408" y="4536"/>
                  </a:lnTo>
                  <a:lnTo>
                    <a:pt x="8417" y="4536"/>
                  </a:lnTo>
                  <a:lnTo>
                    <a:pt x="8425" y="4528"/>
                  </a:lnTo>
                  <a:lnTo>
                    <a:pt x="8417" y="4528"/>
                  </a:lnTo>
                  <a:lnTo>
                    <a:pt x="8417" y="4519"/>
                  </a:lnTo>
                  <a:lnTo>
                    <a:pt x="8425" y="4519"/>
                  </a:lnTo>
                  <a:lnTo>
                    <a:pt x="8434" y="4510"/>
                  </a:lnTo>
                  <a:lnTo>
                    <a:pt x="8443" y="4510"/>
                  </a:lnTo>
                  <a:lnTo>
                    <a:pt x="8452" y="4510"/>
                  </a:lnTo>
                  <a:lnTo>
                    <a:pt x="8452" y="4501"/>
                  </a:lnTo>
                  <a:lnTo>
                    <a:pt x="8461" y="4501"/>
                  </a:lnTo>
                  <a:lnTo>
                    <a:pt x="8461" y="4492"/>
                  </a:lnTo>
                  <a:lnTo>
                    <a:pt x="8461" y="4483"/>
                  </a:lnTo>
                  <a:lnTo>
                    <a:pt x="8452" y="4483"/>
                  </a:lnTo>
                  <a:lnTo>
                    <a:pt x="8443" y="4483"/>
                  </a:lnTo>
                  <a:lnTo>
                    <a:pt x="8443" y="4492"/>
                  </a:lnTo>
                  <a:lnTo>
                    <a:pt x="8434" y="4492"/>
                  </a:lnTo>
                  <a:lnTo>
                    <a:pt x="8425" y="4492"/>
                  </a:lnTo>
                  <a:lnTo>
                    <a:pt x="8417" y="4492"/>
                  </a:lnTo>
                  <a:lnTo>
                    <a:pt x="8408" y="4492"/>
                  </a:lnTo>
                  <a:lnTo>
                    <a:pt x="8399" y="4501"/>
                  </a:lnTo>
                  <a:lnTo>
                    <a:pt x="8390" y="4501"/>
                  </a:lnTo>
                  <a:lnTo>
                    <a:pt x="8381" y="4501"/>
                  </a:lnTo>
                  <a:lnTo>
                    <a:pt x="8399" y="4492"/>
                  </a:lnTo>
                  <a:lnTo>
                    <a:pt x="8408" y="4492"/>
                  </a:lnTo>
                  <a:lnTo>
                    <a:pt x="8408" y="4483"/>
                  </a:lnTo>
                  <a:lnTo>
                    <a:pt x="8408" y="4475"/>
                  </a:lnTo>
                  <a:lnTo>
                    <a:pt x="8399" y="4475"/>
                  </a:lnTo>
                  <a:lnTo>
                    <a:pt x="8390" y="4475"/>
                  </a:lnTo>
                  <a:lnTo>
                    <a:pt x="8399" y="4466"/>
                  </a:lnTo>
                  <a:lnTo>
                    <a:pt x="8390" y="4466"/>
                  </a:lnTo>
                  <a:lnTo>
                    <a:pt x="8381" y="4466"/>
                  </a:lnTo>
                  <a:lnTo>
                    <a:pt x="8372" y="4466"/>
                  </a:lnTo>
                  <a:lnTo>
                    <a:pt x="8399" y="4457"/>
                  </a:lnTo>
                  <a:lnTo>
                    <a:pt x="8399" y="4448"/>
                  </a:lnTo>
                  <a:lnTo>
                    <a:pt x="8408" y="4448"/>
                  </a:lnTo>
                  <a:lnTo>
                    <a:pt x="8417" y="4439"/>
                  </a:lnTo>
                  <a:lnTo>
                    <a:pt x="8417" y="4430"/>
                  </a:lnTo>
                  <a:lnTo>
                    <a:pt x="8417" y="4422"/>
                  </a:lnTo>
                  <a:lnTo>
                    <a:pt x="8417" y="4413"/>
                  </a:lnTo>
                  <a:lnTo>
                    <a:pt x="8408" y="4413"/>
                  </a:lnTo>
                  <a:lnTo>
                    <a:pt x="8399" y="4404"/>
                  </a:lnTo>
                  <a:lnTo>
                    <a:pt x="8390" y="4404"/>
                  </a:lnTo>
                  <a:lnTo>
                    <a:pt x="8372" y="4404"/>
                  </a:lnTo>
                  <a:lnTo>
                    <a:pt x="8364" y="4404"/>
                  </a:lnTo>
                  <a:lnTo>
                    <a:pt x="8364" y="4413"/>
                  </a:lnTo>
                  <a:lnTo>
                    <a:pt x="8355" y="4413"/>
                  </a:lnTo>
                  <a:lnTo>
                    <a:pt x="8355" y="4404"/>
                  </a:lnTo>
                  <a:lnTo>
                    <a:pt x="8355" y="4395"/>
                  </a:lnTo>
                  <a:lnTo>
                    <a:pt x="8346" y="4404"/>
                  </a:lnTo>
                  <a:lnTo>
                    <a:pt x="8337" y="4404"/>
                  </a:lnTo>
                  <a:lnTo>
                    <a:pt x="8337" y="4413"/>
                  </a:lnTo>
                  <a:lnTo>
                    <a:pt x="8328" y="4413"/>
                  </a:lnTo>
                  <a:lnTo>
                    <a:pt x="8319" y="4422"/>
                  </a:lnTo>
                  <a:lnTo>
                    <a:pt x="8311" y="4422"/>
                  </a:lnTo>
                  <a:lnTo>
                    <a:pt x="8302" y="4422"/>
                  </a:lnTo>
                  <a:lnTo>
                    <a:pt x="8293" y="4430"/>
                  </a:lnTo>
                  <a:lnTo>
                    <a:pt x="8293" y="4439"/>
                  </a:lnTo>
                  <a:lnTo>
                    <a:pt x="8293" y="4430"/>
                  </a:lnTo>
                  <a:lnTo>
                    <a:pt x="8293" y="4422"/>
                  </a:lnTo>
                  <a:lnTo>
                    <a:pt x="8302" y="4413"/>
                  </a:lnTo>
                  <a:lnTo>
                    <a:pt x="8302" y="4404"/>
                  </a:lnTo>
                  <a:lnTo>
                    <a:pt x="8302" y="4395"/>
                  </a:lnTo>
                  <a:lnTo>
                    <a:pt x="8293" y="4395"/>
                  </a:lnTo>
                  <a:lnTo>
                    <a:pt x="8293" y="4413"/>
                  </a:lnTo>
                  <a:lnTo>
                    <a:pt x="8293" y="4404"/>
                  </a:lnTo>
                  <a:lnTo>
                    <a:pt x="8284" y="4404"/>
                  </a:lnTo>
                  <a:lnTo>
                    <a:pt x="8275" y="4404"/>
                  </a:lnTo>
                  <a:lnTo>
                    <a:pt x="8267" y="4404"/>
                  </a:lnTo>
                  <a:lnTo>
                    <a:pt x="8258" y="4395"/>
                  </a:lnTo>
                  <a:lnTo>
                    <a:pt x="8240" y="4404"/>
                  </a:lnTo>
                  <a:lnTo>
                    <a:pt x="8231" y="4404"/>
                  </a:lnTo>
                  <a:lnTo>
                    <a:pt x="8249" y="4395"/>
                  </a:lnTo>
                  <a:lnTo>
                    <a:pt x="8249" y="4386"/>
                  </a:lnTo>
                  <a:lnTo>
                    <a:pt x="8240" y="4386"/>
                  </a:lnTo>
                  <a:lnTo>
                    <a:pt x="8231" y="4386"/>
                  </a:lnTo>
                  <a:lnTo>
                    <a:pt x="8240" y="4378"/>
                  </a:lnTo>
                  <a:lnTo>
                    <a:pt x="8258" y="4369"/>
                  </a:lnTo>
                  <a:lnTo>
                    <a:pt x="8275" y="4360"/>
                  </a:lnTo>
                  <a:lnTo>
                    <a:pt x="8275" y="4351"/>
                  </a:lnTo>
                  <a:lnTo>
                    <a:pt x="8267" y="4360"/>
                  </a:lnTo>
                  <a:lnTo>
                    <a:pt x="8258" y="4360"/>
                  </a:lnTo>
                  <a:lnTo>
                    <a:pt x="8249" y="4351"/>
                  </a:lnTo>
                  <a:lnTo>
                    <a:pt x="8240" y="4351"/>
                  </a:lnTo>
                  <a:lnTo>
                    <a:pt x="8231" y="4360"/>
                  </a:lnTo>
                  <a:lnTo>
                    <a:pt x="8231" y="4351"/>
                  </a:lnTo>
                  <a:lnTo>
                    <a:pt x="8231" y="4342"/>
                  </a:lnTo>
                  <a:lnTo>
                    <a:pt x="8222" y="4342"/>
                  </a:lnTo>
                  <a:lnTo>
                    <a:pt x="8214" y="4351"/>
                  </a:lnTo>
                  <a:lnTo>
                    <a:pt x="8214" y="4360"/>
                  </a:lnTo>
                  <a:lnTo>
                    <a:pt x="8205" y="4369"/>
                  </a:lnTo>
                  <a:lnTo>
                    <a:pt x="8196" y="4369"/>
                  </a:lnTo>
                  <a:lnTo>
                    <a:pt x="8187" y="4386"/>
                  </a:lnTo>
                  <a:lnTo>
                    <a:pt x="8178" y="4386"/>
                  </a:lnTo>
                  <a:lnTo>
                    <a:pt x="8178" y="4378"/>
                  </a:lnTo>
                  <a:lnTo>
                    <a:pt x="8178" y="4369"/>
                  </a:lnTo>
                  <a:lnTo>
                    <a:pt x="8187" y="4369"/>
                  </a:lnTo>
                  <a:lnTo>
                    <a:pt x="8187" y="4360"/>
                  </a:lnTo>
                  <a:lnTo>
                    <a:pt x="8187" y="4351"/>
                  </a:lnTo>
                  <a:lnTo>
                    <a:pt x="8205" y="4333"/>
                  </a:lnTo>
                  <a:lnTo>
                    <a:pt x="8205" y="4325"/>
                  </a:lnTo>
                  <a:lnTo>
                    <a:pt x="8205" y="4316"/>
                  </a:lnTo>
                  <a:lnTo>
                    <a:pt x="8214" y="4316"/>
                  </a:lnTo>
                  <a:lnTo>
                    <a:pt x="8231" y="4298"/>
                  </a:lnTo>
                  <a:lnTo>
                    <a:pt x="8231" y="4289"/>
                  </a:lnTo>
                  <a:lnTo>
                    <a:pt x="8231" y="4280"/>
                  </a:lnTo>
                  <a:lnTo>
                    <a:pt x="8240" y="4272"/>
                  </a:lnTo>
                  <a:lnTo>
                    <a:pt x="8249" y="4263"/>
                  </a:lnTo>
                  <a:lnTo>
                    <a:pt x="8258" y="4254"/>
                  </a:lnTo>
                  <a:lnTo>
                    <a:pt x="8258" y="4245"/>
                  </a:lnTo>
                  <a:lnTo>
                    <a:pt x="8258" y="4236"/>
                  </a:lnTo>
                  <a:lnTo>
                    <a:pt x="8249" y="4236"/>
                  </a:lnTo>
                  <a:lnTo>
                    <a:pt x="8240" y="4236"/>
                  </a:lnTo>
                  <a:lnTo>
                    <a:pt x="8240" y="4227"/>
                  </a:lnTo>
                  <a:lnTo>
                    <a:pt x="8249" y="4219"/>
                  </a:lnTo>
                  <a:lnTo>
                    <a:pt x="8258" y="4219"/>
                  </a:lnTo>
                  <a:lnTo>
                    <a:pt x="8267" y="4219"/>
                  </a:lnTo>
                  <a:lnTo>
                    <a:pt x="8275" y="4219"/>
                  </a:lnTo>
                  <a:lnTo>
                    <a:pt x="8275" y="4210"/>
                  </a:lnTo>
                  <a:close/>
                  <a:moveTo>
                    <a:pt x="8293" y="4166"/>
                  </a:moveTo>
                  <a:lnTo>
                    <a:pt x="8293" y="4157"/>
                  </a:lnTo>
                  <a:lnTo>
                    <a:pt x="8284" y="4166"/>
                  </a:lnTo>
                  <a:close/>
                  <a:moveTo>
                    <a:pt x="8267" y="4280"/>
                  </a:moveTo>
                  <a:lnTo>
                    <a:pt x="8275" y="4280"/>
                  </a:lnTo>
                  <a:lnTo>
                    <a:pt x="8284" y="4280"/>
                  </a:lnTo>
                  <a:lnTo>
                    <a:pt x="8284" y="4272"/>
                  </a:lnTo>
                  <a:lnTo>
                    <a:pt x="8275" y="4272"/>
                  </a:lnTo>
                  <a:close/>
                  <a:moveTo>
                    <a:pt x="4411" y="2506"/>
                  </a:moveTo>
                  <a:lnTo>
                    <a:pt x="4411" y="2515"/>
                  </a:lnTo>
                  <a:lnTo>
                    <a:pt x="4420" y="2524"/>
                  </a:lnTo>
                  <a:lnTo>
                    <a:pt x="4420" y="2533"/>
                  </a:lnTo>
                  <a:lnTo>
                    <a:pt x="4429" y="2524"/>
                  </a:lnTo>
                  <a:lnTo>
                    <a:pt x="4429" y="2515"/>
                  </a:lnTo>
                  <a:lnTo>
                    <a:pt x="4420" y="2515"/>
                  </a:lnTo>
                  <a:close/>
                  <a:moveTo>
                    <a:pt x="8337" y="2136"/>
                  </a:moveTo>
                  <a:lnTo>
                    <a:pt x="8328" y="2136"/>
                  </a:lnTo>
                  <a:lnTo>
                    <a:pt x="8319" y="2162"/>
                  </a:lnTo>
                  <a:lnTo>
                    <a:pt x="8328" y="2171"/>
                  </a:lnTo>
                  <a:lnTo>
                    <a:pt x="8328" y="2180"/>
                  </a:lnTo>
                  <a:lnTo>
                    <a:pt x="8337" y="2180"/>
                  </a:lnTo>
                  <a:lnTo>
                    <a:pt x="8355" y="2180"/>
                  </a:lnTo>
                  <a:lnTo>
                    <a:pt x="8381" y="2180"/>
                  </a:lnTo>
                  <a:lnTo>
                    <a:pt x="8390" y="2189"/>
                  </a:lnTo>
                  <a:lnTo>
                    <a:pt x="8399" y="2189"/>
                  </a:lnTo>
                  <a:lnTo>
                    <a:pt x="8408" y="2189"/>
                  </a:lnTo>
                  <a:lnTo>
                    <a:pt x="8408" y="2198"/>
                  </a:lnTo>
                  <a:lnTo>
                    <a:pt x="8417" y="2198"/>
                  </a:lnTo>
                  <a:lnTo>
                    <a:pt x="8399" y="2198"/>
                  </a:lnTo>
                  <a:lnTo>
                    <a:pt x="8381" y="2198"/>
                  </a:lnTo>
                  <a:lnTo>
                    <a:pt x="8372" y="2206"/>
                  </a:lnTo>
                  <a:lnTo>
                    <a:pt x="8381" y="2206"/>
                  </a:lnTo>
                  <a:lnTo>
                    <a:pt x="8381" y="2215"/>
                  </a:lnTo>
                  <a:lnTo>
                    <a:pt x="8399" y="2215"/>
                  </a:lnTo>
                  <a:lnTo>
                    <a:pt x="8408" y="2224"/>
                  </a:lnTo>
                  <a:lnTo>
                    <a:pt x="8417" y="2224"/>
                  </a:lnTo>
                  <a:lnTo>
                    <a:pt x="8461" y="2215"/>
                  </a:lnTo>
                  <a:lnTo>
                    <a:pt x="8478" y="2206"/>
                  </a:lnTo>
                  <a:lnTo>
                    <a:pt x="8531" y="2198"/>
                  </a:lnTo>
                  <a:lnTo>
                    <a:pt x="8540" y="2189"/>
                  </a:lnTo>
                  <a:lnTo>
                    <a:pt x="8540" y="2180"/>
                  </a:lnTo>
                  <a:lnTo>
                    <a:pt x="8540" y="2171"/>
                  </a:lnTo>
                  <a:lnTo>
                    <a:pt x="8531" y="2171"/>
                  </a:lnTo>
                  <a:lnTo>
                    <a:pt x="8540" y="2162"/>
                  </a:lnTo>
                  <a:lnTo>
                    <a:pt x="8531" y="2153"/>
                  </a:lnTo>
                  <a:lnTo>
                    <a:pt x="8505" y="2145"/>
                  </a:lnTo>
                  <a:lnTo>
                    <a:pt x="8478" y="2136"/>
                  </a:lnTo>
                  <a:lnTo>
                    <a:pt x="8452" y="2109"/>
                  </a:lnTo>
                  <a:lnTo>
                    <a:pt x="8443" y="2101"/>
                  </a:lnTo>
                  <a:lnTo>
                    <a:pt x="8434" y="2101"/>
                  </a:lnTo>
                  <a:lnTo>
                    <a:pt x="8390" y="2092"/>
                  </a:lnTo>
                  <a:lnTo>
                    <a:pt x="8364" y="2083"/>
                  </a:lnTo>
                  <a:lnTo>
                    <a:pt x="8337" y="2092"/>
                  </a:lnTo>
                  <a:lnTo>
                    <a:pt x="8328" y="2101"/>
                  </a:lnTo>
                  <a:lnTo>
                    <a:pt x="8328" y="2109"/>
                  </a:lnTo>
                  <a:lnTo>
                    <a:pt x="8328" y="2118"/>
                  </a:lnTo>
                  <a:lnTo>
                    <a:pt x="8337" y="2127"/>
                  </a:lnTo>
                  <a:lnTo>
                    <a:pt x="8364" y="2136"/>
                  </a:lnTo>
                  <a:close/>
                  <a:moveTo>
                    <a:pt x="5505" y="3115"/>
                  </a:moveTo>
                  <a:lnTo>
                    <a:pt x="5514" y="3124"/>
                  </a:lnTo>
                  <a:lnTo>
                    <a:pt x="5523" y="3115"/>
                  </a:lnTo>
                  <a:lnTo>
                    <a:pt x="5514" y="3115"/>
                  </a:lnTo>
                  <a:close/>
                  <a:moveTo>
                    <a:pt x="7878" y="3742"/>
                  </a:moveTo>
                  <a:lnTo>
                    <a:pt x="7870" y="3742"/>
                  </a:lnTo>
                  <a:lnTo>
                    <a:pt x="7861" y="3742"/>
                  </a:lnTo>
                  <a:lnTo>
                    <a:pt x="7861" y="3751"/>
                  </a:lnTo>
                  <a:lnTo>
                    <a:pt x="7878" y="3751"/>
                  </a:lnTo>
                  <a:close/>
                  <a:moveTo>
                    <a:pt x="6511" y="4166"/>
                  </a:moveTo>
                  <a:lnTo>
                    <a:pt x="6520" y="4166"/>
                  </a:lnTo>
                  <a:lnTo>
                    <a:pt x="6529" y="4166"/>
                  </a:lnTo>
                  <a:lnTo>
                    <a:pt x="6529" y="4157"/>
                  </a:lnTo>
                  <a:lnTo>
                    <a:pt x="6529" y="4148"/>
                  </a:lnTo>
                  <a:lnTo>
                    <a:pt x="6502" y="4157"/>
                  </a:lnTo>
                  <a:lnTo>
                    <a:pt x="6511" y="4157"/>
                  </a:lnTo>
                  <a:close/>
                  <a:moveTo>
                    <a:pt x="7746" y="7068"/>
                  </a:moveTo>
                  <a:lnTo>
                    <a:pt x="7737" y="7068"/>
                  </a:lnTo>
                  <a:lnTo>
                    <a:pt x="7746" y="7077"/>
                  </a:lnTo>
                  <a:lnTo>
                    <a:pt x="7755" y="7077"/>
                  </a:lnTo>
                  <a:close/>
                  <a:moveTo>
                    <a:pt x="7587" y="6989"/>
                  </a:moveTo>
                  <a:lnTo>
                    <a:pt x="7578" y="6998"/>
                  </a:lnTo>
                  <a:lnTo>
                    <a:pt x="7587" y="6998"/>
                  </a:lnTo>
                  <a:close/>
                  <a:moveTo>
                    <a:pt x="7640" y="7545"/>
                  </a:moveTo>
                  <a:lnTo>
                    <a:pt x="7649" y="7554"/>
                  </a:lnTo>
                  <a:lnTo>
                    <a:pt x="7658" y="7554"/>
                  </a:lnTo>
                  <a:lnTo>
                    <a:pt x="7667" y="7545"/>
                  </a:lnTo>
                  <a:lnTo>
                    <a:pt x="7667" y="7536"/>
                  </a:lnTo>
                  <a:lnTo>
                    <a:pt x="7658" y="7536"/>
                  </a:lnTo>
                  <a:lnTo>
                    <a:pt x="7649" y="7536"/>
                  </a:lnTo>
                  <a:lnTo>
                    <a:pt x="7649" y="7545"/>
                  </a:lnTo>
                  <a:lnTo>
                    <a:pt x="7640" y="7545"/>
                  </a:lnTo>
                  <a:lnTo>
                    <a:pt x="7640" y="7536"/>
                  </a:lnTo>
                  <a:lnTo>
                    <a:pt x="7631" y="7536"/>
                  </a:lnTo>
                  <a:lnTo>
                    <a:pt x="7631" y="7545"/>
                  </a:lnTo>
                  <a:lnTo>
                    <a:pt x="7623" y="7545"/>
                  </a:lnTo>
                  <a:close/>
                  <a:moveTo>
                    <a:pt x="7614" y="7042"/>
                  </a:moveTo>
                  <a:lnTo>
                    <a:pt x="7605" y="7042"/>
                  </a:lnTo>
                  <a:lnTo>
                    <a:pt x="7596" y="7033"/>
                  </a:lnTo>
                  <a:lnTo>
                    <a:pt x="7587" y="7042"/>
                  </a:lnTo>
                  <a:lnTo>
                    <a:pt x="7605" y="7042"/>
                  </a:lnTo>
                  <a:close/>
                  <a:moveTo>
                    <a:pt x="7561" y="7015"/>
                  </a:moveTo>
                  <a:lnTo>
                    <a:pt x="7552" y="7007"/>
                  </a:lnTo>
                  <a:lnTo>
                    <a:pt x="7543" y="7007"/>
                  </a:lnTo>
                  <a:lnTo>
                    <a:pt x="7534" y="7015"/>
                  </a:lnTo>
                  <a:lnTo>
                    <a:pt x="7543" y="7015"/>
                  </a:lnTo>
                  <a:lnTo>
                    <a:pt x="7552" y="7015"/>
                  </a:lnTo>
                  <a:close/>
                  <a:moveTo>
                    <a:pt x="7561" y="7554"/>
                  </a:moveTo>
                  <a:lnTo>
                    <a:pt x="7561" y="7545"/>
                  </a:lnTo>
                  <a:lnTo>
                    <a:pt x="7552" y="7545"/>
                  </a:lnTo>
                  <a:lnTo>
                    <a:pt x="7552" y="7554"/>
                  </a:lnTo>
                  <a:close/>
                  <a:moveTo>
                    <a:pt x="7623" y="6980"/>
                  </a:moveTo>
                  <a:lnTo>
                    <a:pt x="7623" y="6989"/>
                  </a:lnTo>
                  <a:lnTo>
                    <a:pt x="7631" y="6980"/>
                  </a:lnTo>
                  <a:close/>
                  <a:moveTo>
                    <a:pt x="7605" y="5896"/>
                  </a:moveTo>
                  <a:lnTo>
                    <a:pt x="7596" y="5904"/>
                  </a:lnTo>
                  <a:lnTo>
                    <a:pt x="7587" y="5904"/>
                  </a:lnTo>
                  <a:lnTo>
                    <a:pt x="7587" y="5913"/>
                  </a:lnTo>
                  <a:lnTo>
                    <a:pt x="7596" y="5913"/>
                  </a:lnTo>
                  <a:lnTo>
                    <a:pt x="7596" y="5904"/>
                  </a:lnTo>
                  <a:close/>
                  <a:moveTo>
                    <a:pt x="7596" y="6998"/>
                  </a:moveTo>
                  <a:lnTo>
                    <a:pt x="7605" y="6998"/>
                  </a:lnTo>
                  <a:close/>
                  <a:moveTo>
                    <a:pt x="7614" y="6989"/>
                  </a:moveTo>
                  <a:lnTo>
                    <a:pt x="7605" y="6989"/>
                  </a:lnTo>
                  <a:close/>
                  <a:moveTo>
                    <a:pt x="6837" y="6874"/>
                  </a:moveTo>
                  <a:lnTo>
                    <a:pt x="6846" y="6874"/>
                  </a:lnTo>
                  <a:lnTo>
                    <a:pt x="6855" y="6874"/>
                  </a:lnTo>
                  <a:lnTo>
                    <a:pt x="6873" y="6865"/>
                  </a:lnTo>
                  <a:lnTo>
                    <a:pt x="6890" y="6865"/>
                  </a:lnTo>
                  <a:lnTo>
                    <a:pt x="6899" y="6865"/>
                  </a:lnTo>
                  <a:lnTo>
                    <a:pt x="6908" y="6857"/>
                  </a:lnTo>
                  <a:lnTo>
                    <a:pt x="6908" y="6848"/>
                  </a:lnTo>
                  <a:lnTo>
                    <a:pt x="6899" y="6848"/>
                  </a:lnTo>
                  <a:lnTo>
                    <a:pt x="6890" y="6848"/>
                  </a:lnTo>
                  <a:lnTo>
                    <a:pt x="6881" y="6839"/>
                  </a:lnTo>
                  <a:lnTo>
                    <a:pt x="6873" y="6830"/>
                  </a:lnTo>
                  <a:lnTo>
                    <a:pt x="6864" y="6830"/>
                  </a:lnTo>
                  <a:lnTo>
                    <a:pt x="6855" y="6821"/>
                  </a:lnTo>
                  <a:lnTo>
                    <a:pt x="6846" y="6821"/>
                  </a:lnTo>
                  <a:lnTo>
                    <a:pt x="6829" y="6812"/>
                  </a:lnTo>
                  <a:lnTo>
                    <a:pt x="6820" y="6821"/>
                  </a:lnTo>
                  <a:lnTo>
                    <a:pt x="6802" y="6812"/>
                  </a:lnTo>
                  <a:lnTo>
                    <a:pt x="6793" y="6812"/>
                  </a:lnTo>
                  <a:lnTo>
                    <a:pt x="6784" y="6812"/>
                  </a:lnTo>
                  <a:lnTo>
                    <a:pt x="6793" y="6812"/>
                  </a:lnTo>
                  <a:lnTo>
                    <a:pt x="6802" y="6804"/>
                  </a:lnTo>
                  <a:lnTo>
                    <a:pt x="6793" y="6804"/>
                  </a:lnTo>
                  <a:lnTo>
                    <a:pt x="6793" y="6795"/>
                  </a:lnTo>
                  <a:lnTo>
                    <a:pt x="6802" y="6795"/>
                  </a:lnTo>
                  <a:lnTo>
                    <a:pt x="6802" y="6786"/>
                  </a:lnTo>
                  <a:lnTo>
                    <a:pt x="6793" y="6786"/>
                  </a:lnTo>
                  <a:lnTo>
                    <a:pt x="6776" y="6786"/>
                  </a:lnTo>
                  <a:lnTo>
                    <a:pt x="6767" y="6786"/>
                  </a:lnTo>
                  <a:lnTo>
                    <a:pt x="6749" y="6777"/>
                  </a:lnTo>
                  <a:lnTo>
                    <a:pt x="6740" y="6777"/>
                  </a:lnTo>
                  <a:lnTo>
                    <a:pt x="6731" y="6777"/>
                  </a:lnTo>
                  <a:lnTo>
                    <a:pt x="6723" y="6768"/>
                  </a:lnTo>
                  <a:lnTo>
                    <a:pt x="6714" y="6768"/>
                  </a:lnTo>
                  <a:lnTo>
                    <a:pt x="6705" y="6768"/>
                  </a:lnTo>
                  <a:lnTo>
                    <a:pt x="6714" y="6759"/>
                  </a:lnTo>
                  <a:lnTo>
                    <a:pt x="6705" y="6759"/>
                  </a:lnTo>
                  <a:lnTo>
                    <a:pt x="6687" y="6751"/>
                  </a:lnTo>
                  <a:lnTo>
                    <a:pt x="6679" y="6759"/>
                  </a:lnTo>
                  <a:lnTo>
                    <a:pt x="6679" y="6751"/>
                  </a:lnTo>
                  <a:lnTo>
                    <a:pt x="6670" y="6751"/>
                  </a:lnTo>
                  <a:lnTo>
                    <a:pt x="6679" y="6751"/>
                  </a:lnTo>
                  <a:lnTo>
                    <a:pt x="6687" y="6751"/>
                  </a:lnTo>
                  <a:lnTo>
                    <a:pt x="6687" y="6742"/>
                  </a:lnTo>
                  <a:lnTo>
                    <a:pt x="6679" y="6742"/>
                  </a:lnTo>
                  <a:lnTo>
                    <a:pt x="6670" y="6733"/>
                  </a:lnTo>
                  <a:lnTo>
                    <a:pt x="6661" y="6724"/>
                  </a:lnTo>
                  <a:lnTo>
                    <a:pt x="6652" y="6724"/>
                  </a:lnTo>
                  <a:lnTo>
                    <a:pt x="6661" y="6733"/>
                  </a:lnTo>
                  <a:lnTo>
                    <a:pt x="6652" y="6733"/>
                  </a:lnTo>
                  <a:lnTo>
                    <a:pt x="6634" y="6724"/>
                  </a:lnTo>
                  <a:lnTo>
                    <a:pt x="6626" y="6724"/>
                  </a:lnTo>
                  <a:lnTo>
                    <a:pt x="6617" y="6706"/>
                  </a:lnTo>
                  <a:lnTo>
                    <a:pt x="6573" y="6689"/>
                  </a:lnTo>
                  <a:lnTo>
                    <a:pt x="6564" y="6689"/>
                  </a:lnTo>
                  <a:lnTo>
                    <a:pt x="6555" y="6689"/>
                  </a:lnTo>
                  <a:lnTo>
                    <a:pt x="6537" y="6689"/>
                  </a:lnTo>
                  <a:lnTo>
                    <a:pt x="6529" y="6689"/>
                  </a:lnTo>
                  <a:lnTo>
                    <a:pt x="6529" y="6680"/>
                  </a:lnTo>
                  <a:lnTo>
                    <a:pt x="6520" y="6680"/>
                  </a:lnTo>
                  <a:lnTo>
                    <a:pt x="6511" y="6671"/>
                  </a:lnTo>
                  <a:lnTo>
                    <a:pt x="6502" y="6662"/>
                  </a:lnTo>
                  <a:lnTo>
                    <a:pt x="6484" y="6654"/>
                  </a:lnTo>
                  <a:lnTo>
                    <a:pt x="6493" y="6654"/>
                  </a:lnTo>
                  <a:lnTo>
                    <a:pt x="6484" y="6654"/>
                  </a:lnTo>
                  <a:lnTo>
                    <a:pt x="6476" y="6654"/>
                  </a:lnTo>
                  <a:lnTo>
                    <a:pt x="6476" y="6645"/>
                  </a:lnTo>
                  <a:lnTo>
                    <a:pt x="6467" y="6645"/>
                  </a:lnTo>
                  <a:lnTo>
                    <a:pt x="6458" y="6645"/>
                  </a:lnTo>
                  <a:lnTo>
                    <a:pt x="6449" y="6645"/>
                  </a:lnTo>
                  <a:lnTo>
                    <a:pt x="6440" y="6645"/>
                  </a:lnTo>
                  <a:lnTo>
                    <a:pt x="6440" y="6636"/>
                  </a:lnTo>
                  <a:lnTo>
                    <a:pt x="6432" y="6636"/>
                  </a:lnTo>
                  <a:lnTo>
                    <a:pt x="6405" y="6636"/>
                  </a:lnTo>
                  <a:lnTo>
                    <a:pt x="6396" y="6636"/>
                  </a:lnTo>
                  <a:lnTo>
                    <a:pt x="6387" y="6636"/>
                  </a:lnTo>
                  <a:lnTo>
                    <a:pt x="6387" y="6627"/>
                  </a:lnTo>
                  <a:lnTo>
                    <a:pt x="6379" y="6627"/>
                  </a:lnTo>
                  <a:lnTo>
                    <a:pt x="6361" y="6636"/>
                  </a:lnTo>
                  <a:lnTo>
                    <a:pt x="6343" y="6627"/>
                  </a:lnTo>
                  <a:lnTo>
                    <a:pt x="6326" y="6627"/>
                  </a:lnTo>
                  <a:lnTo>
                    <a:pt x="6308" y="6627"/>
                  </a:lnTo>
                  <a:lnTo>
                    <a:pt x="6290" y="6636"/>
                  </a:lnTo>
                  <a:lnTo>
                    <a:pt x="6282" y="6636"/>
                  </a:lnTo>
                  <a:lnTo>
                    <a:pt x="6246" y="6645"/>
                  </a:lnTo>
                  <a:lnTo>
                    <a:pt x="6237" y="6645"/>
                  </a:lnTo>
                  <a:lnTo>
                    <a:pt x="6176" y="6662"/>
                  </a:lnTo>
                  <a:lnTo>
                    <a:pt x="6176" y="6671"/>
                  </a:lnTo>
                  <a:lnTo>
                    <a:pt x="6158" y="6680"/>
                  </a:lnTo>
                  <a:lnTo>
                    <a:pt x="6158" y="6689"/>
                  </a:lnTo>
                  <a:lnTo>
                    <a:pt x="6158" y="6698"/>
                  </a:lnTo>
                  <a:lnTo>
                    <a:pt x="6158" y="6715"/>
                  </a:lnTo>
                  <a:lnTo>
                    <a:pt x="6149" y="6715"/>
                  </a:lnTo>
                  <a:lnTo>
                    <a:pt x="6140" y="6715"/>
                  </a:lnTo>
                  <a:lnTo>
                    <a:pt x="6123" y="6724"/>
                  </a:lnTo>
                  <a:lnTo>
                    <a:pt x="6114" y="6733"/>
                  </a:lnTo>
                  <a:lnTo>
                    <a:pt x="6123" y="6733"/>
                  </a:lnTo>
                  <a:lnTo>
                    <a:pt x="6132" y="6724"/>
                  </a:lnTo>
                  <a:lnTo>
                    <a:pt x="6140" y="6724"/>
                  </a:lnTo>
                  <a:lnTo>
                    <a:pt x="6149" y="6724"/>
                  </a:lnTo>
                  <a:lnTo>
                    <a:pt x="6149" y="6733"/>
                  </a:lnTo>
                  <a:lnTo>
                    <a:pt x="6167" y="6724"/>
                  </a:lnTo>
                  <a:lnTo>
                    <a:pt x="6176" y="6724"/>
                  </a:lnTo>
                  <a:lnTo>
                    <a:pt x="6184" y="6724"/>
                  </a:lnTo>
                  <a:lnTo>
                    <a:pt x="6184" y="6715"/>
                  </a:lnTo>
                  <a:lnTo>
                    <a:pt x="6184" y="6706"/>
                  </a:lnTo>
                  <a:lnTo>
                    <a:pt x="6193" y="6706"/>
                  </a:lnTo>
                  <a:lnTo>
                    <a:pt x="6202" y="6706"/>
                  </a:lnTo>
                  <a:lnTo>
                    <a:pt x="6211" y="6706"/>
                  </a:lnTo>
                  <a:lnTo>
                    <a:pt x="6211" y="6698"/>
                  </a:lnTo>
                  <a:lnTo>
                    <a:pt x="6220" y="6698"/>
                  </a:lnTo>
                  <a:lnTo>
                    <a:pt x="6220" y="6706"/>
                  </a:lnTo>
                  <a:lnTo>
                    <a:pt x="6229" y="6698"/>
                  </a:lnTo>
                  <a:lnTo>
                    <a:pt x="6237" y="6698"/>
                  </a:lnTo>
                  <a:lnTo>
                    <a:pt x="6246" y="6689"/>
                  </a:lnTo>
                  <a:lnTo>
                    <a:pt x="6255" y="6680"/>
                  </a:lnTo>
                  <a:lnTo>
                    <a:pt x="6264" y="6671"/>
                  </a:lnTo>
                  <a:lnTo>
                    <a:pt x="6273" y="6671"/>
                  </a:lnTo>
                  <a:lnTo>
                    <a:pt x="6273" y="6662"/>
                  </a:lnTo>
                  <a:lnTo>
                    <a:pt x="6334" y="6662"/>
                  </a:lnTo>
                  <a:lnTo>
                    <a:pt x="6343" y="6662"/>
                  </a:lnTo>
                  <a:lnTo>
                    <a:pt x="6343" y="6671"/>
                  </a:lnTo>
                  <a:lnTo>
                    <a:pt x="6352" y="6671"/>
                  </a:lnTo>
                  <a:lnTo>
                    <a:pt x="6352" y="6680"/>
                  </a:lnTo>
                  <a:lnTo>
                    <a:pt x="6334" y="6689"/>
                  </a:lnTo>
                  <a:lnTo>
                    <a:pt x="6326" y="6689"/>
                  </a:lnTo>
                  <a:lnTo>
                    <a:pt x="6334" y="6698"/>
                  </a:lnTo>
                  <a:lnTo>
                    <a:pt x="6343" y="6698"/>
                  </a:lnTo>
                  <a:lnTo>
                    <a:pt x="6343" y="6706"/>
                  </a:lnTo>
                  <a:lnTo>
                    <a:pt x="6370" y="6706"/>
                  </a:lnTo>
                  <a:lnTo>
                    <a:pt x="6379" y="6706"/>
                  </a:lnTo>
                  <a:lnTo>
                    <a:pt x="6387" y="6706"/>
                  </a:lnTo>
                  <a:lnTo>
                    <a:pt x="6387" y="6698"/>
                  </a:lnTo>
                  <a:lnTo>
                    <a:pt x="6396" y="6698"/>
                  </a:lnTo>
                  <a:lnTo>
                    <a:pt x="6396" y="6706"/>
                  </a:lnTo>
                  <a:lnTo>
                    <a:pt x="6405" y="6715"/>
                  </a:lnTo>
                  <a:lnTo>
                    <a:pt x="6440" y="6715"/>
                  </a:lnTo>
                  <a:lnTo>
                    <a:pt x="6440" y="6706"/>
                  </a:lnTo>
                  <a:lnTo>
                    <a:pt x="6449" y="6715"/>
                  </a:lnTo>
                  <a:lnTo>
                    <a:pt x="6458" y="6724"/>
                  </a:lnTo>
                  <a:lnTo>
                    <a:pt x="6467" y="6733"/>
                  </a:lnTo>
                  <a:lnTo>
                    <a:pt x="6484" y="6733"/>
                  </a:lnTo>
                  <a:lnTo>
                    <a:pt x="6529" y="6751"/>
                  </a:lnTo>
                  <a:lnTo>
                    <a:pt x="6537" y="6751"/>
                  </a:lnTo>
                  <a:lnTo>
                    <a:pt x="6564" y="6751"/>
                  </a:lnTo>
                  <a:lnTo>
                    <a:pt x="6573" y="6751"/>
                  </a:lnTo>
                  <a:lnTo>
                    <a:pt x="6581" y="6751"/>
                  </a:lnTo>
                  <a:lnTo>
                    <a:pt x="6581" y="6759"/>
                  </a:lnTo>
                  <a:lnTo>
                    <a:pt x="6581" y="6768"/>
                  </a:lnTo>
                  <a:lnTo>
                    <a:pt x="6590" y="6786"/>
                  </a:lnTo>
                  <a:lnTo>
                    <a:pt x="6590" y="6795"/>
                  </a:lnTo>
                  <a:lnTo>
                    <a:pt x="6599" y="6804"/>
                  </a:lnTo>
                  <a:lnTo>
                    <a:pt x="6617" y="6812"/>
                  </a:lnTo>
                  <a:lnTo>
                    <a:pt x="6626" y="6812"/>
                  </a:lnTo>
                  <a:lnTo>
                    <a:pt x="6634" y="6812"/>
                  </a:lnTo>
                  <a:lnTo>
                    <a:pt x="6652" y="6821"/>
                  </a:lnTo>
                  <a:lnTo>
                    <a:pt x="6661" y="6821"/>
                  </a:lnTo>
                  <a:lnTo>
                    <a:pt x="6670" y="6821"/>
                  </a:lnTo>
                  <a:lnTo>
                    <a:pt x="6679" y="6821"/>
                  </a:lnTo>
                  <a:lnTo>
                    <a:pt x="6687" y="6830"/>
                  </a:lnTo>
                  <a:lnTo>
                    <a:pt x="6687" y="6839"/>
                  </a:lnTo>
                  <a:lnTo>
                    <a:pt x="6687" y="6848"/>
                  </a:lnTo>
                  <a:lnTo>
                    <a:pt x="6679" y="6848"/>
                  </a:lnTo>
                  <a:lnTo>
                    <a:pt x="6661" y="6865"/>
                  </a:lnTo>
                  <a:lnTo>
                    <a:pt x="6643" y="6883"/>
                  </a:lnTo>
                  <a:lnTo>
                    <a:pt x="6661" y="6883"/>
                  </a:lnTo>
                  <a:lnTo>
                    <a:pt x="6679" y="6874"/>
                  </a:lnTo>
                  <a:lnTo>
                    <a:pt x="6696" y="6874"/>
                  </a:lnTo>
                  <a:lnTo>
                    <a:pt x="6705" y="6874"/>
                  </a:lnTo>
                  <a:lnTo>
                    <a:pt x="6714" y="6874"/>
                  </a:lnTo>
                  <a:lnTo>
                    <a:pt x="6731" y="6874"/>
                  </a:lnTo>
                  <a:lnTo>
                    <a:pt x="6749" y="6874"/>
                  </a:lnTo>
                  <a:lnTo>
                    <a:pt x="6758" y="6874"/>
                  </a:lnTo>
                  <a:lnTo>
                    <a:pt x="6784" y="6874"/>
                  </a:lnTo>
                  <a:lnTo>
                    <a:pt x="6793" y="6874"/>
                  </a:lnTo>
                  <a:lnTo>
                    <a:pt x="6802" y="6883"/>
                  </a:lnTo>
                  <a:lnTo>
                    <a:pt x="6820" y="6874"/>
                  </a:lnTo>
                  <a:lnTo>
                    <a:pt x="6829" y="6874"/>
                  </a:lnTo>
                  <a:lnTo>
                    <a:pt x="6837" y="6865"/>
                  </a:lnTo>
                  <a:close/>
                  <a:moveTo>
                    <a:pt x="7287" y="7457"/>
                  </a:moveTo>
                  <a:lnTo>
                    <a:pt x="7278" y="7448"/>
                  </a:lnTo>
                  <a:lnTo>
                    <a:pt x="7278" y="7439"/>
                  </a:lnTo>
                  <a:lnTo>
                    <a:pt x="7270" y="7439"/>
                  </a:lnTo>
                  <a:lnTo>
                    <a:pt x="7278" y="7448"/>
                  </a:lnTo>
                  <a:lnTo>
                    <a:pt x="7287" y="7457"/>
                  </a:lnTo>
                  <a:lnTo>
                    <a:pt x="7296" y="7466"/>
                  </a:lnTo>
                  <a:lnTo>
                    <a:pt x="7305" y="7466"/>
                  </a:lnTo>
                  <a:lnTo>
                    <a:pt x="7296" y="7457"/>
                  </a:lnTo>
                  <a:close/>
                  <a:moveTo>
                    <a:pt x="7217" y="7439"/>
                  </a:moveTo>
                  <a:lnTo>
                    <a:pt x="7217" y="7430"/>
                  </a:lnTo>
                  <a:lnTo>
                    <a:pt x="7208" y="7421"/>
                  </a:lnTo>
                  <a:lnTo>
                    <a:pt x="7208" y="7430"/>
                  </a:lnTo>
                  <a:close/>
                  <a:moveTo>
                    <a:pt x="6723" y="7024"/>
                  </a:moveTo>
                  <a:lnTo>
                    <a:pt x="6723" y="7033"/>
                  </a:lnTo>
                  <a:lnTo>
                    <a:pt x="6731" y="7033"/>
                  </a:lnTo>
                  <a:lnTo>
                    <a:pt x="6740" y="7033"/>
                  </a:lnTo>
                  <a:lnTo>
                    <a:pt x="6749" y="7033"/>
                  </a:lnTo>
                  <a:lnTo>
                    <a:pt x="6758" y="7024"/>
                  </a:lnTo>
                  <a:lnTo>
                    <a:pt x="6749" y="7007"/>
                  </a:lnTo>
                  <a:lnTo>
                    <a:pt x="6723" y="7007"/>
                  </a:lnTo>
                  <a:lnTo>
                    <a:pt x="6714" y="6998"/>
                  </a:lnTo>
                  <a:lnTo>
                    <a:pt x="6705" y="6989"/>
                  </a:lnTo>
                  <a:lnTo>
                    <a:pt x="6696" y="6989"/>
                  </a:lnTo>
                  <a:lnTo>
                    <a:pt x="6687" y="6989"/>
                  </a:lnTo>
                  <a:lnTo>
                    <a:pt x="6679" y="6989"/>
                  </a:lnTo>
                  <a:lnTo>
                    <a:pt x="6670" y="6989"/>
                  </a:lnTo>
                  <a:lnTo>
                    <a:pt x="6661" y="6989"/>
                  </a:lnTo>
                  <a:lnTo>
                    <a:pt x="6634" y="6980"/>
                  </a:lnTo>
                  <a:lnTo>
                    <a:pt x="6626" y="6980"/>
                  </a:lnTo>
                  <a:lnTo>
                    <a:pt x="6626" y="6989"/>
                  </a:lnTo>
                  <a:lnTo>
                    <a:pt x="6617" y="6989"/>
                  </a:lnTo>
                  <a:lnTo>
                    <a:pt x="6608" y="6989"/>
                  </a:lnTo>
                  <a:lnTo>
                    <a:pt x="6599" y="6998"/>
                  </a:lnTo>
                  <a:lnTo>
                    <a:pt x="6599" y="7007"/>
                  </a:lnTo>
                  <a:lnTo>
                    <a:pt x="6617" y="7007"/>
                  </a:lnTo>
                  <a:lnTo>
                    <a:pt x="6626" y="7015"/>
                  </a:lnTo>
                  <a:lnTo>
                    <a:pt x="6634" y="7024"/>
                  </a:lnTo>
                  <a:lnTo>
                    <a:pt x="6643" y="7033"/>
                  </a:lnTo>
                  <a:lnTo>
                    <a:pt x="6652" y="7033"/>
                  </a:lnTo>
                  <a:lnTo>
                    <a:pt x="6661" y="7033"/>
                  </a:lnTo>
                  <a:lnTo>
                    <a:pt x="6670" y="7033"/>
                  </a:lnTo>
                  <a:lnTo>
                    <a:pt x="6679" y="7042"/>
                  </a:lnTo>
                  <a:lnTo>
                    <a:pt x="6687" y="7033"/>
                  </a:lnTo>
                  <a:lnTo>
                    <a:pt x="6696" y="7033"/>
                  </a:lnTo>
                  <a:lnTo>
                    <a:pt x="6705" y="7033"/>
                  </a:lnTo>
                  <a:lnTo>
                    <a:pt x="6705" y="7024"/>
                  </a:lnTo>
                  <a:lnTo>
                    <a:pt x="6714" y="7024"/>
                  </a:lnTo>
                  <a:close/>
                  <a:moveTo>
                    <a:pt x="7490" y="4872"/>
                  </a:moveTo>
                  <a:lnTo>
                    <a:pt x="7481" y="4881"/>
                  </a:lnTo>
                  <a:lnTo>
                    <a:pt x="7481" y="4889"/>
                  </a:lnTo>
                  <a:lnTo>
                    <a:pt x="7490" y="4881"/>
                  </a:lnTo>
                  <a:close/>
                  <a:moveTo>
                    <a:pt x="7455" y="4845"/>
                  </a:moveTo>
                  <a:lnTo>
                    <a:pt x="7455" y="4836"/>
                  </a:lnTo>
                  <a:lnTo>
                    <a:pt x="7446" y="4836"/>
                  </a:lnTo>
                  <a:lnTo>
                    <a:pt x="7437" y="4854"/>
                  </a:lnTo>
                  <a:lnTo>
                    <a:pt x="7446" y="4845"/>
                  </a:lnTo>
                  <a:close/>
                  <a:moveTo>
                    <a:pt x="7305" y="7007"/>
                  </a:moveTo>
                  <a:lnTo>
                    <a:pt x="7314" y="7007"/>
                  </a:lnTo>
                  <a:lnTo>
                    <a:pt x="7314" y="6998"/>
                  </a:lnTo>
                  <a:lnTo>
                    <a:pt x="7323" y="6989"/>
                  </a:lnTo>
                  <a:lnTo>
                    <a:pt x="7331" y="6980"/>
                  </a:lnTo>
                  <a:lnTo>
                    <a:pt x="7331" y="6971"/>
                  </a:lnTo>
                  <a:lnTo>
                    <a:pt x="7323" y="6971"/>
                  </a:lnTo>
                  <a:lnTo>
                    <a:pt x="7305" y="6954"/>
                  </a:lnTo>
                  <a:lnTo>
                    <a:pt x="7296" y="6945"/>
                  </a:lnTo>
                  <a:lnTo>
                    <a:pt x="7287" y="6945"/>
                  </a:lnTo>
                  <a:lnTo>
                    <a:pt x="7270" y="6945"/>
                  </a:lnTo>
                  <a:lnTo>
                    <a:pt x="7261" y="6945"/>
                  </a:lnTo>
                  <a:lnTo>
                    <a:pt x="7261" y="6936"/>
                  </a:lnTo>
                  <a:lnTo>
                    <a:pt x="7252" y="6936"/>
                  </a:lnTo>
                  <a:lnTo>
                    <a:pt x="7243" y="6936"/>
                  </a:lnTo>
                  <a:lnTo>
                    <a:pt x="7243" y="6927"/>
                  </a:lnTo>
                  <a:lnTo>
                    <a:pt x="7261" y="6927"/>
                  </a:lnTo>
                  <a:lnTo>
                    <a:pt x="7270" y="6927"/>
                  </a:lnTo>
                  <a:lnTo>
                    <a:pt x="7261" y="6918"/>
                  </a:lnTo>
                  <a:lnTo>
                    <a:pt x="7234" y="6927"/>
                  </a:lnTo>
                  <a:lnTo>
                    <a:pt x="7226" y="6918"/>
                  </a:lnTo>
                  <a:lnTo>
                    <a:pt x="7217" y="6909"/>
                  </a:lnTo>
                  <a:lnTo>
                    <a:pt x="7217" y="6901"/>
                  </a:lnTo>
                  <a:lnTo>
                    <a:pt x="7217" y="6892"/>
                  </a:lnTo>
                  <a:lnTo>
                    <a:pt x="7208" y="6892"/>
                  </a:lnTo>
                  <a:lnTo>
                    <a:pt x="7199" y="6901"/>
                  </a:lnTo>
                  <a:lnTo>
                    <a:pt x="7190" y="6892"/>
                  </a:lnTo>
                  <a:lnTo>
                    <a:pt x="7181" y="6892"/>
                  </a:lnTo>
                  <a:lnTo>
                    <a:pt x="7173" y="6883"/>
                  </a:lnTo>
                  <a:lnTo>
                    <a:pt x="7164" y="6892"/>
                  </a:lnTo>
                  <a:lnTo>
                    <a:pt x="7164" y="6883"/>
                  </a:lnTo>
                  <a:lnTo>
                    <a:pt x="7155" y="6883"/>
                  </a:lnTo>
                  <a:lnTo>
                    <a:pt x="7146" y="6874"/>
                  </a:lnTo>
                  <a:lnTo>
                    <a:pt x="7128" y="6883"/>
                  </a:lnTo>
                  <a:lnTo>
                    <a:pt x="7120" y="6883"/>
                  </a:lnTo>
                  <a:lnTo>
                    <a:pt x="7102" y="6874"/>
                  </a:lnTo>
                  <a:lnTo>
                    <a:pt x="7093" y="6883"/>
                  </a:lnTo>
                  <a:lnTo>
                    <a:pt x="7084" y="6883"/>
                  </a:lnTo>
                  <a:lnTo>
                    <a:pt x="7084" y="6892"/>
                  </a:lnTo>
                  <a:lnTo>
                    <a:pt x="7076" y="6892"/>
                  </a:lnTo>
                  <a:lnTo>
                    <a:pt x="7067" y="6892"/>
                  </a:lnTo>
                  <a:lnTo>
                    <a:pt x="7049" y="6892"/>
                  </a:lnTo>
                  <a:lnTo>
                    <a:pt x="7031" y="6883"/>
                  </a:lnTo>
                  <a:lnTo>
                    <a:pt x="7023" y="6874"/>
                  </a:lnTo>
                  <a:lnTo>
                    <a:pt x="7005" y="6874"/>
                  </a:lnTo>
                  <a:lnTo>
                    <a:pt x="6987" y="6874"/>
                  </a:lnTo>
                  <a:lnTo>
                    <a:pt x="6978" y="6883"/>
                  </a:lnTo>
                  <a:lnTo>
                    <a:pt x="6970" y="6883"/>
                  </a:lnTo>
                  <a:lnTo>
                    <a:pt x="6961" y="6883"/>
                  </a:lnTo>
                  <a:lnTo>
                    <a:pt x="6961" y="6892"/>
                  </a:lnTo>
                  <a:lnTo>
                    <a:pt x="6961" y="6901"/>
                  </a:lnTo>
                  <a:lnTo>
                    <a:pt x="6970" y="6901"/>
                  </a:lnTo>
                  <a:lnTo>
                    <a:pt x="6987" y="6901"/>
                  </a:lnTo>
                  <a:lnTo>
                    <a:pt x="7005" y="6909"/>
                  </a:lnTo>
                  <a:lnTo>
                    <a:pt x="7014" y="6909"/>
                  </a:lnTo>
                  <a:lnTo>
                    <a:pt x="7014" y="6918"/>
                  </a:lnTo>
                  <a:lnTo>
                    <a:pt x="7005" y="6927"/>
                  </a:lnTo>
                  <a:lnTo>
                    <a:pt x="7014" y="6936"/>
                  </a:lnTo>
                  <a:lnTo>
                    <a:pt x="7005" y="6945"/>
                  </a:lnTo>
                  <a:lnTo>
                    <a:pt x="7014" y="6954"/>
                  </a:lnTo>
                  <a:lnTo>
                    <a:pt x="7031" y="6962"/>
                  </a:lnTo>
                  <a:lnTo>
                    <a:pt x="7040" y="6971"/>
                  </a:lnTo>
                  <a:lnTo>
                    <a:pt x="7040" y="6980"/>
                  </a:lnTo>
                  <a:lnTo>
                    <a:pt x="7031" y="6980"/>
                  </a:lnTo>
                  <a:lnTo>
                    <a:pt x="7023" y="6980"/>
                  </a:lnTo>
                  <a:lnTo>
                    <a:pt x="7014" y="6980"/>
                  </a:lnTo>
                  <a:lnTo>
                    <a:pt x="7014" y="6989"/>
                  </a:lnTo>
                  <a:lnTo>
                    <a:pt x="7005" y="6989"/>
                  </a:lnTo>
                  <a:lnTo>
                    <a:pt x="6996" y="6989"/>
                  </a:lnTo>
                  <a:lnTo>
                    <a:pt x="6952" y="6980"/>
                  </a:lnTo>
                  <a:lnTo>
                    <a:pt x="6943" y="6980"/>
                  </a:lnTo>
                  <a:lnTo>
                    <a:pt x="6926" y="6980"/>
                  </a:lnTo>
                  <a:lnTo>
                    <a:pt x="6917" y="6980"/>
                  </a:lnTo>
                  <a:lnTo>
                    <a:pt x="6908" y="6971"/>
                  </a:lnTo>
                  <a:lnTo>
                    <a:pt x="6899" y="6971"/>
                  </a:lnTo>
                  <a:lnTo>
                    <a:pt x="6890" y="6971"/>
                  </a:lnTo>
                  <a:lnTo>
                    <a:pt x="6881" y="6989"/>
                  </a:lnTo>
                  <a:lnTo>
                    <a:pt x="6890" y="6998"/>
                  </a:lnTo>
                  <a:lnTo>
                    <a:pt x="6908" y="6998"/>
                  </a:lnTo>
                  <a:lnTo>
                    <a:pt x="6908" y="7007"/>
                  </a:lnTo>
                  <a:lnTo>
                    <a:pt x="6917" y="7015"/>
                  </a:lnTo>
                  <a:lnTo>
                    <a:pt x="6926" y="7015"/>
                  </a:lnTo>
                  <a:lnTo>
                    <a:pt x="6934" y="7015"/>
                  </a:lnTo>
                  <a:lnTo>
                    <a:pt x="6934" y="7007"/>
                  </a:lnTo>
                  <a:lnTo>
                    <a:pt x="6943" y="7007"/>
                  </a:lnTo>
                  <a:lnTo>
                    <a:pt x="6952" y="7007"/>
                  </a:lnTo>
                  <a:lnTo>
                    <a:pt x="6961" y="7007"/>
                  </a:lnTo>
                  <a:lnTo>
                    <a:pt x="6970" y="7007"/>
                  </a:lnTo>
                  <a:lnTo>
                    <a:pt x="6978" y="7007"/>
                  </a:lnTo>
                  <a:lnTo>
                    <a:pt x="7005" y="7007"/>
                  </a:lnTo>
                  <a:lnTo>
                    <a:pt x="7014" y="7007"/>
                  </a:lnTo>
                  <a:lnTo>
                    <a:pt x="7023" y="7007"/>
                  </a:lnTo>
                  <a:lnTo>
                    <a:pt x="7031" y="7007"/>
                  </a:lnTo>
                  <a:lnTo>
                    <a:pt x="7058" y="7007"/>
                  </a:lnTo>
                  <a:lnTo>
                    <a:pt x="7067" y="7007"/>
                  </a:lnTo>
                  <a:lnTo>
                    <a:pt x="7076" y="7015"/>
                  </a:lnTo>
                  <a:lnTo>
                    <a:pt x="7084" y="7015"/>
                  </a:lnTo>
                  <a:lnTo>
                    <a:pt x="7084" y="7024"/>
                  </a:lnTo>
                  <a:lnTo>
                    <a:pt x="7093" y="7024"/>
                  </a:lnTo>
                  <a:lnTo>
                    <a:pt x="7093" y="7033"/>
                  </a:lnTo>
                  <a:lnTo>
                    <a:pt x="7093" y="7042"/>
                  </a:lnTo>
                  <a:lnTo>
                    <a:pt x="7102" y="7042"/>
                  </a:lnTo>
                  <a:lnTo>
                    <a:pt x="7102" y="7051"/>
                  </a:lnTo>
                  <a:lnTo>
                    <a:pt x="7111" y="7051"/>
                  </a:lnTo>
                  <a:lnTo>
                    <a:pt x="7111" y="7042"/>
                  </a:lnTo>
                  <a:lnTo>
                    <a:pt x="7120" y="7033"/>
                  </a:lnTo>
                  <a:lnTo>
                    <a:pt x="7128" y="7015"/>
                  </a:lnTo>
                  <a:lnTo>
                    <a:pt x="7128" y="7007"/>
                  </a:lnTo>
                  <a:lnTo>
                    <a:pt x="7137" y="7007"/>
                  </a:lnTo>
                  <a:lnTo>
                    <a:pt x="7137" y="6998"/>
                  </a:lnTo>
                  <a:lnTo>
                    <a:pt x="7146" y="6998"/>
                  </a:lnTo>
                  <a:lnTo>
                    <a:pt x="7155" y="6998"/>
                  </a:lnTo>
                  <a:lnTo>
                    <a:pt x="7164" y="6998"/>
                  </a:lnTo>
                  <a:lnTo>
                    <a:pt x="7173" y="6998"/>
                  </a:lnTo>
                  <a:lnTo>
                    <a:pt x="7173" y="7007"/>
                  </a:lnTo>
                  <a:lnTo>
                    <a:pt x="7199" y="7007"/>
                  </a:lnTo>
                  <a:lnTo>
                    <a:pt x="7199" y="6998"/>
                  </a:lnTo>
                  <a:lnTo>
                    <a:pt x="7208" y="6998"/>
                  </a:lnTo>
                  <a:lnTo>
                    <a:pt x="7217" y="6989"/>
                  </a:lnTo>
                  <a:lnTo>
                    <a:pt x="7226" y="6989"/>
                  </a:lnTo>
                  <a:lnTo>
                    <a:pt x="7234" y="6989"/>
                  </a:lnTo>
                  <a:lnTo>
                    <a:pt x="7243" y="6989"/>
                  </a:lnTo>
                  <a:lnTo>
                    <a:pt x="7261" y="6989"/>
                  </a:lnTo>
                  <a:lnTo>
                    <a:pt x="7270" y="6989"/>
                  </a:lnTo>
                  <a:lnTo>
                    <a:pt x="7278" y="6989"/>
                  </a:lnTo>
                  <a:lnTo>
                    <a:pt x="7287" y="6989"/>
                  </a:lnTo>
                  <a:lnTo>
                    <a:pt x="7296" y="6998"/>
                  </a:lnTo>
                  <a:lnTo>
                    <a:pt x="7305" y="6998"/>
                  </a:lnTo>
                  <a:close/>
                  <a:moveTo>
                    <a:pt x="7420" y="7024"/>
                  </a:moveTo>
                  <a:lnTo>
                    <a:pt x="7428" y="7024"/>
                  </a:lnTo>
                  <a:lnTo>
                    <a:pt x="7437" y="7024"/>
                  </a:lnTo>
                  <a:lnTo>
                    <a:pt x="7446" y="7024"/>
                  </a:lnTo>
                  <a:lnTo>
                    <a:pt x="7464" y="7024"/>
                  </a:lnTo>
                  <a:lnTo>
                    <a:pt x="7473" y="7024"/>
                  </a:lnTo>
                  <a:lnTo>
                    <a:pt x="7481" y="7024"/>
                  </a:lnTo>
                  <a:lnTo>
                    <a:pt x="7490" y="7024"/>
                  </a:lnTo>
                  <a:lnTo>
                    <a:pt x="7499" y="7024"/>
                  </a:lnTo>
                  <a:lnTo>
                    <a:pt x="7508" y="7024"/>
                  </a:lnTo>
                  <a:lnTo>
                    <a:pt x="7517" y="7015"/>
                  </a:lnTo>
                  <a:lnTo>
                    <a:pt x="7525" y="7015"/>
                  </a:lnTo>
                  <a:lnTo>
                    <a:pt x="7525" y="7007"/>
                  </a:lnTo>
                  <a:lnTo>
                    <a:pt x="7534" y="7007"/>
                  </a:lnTo>
                  <a:lnTo>
                    <a:pt x="7534" y="6989"/>
                  </a:lnTo>
                  <a:lnTo>
                    <a:pt x="7525" y="6989"/>
                  </a:lnTo>
                  <a:lnTo>
                    <a:pt x="7517" y="6989"/>
                  </a:lnTo>
                  <a:lnTo>
                    <a:pt x="7499" y="6989"/>
                  </a:lnTo>
                  <a:lnTo>
                    <a:pt x="7490" y="6989"/>
                  </a:lnTo>
                  <a:lnTo>
                    <a:pt x="7446" y="6989"/>
                  </a:lnTo>
                  <a:lnTo>
                    <a:pt x="7428" y="6980"/>
                  </a:lnTo>
                  <a:lnTo>
                    <a:pt x="7420" y="6980"/>
                  </a:lnTo>
                  <a:lnTo>
                    <a:pt x="7420" y="6989"/>
                  </a:lnTo>
                  <a:lnTo>
                    <a:pt x="7411" y="6998"/>
                  </a:lnTo>
                  <a:lnTo>
                    <a:pt x="7420" y="6998"/>
                  </a:lnTo>
                  <a:lnTo>
                    <a:pt x="7420" y="7007"/>
                  </a:lnTo>
                  <a:close/>
                  <a:moveTo>
                    <a:pt x="7817" y="4439"/>
                  </a:moveTo>
                  <a:lnTo>
                    <a:pt x="7825" y="4430"/>
                  </a:lnTo>
                  <a:lnTo>
                    <a:pt x="7817" y="4430"/>
                  </a:lnTo>
                  <a:lnTo>
                    <a:pt x="7817" y="4422"/>
                  </a:lnTo>
                  <a:lnTo>
                    <a:pt x="7799" y="4413"/>
                  </a:lnTo>
                  <a:lnTo>
                    <a:pt x="7790" y="4413"/>
                  </a:lnTo>
                  <a:lnTo>
                    <a:pt x="7755" y="4386"/>
                  </a:lnTo>
                  <a:lnTo>
                    <a:pt x="7737" y="4378"/>
                  </a:lnTo>
                  <a:lnTo>
                    <a:pt x="7720" y="4378"/>
                  </a:lnTo>
                  <a:lnTo>
                    <a:pt x="7702" y="4369"/>
                  </a:lnTo>
                  <a:lnTo>
                    <a:pt x="7667" y="4369"/>
                  </a:lnTo>
                  <a:lnTo>
                    <a:pt x="7640" y="4360"/>
                  </a:lnTo>
                  <a:lnTo>
                    <a:pt x="7631" y="4360"/>
                  </a:lnTo>
                  <a:lnTo>
                    <a:pt x="7623" y="4360"/>
                  </a:lnTo>
                  <a:lnTo>
                    <a:pt x="7614" y="4360"/>
                  </a:lnTo>
                  <a:lnTo>
                    <a:pt x="7623" y="4369"/>
                  </a:lnTo>
                  <a:lnTo>
                    <a:pt x="7658" y="4386"/>
                  </a:lnTo>
                  <a:lnTo>
                    <a:pt x="7667" y="4386"/>
                  </a:lnTo>
                  <a:lnTo>
                    <a:pt x="7675" y="4395"/>
                  </a:lnTo>
                  <a:lnTo>
                    <a:pt x="7684" y="4404"/>
                  </a:lnTo>
                  <a:lnTo>
                    <a:pt x="7684" y="4413"/>
                  </a:lnTo>
                  <a:lnTo>
                    <a:pt x="7720" y="4430"/>
                  </a:lnTo>
                  <a:lnTo>
                    <a:pt x="7737" y="4430"/>
                  </a:lnTo>
                  <a:lnTo>
                    <a:pt x="7764" y="4430"/>
                  </a:lnTo>
                  <a:lnTo>
                    <a:pt x="7781" y="4439"/>
                  </a:lnTo>
                  <a:close/>
                  <a:moveTo>
                    <a:pt x="7940" y="4916"/>
                  </a:moveTo>
                  <a:lnTo>
                    <a:pt x="7949" y="4916"/>
                  </a:lnTo>
                  <a:lnTo>
                    <a:pt x="7967" y="4916"/>
                  </a:lnTo>
                  <a:lnTo>
                    <a:pt x="7967" y="4907"/>
                  </a:lnTo>
                  <a:lnTo>
                    <a:pt x="7958" y="4916"/>
                  </a:lnTo>
                  <a:lnTo>
                    <a:pt x="7949" y="4916"/>
                  </a:lnTo>
                  <a:close/>
                  <a:moveTo>
                    <a:pt x="7773" y="4704"/>
                  </a:moveTo>
                  <a:lnTo>
                    <a:pt x="7790" y="4695"/>
                  </a:lnTo>
                  <a:lnTo>
                    <a:pt x="7799" y="4686"/>
                  </a:lnTo>
                  <a:lnTo>
                    <a:pt x="7790" y="4686"/>
                  </a:lnTo>
                  <a:lnTo>
                    <a:pt x="7773" y="4686"/>
                  </a:lnTo>
                  <a:lnTo>
                    <a:pt x="7746" y="4686"/>
                  </a:lnTo>
                  <a:lnTo>
                    <a:pt x="7728" y="4686"/>
                  </a:lnTo>
                  <a:lnTo>
                    <a:pt x="7720" y="4686"/>
                  </a:lnTo>
                  <a:lnTo>
                    <a:pt x="7702" y="4686"/>
                  </a:lnTo>
                  <a:lnTo>
                    <a:pt x="7702" y="4678"/>
                  </a:lnTo>
                  <a:lnTo>
                    <a:pt x="7693" y="4678"/>
                  </a:lnTo>
                  <a:lnTo>
                    <a:pt x="7684" y="4678"/>
                  </a:lnTo>
                  <a:lnTo>
                    <a:pt x="7675" y="4678"/>
                  </a:lnTo>
                  <a:lnTo>
                    <a:pt x="7675" y="4686"/>
                  </a:lnTo>
                  <a:lnTo>
                    <a:pt x="7667" y="4686"/>
                  </a:lnTo>
                  <a:lnTo>
                    <a:pt x="7667" y="4678"/>
                  </a:lnTo>
                  <a:lnTo>
                    <a:pt x="7658" y="4678"/>
                  </a:lnTo>
                  <a:lnTo>
                    <a:pt x="7667" y="4678"/>
                  </a:lnTo>
                  <a:lnTo>
                    <a:pt x="7658" y="4669"/>
                  </a:lnTo>
                  <a:lnTo>
                    <a:pt x="7649" y="4660"/>
                  </a:lnTo>
                  <a:lnTo>
                    <a:pt x="7658" y="4642"/>
                  </a:lnTo>
                  <a:lnTo>
                    <a:pt x="7649" y="4633"/>
                  </a:lnTo>
                  <a:lnTo>
                    <a:pt x="7658" y="4633"/>
                  </a:lnTo>
                  <a:lnTo>
                    <a:pt x="7640" y="4642"/>
                  </a:lnTo>
                  <a:lnTo>
                    <a:pt x="7631" y="4651"/>
                  </a:lnTo>
                  <a:lnTo>
                    <a:pt x="7631" y="4660"/>
                  </a:lnTo>
                  <a:lnTo>
                    <a:pt x="7623" y="4660"/>
                  </a:lnTo>
                  <a:lnTo>
                    <a:pt x="7623" y="4669"/>
                  </a:lnTo>
                  <a:lnTo>
                    <a:pt x="7640" y="4669"/>
                  </a:lnTo>
                  <a:lnTo>
                    <a:pt x="7649" y="4678"/>
                  </a:lnTo>
                  <a:lnTo>
                    <a:pt x="7649" y="4686"/>
                  </a:lnTo>
                  <a:lnTo>
                    <a:pt x="7667" y="4686"/>
                  </a:lnTo>
                  <a:lnTo>
                    <a:pt x="7675" y="4695"/>
                  </a:lnTo>
                  <a:lnTo>
                    <a:pt x="7667" y="4695"/>
                  </a:lnTo>
                  <a:lnTo>
                    <a:pt x="7675" y="4704"/>
                  </a:lnTo>
                  <a:lnTo>
                    <a:pt x="7684" y="4704"/>
                  </a:lnTo>
                  <a:lnTo>
                    <a:pt x="7711" y="4713"/>
                  </a:lnTo>
                  <a:lnTo>
                    <a:pt x="7720" y="4713"/>
                  </a:lnTo>
                  <a:lnTo>
                    <a:pt x="7711" y="4713"/>
                  </a:lnTo>
                  <a:lnTo>
                    <a:pt x="7711" y="4704"/>
                  </a:lnTo>
                  <a:lnTo>
                    <a:pt x="7720" y="4704"/>
                  </a:lnTo>
                  <a:lnTo>
                    <a:pt x="7728" y="4695"/>
                  </a:lnTo>
                  <a:lnTo>
                    <a:pt x="7728" y="4704"/>
                  </a:lnTo>
                  <a:lnTo>
                    <a:pt x="7720" y="4704"/>
                  </a:lnTo>
                  <a:lnTo>
                    <a:pt x="7728" y="4713"/>
                  </a:lnTo>
                  <a:lnTo>
                    <a:pt x="7737" y="4713"/>
                  </a:lnTo>
                  <a:lnTo>
                    <a:pt x="7728" y="4722"/>
                  </a:lnTo>
                  <a:lnTo>
                    <a:pt x="7737" y="4722"/>
                  </a:lnTo>
                  <a:lnTo>
                    <a:pt x="7737" y="4731"/>
                  </a:lnTo>
                  <a:lnTo>
                    <a:pt x="7746" y="4731"/>
                  </a:lnTo>
                  <a:lnTo>
                    <a:pt x="7764" y="4731"/>
                  </a:lnTo>
                  <a:lnTo>
                    <a:pt x="7764" y="4722"/>
                  </a:lnTo>
                  <a:lnTo>
                    <a:pt x="7764" y="4713"/>
                  </a:lnTo>
                  <a:close/>
                  <a:moveTo>
                    <a:pt x="7878" y="7324"/>
                  </a:moveTo>
                  <a:lnTo>
                    <a:pt x="7878" y="7315"/>
                  </a:lnTo>
                  <a:lnTo>
                    <a:pt x="7870" y="7324"/>
                  </a:lnTo>
                  <a:lnTo>
                    <a:pt x="7870" y="7333"/>
                  </a:lnTo>
                  <a:lnTo>
                    <a:pt x="7870" y="7342"/>
                  </a:lnTo>
                  <a:lnTo>
                    <a:pt x="7878" y="7342"/>
                  </a:lnTo>
                  <a:lnTo>
                    <a:pt x="7878" y="7333"/>
                  </a:lnTo>
                  <a:close/>
                  <a:moveTo>
                    <a:pt x="7128" y="4642"/>
                  </a:moveTo>
                  <a:lnTo>
                    <a:pt x="7128" y="4651"/>
                  </a:lnTo>
                  <a:lnTo>
                    <a:pt x="7137" y="4651"/>
                  </a:lnTo>
                  <a:lnTo>
                    <a:pt x="7146" y="4642"/>
                  </a:lnTo>
                  <a:lnTo>
                    <a:pt x="7155" y="4633"/>
                  </a:lnTo>
                  <a:lnTo>
                    <a:pt x="7146" y="4633"/>
                  </a:lnTo>
                  <a:lnTo>
                    <a:pt x="7137" y="4642"/>
                  </a:lnTo>
                  <a:close/>
                  <a:moveTo>
                    <a:pt x="7887" y="7289"/>
                  </a:moveTo>
                  <a:lnTo>
                    <a:pt x="7887" y="7280"/>
                  </a:lnTo>
                  <a:lnTo>
                    <a:pt x="7878" y="7271"/>
                  </a:lnTo>
                  <a:lnTo>
                    <a:pt x="7878" y="7263"/>
                  </a:lnTo>
                  <a:lnTo>
                    <a:pt x="7870" y="7263"/>
                  </a:lnTo>
                  <a:lnTo>
                    <a:pt x="7861" y="7254"/>
                  </a:lnTo>
                  <a:lnTo>
                    <a:pt x="7861" y="7263"/>
                  </a:lnTo>
                  <a:lnTo>
                    <a:pt x="7861" y="7271"/>
                  </a:lnTo>
                  <a:lnTo>
                    <a:pt x="7870" y="7271"/>
                  </a:lnTo>
                  <a:lnTo>
                    <a:pt x="7870" y="7280"/>
                  </a:lnTo>
                  <a:lnTo>
                    <a:pt x="7870" y="7289"/>
                  </a:lnTo>
                  <a:lnTo>
                    <a:pt x="7878" y="7289"/>
                  </a:lnTo>
                  <a:close/>
                  <a:moveTo>
                    <a:pt x="6926" y="4775"/>
                  </a:moveTo>
                  <a:lnTo>
                    <a:pt x="6934" y="4775"/>
                  </a:lnTo>
                  <a:lnTo>
                    <a:pt x="6943" y="4775"/>
                  </a:lnTo>
                  <a:lnTo>
                    <a:pt x="6952" y="4775"/>
                  </a:lnTo>
                  <a:lnTo>
                    <a:pt x="6952" y="4766"/>
                  </a:lnTo>
                  <a:lnTo>
                    <a:pt x="6961" y="4757"/>
                  </a:lnTo>
                  <a:lnTo>
                    <a:pt x="6952" y="4757"/>
                  </a:lnTo>
                  <a:lnTo>
                    <a:pt x="6943" y="4766"/>
                  </a:lnTo>
                  <a:lnTo>
                    <a:pt x="6926" y="4775"/>
                  </a:lnTo>
                  <a:lnTo>
                    <a:pt x="6917" y="4775"/>
                  </a:lnTo>
                  <a:close/>
                  <a:moveTo>
                    <a:pt x="7878" y="4775"/>
                  </a:moveTo>
                  <a:lnTo>
                    <a:pt x="7878" y="4766"/>
                  </a:lnTo>
                  <a:lnTo>
                    <a:pt x="7870" y="4766"/>
                  </a:lnTo>
                  <a:lnTo>
                    <a:pt x="7870" y="4775"/>
                  </a:lnTo>
                  <a:close/>
                  <a:moveTo>
                    <a:pt x="7817" y="4598"/>
                  </a:moveTo>
                  <a:lnTo>
                    <a:pt x="7825" y="4589"/>
                  </a:lnTo>
                  <a:lnTo>
                    <a:pt x="7834" y="4581"/>
                  </a:lnTo>
                  <a:lnTo>
                    <a:pt x="7843" y="4581"/>
                  </a:lnTo>
                  <a:lnTo>
                    <a:pt x="7843" y="4572"/>
                  </a:lnTo>
                  <a:lnTo>
                    <a:pt x="7834" y="4581"/>
                  </a:lnTo>
                  <a:lnTo>
                    <a:pt x="7825" y="4581"/>
                  </a:lnTo>
                  <a:lnTo>
                    <a:pt x="7817" y="4589"/>
                  </a:lnTo>
                  <a:lnTo>
                    <a:pt x="7808" y="4598"/>
                  </a:lnTo>
                  <a:lnTo>
                    <a:pt x="7799" y="4616"/>
                  </a:lnTo>
                  <a:lnTo>
                    <a:pt x="7808" y="4616"/>
                  </a:lnTo>
                  <a:lnTo>
                    <a:pt x="7817" y="4616"/>
                  </a:lnTo>
                  <a:lnTo>
                    <a:pt x="7817" y="4607"/>
                  </a:lnTo>
                  <a:lnTo>
                    <a:pt x="7808" y="4607"/>
                  </a:lnTo>
                  <a:close/>
                  <a:moveTo>
                    <a:pt x="7605" y="4563"/>
                  </a:moveTo>
                  <a:lnTo>
                    <a:pt x="7614" y="4563"/>
                  </a:lnTo>
                  <a:lnTo>
                    <a:pt x="7614" y="4554"/>
                  </a:lnTo>
                  <a:lnTo>
                    <a:pt x="7605" y="4554"/>
                  </a:lnTo>
                  <a:close/>
                  <a:moveTo>
                    <a:pt x="6943" y="4766"/>
                  </a:moveTo>
                  <a:lnTo>
                    <a:pt x="6952" y="4757"/>
                  </a:lnTo>
                  <a:lnTo>
                    <a:pt x="6934" y="4757"/>
                  </a:lnTo>
                  <a:lnTo>
                    <a:pt x="6926" y="4766"/>
                  </a:lnTo>
                  <a:lnTo>
                    <a:pt x="6934" y="4766"/>
                  </a:lnTo>
                  <a:close/>
                  <a:moveTo>
                    <a:pt x="7728" y="6998"/>
                  </a:moveTo>
                  <a:lnTo>
                    <a:pt x="7720" y="7007"/>
                  </a:lnTo>
                  <a:lnTo>
                    <a:pt x="7711" y="7007"/>
                  </a:lnTo>
                  <a:lnTo>
                    <a:pt x="7728" y="7007"/>
                  </a:lnTo>
                  <a:close/>
                  <a:moveTo>
                    <a:pt x="7755" y="7086"/>
                  </a:moveTo>
                  <a:lnTo>
                    <a:pt x="7764" y="7086"/>
                  </a:lnTo>
                  <a:close/>
                  <a:moveTo>
                    <a:pt x="6379" y="6918"/>
                  </a:moveTo>
                  <a:lnTo>
                    <a:pt x="6370" y="6918"/>
                  </a:lnTo>
                  <a:lnTo>
                    <a:pt x="6370" y="6927"/>
                  </a:lnTo>
                  <a:lnTo>
                    <a:pt x="6379" y="6927"/>
                  </a:lnTo>
                  <a:lnTo>
                    <a:pt x="6387" y="6927"/>
                  </a:lnTo>
                  <a:lnTo>
                    <a:pt x="6396" y="6927"/>
                  </a:lnTo>
                  <a:lnTo>
                    <a:pt x="6396" y="6918"/>
                  </a:lnTo>
                  <a:close/>
                  <a:moveTo>
                    <a:pt x="7720" y="7015"/>
                  </a:moveTo>
                  <a:lnTo>
                    <a:pt x="7728" y="7024"/>
                  </a:lnTo>
                  <a:lnTo>
                    <a:pt x="7728" y="7015"/>
                  </a:lnTo>
                  <a:close/>
                  <a:moveTo>
                    <a:pt x="7614" y="4545"/>
                  </a:moveTo>
                  <a:lnTo>
                    <a:pt x="7614" y="4536"/>
                  </a:lnTo>
                  <a:lnTo>
                    <a:pt x="7614" y="4545"/>
                  </a:lnTo>
                  <a:lnTo>
                    <a:pt x="7614" y="4554"/>
                  </a:lnTo>
                  <a:lnTo>
                    <a:pt x="7623" y="4545"/>
                  </a:lnTo>
                  <a:close/>
                  <a:moveTo>
                    <a:pt x="7781" y="7112"/>
                  </a:moveTo>
                  <a:lnTo>
                    <a:pt x="7781" y="7121"/>
                  </a:lnTo>
                  <a:lnTo>
                    <a:pt x="7790" y="7121"/>
                  </a:lnTo>
                  <a:lnTo>
                    <a:pt x="7790" y="7112"/>
                  </a:lnTo>
                  <a:close/>
                  <a:moveTo>
                    <a:pt x="11125" y="6240"/>
                  </a:moveTo>
                  <a:lnTo>
                    <a:pt x="11134" y="6249"/>
                  </a:lnTo>
                  <a:lnTo>
                    <a:pt x="11143" y="6249"/>
                  </a:lnTo>
                  <a:lnTo>
                    <a:pt x="11151" y="6240"/>
                  </a:lnTo>
                  <a:lnTo>
                    <a:pt x="11160" y="6222"/>
                  </a:lnTo>
                  <a:lnTo>
                    <a:pt x="11169" y="6213"/>
                  </a:lnTo>
                  <a:lnTo>
                    <a:pt x="11169" y="6204"/>
                  </a:lnTo>
                  <a:lnTo>
                    <a:pt x="11160" y="6204"/>
                  </a:lnTo>
                  <a:lnTo>
                    <a:pt x="11143" y="6222"/>
                  </a:lnTo>
                  <a:lnTo>
                    <a:pt x="11125" y="6222"/>
                  </a:lnTo>
                  <a:lnTo>
                    <a:pt x="11116" y="6222"/>
                  </a:lnTo>
                  <a:lnTo>
                    <a:pt x="11116" y="6231"/>
                  </a:lnTo>
                  <a:close/>
                  <a:moveTo>
                    <a:pt x="19196" y="7430"/>
                  </a:moveTo>
                  <a:lnTo>
                    <a:pt x="19188" y="7404"/>
                  </a:lnTo>
                  <a:lnTo>
                    <a:pt x="19188" y="7395"/>
                  </a:lnTo>
                  <a:lnTo>
                    <a:pt x="19196" y="7386"/>
                  </a:lnTo>
                  <a:lnTo>
                    <a:pt x="19196" y="7377"/>
                  </a:lnTo>
                  <a:lnTo>
                    <a:pt x="19196" y="7368"/>
                  </a:lnTo>
                  <a:lnTo>
                    <a:pt x="19196" y="7360"/>
                  </a:lnTo>
                  <a:lnTo>
                    <a:pt x="19188" y="7360"/>
                  </a:lnTo>
                  <a:lnTo>
                    <a:pt x="19179" y="7368"/>
                  </a:lnTo>
                  <a:lnTo>
                    <a:pt x="19179" y="7377"/>
                  </a:lnTo>
                  <a:lnTo>
                    <a:pt x="19179" y="7395"/>
                  </a:lnTo>
                  <a:lnTo>
                    <a:pt x="19179" y="7404"/>
                  </a:lnTo>
                  <a:lnTo>
                    <a:pt x="19179" y="7413"/>
                  </a:lnTo>
                  <a:lnTo>
                    <a:pt x="19170" y="7413"/>
                  </a:lnTo>
                  <a:lnTo>
                    <a:pt x="19179" y="7421"/>
                  </a:lnTo>
                  <a:lnTo>
                    <a:pt x="19170" y="7421"/>
                  </a:lnTo>
                  <a:lnTo>
                    <a:pt x="19170" y="7430"/>
                  </a:lnTo>
                  <a:lnTo>
                    <a:pt x="19170" y="7448"/>
                  </a:lnTo>
                  <a:lnTo>
                    <a:pt x="19179" y="7448"/>
                  </a:lnTo>
                  <a:lnTo>
                    <a:pt x="19179" y="7457"/>
                  </a:lnTo>
                  <a:lnTo>
                    <a:pt x="19170" y="7457"/>
                  </a:lnTo>
                  <a:lnTo>
                    <a:pt x="19170" y="7466"/>
                  </a:lnTo>
                  <a:lnTo>
                    <a:pt x="19161" y="7474"/>
                  </a:lnTo>
                  <a:lnTo>
                    <a:pt x="19161" y="7483"/>
                  </a:lnTo>
                  <a:lnTo>
                    <a:pt x="19161" y="7492"/>
                  </a:lnTo>
                  <a:lnTo>
                    <a:pt x="19170" y="7501"/>
                  </a:lnTo>
                  <a:lnTo>
                    <a:pt x="19170" y="7510"/>
                  </a:lnTo>
                  <a:lnTo>
                    <a:pt x="19170" y="7501"/>
                  </a:lnTo>
                  <a:lnTo>
                    <a:pt x="19179" y="7501"/>
                  </a:lnTo>
                  <a:lnTo>
                    <a:pt x="19179" y="7492"/>
                  </a:lnTo>
                  <a:lnTo>
                    <a:pt x="19179" y="7483"/>
                  </a:lnTo>
                  <a:lnTo>
                    <a:pt x="19179" y="7474"/>
                  </a:lnTo>
                  <a:lnTo>
                    <a:pt x="19179" y="7466"/>
                  </a:lnTo>
                  <a:lnTo>
                    <a:pt x="19188" y="7457"/>
                  </a:lnTo>
                  <a:lnTo>
                    <a:pt x="19179" y="7439"/>
                  </a:lnTo>
                  <a:lnTo>
                    <a:pt x="19188" y="7439"/>
                  </a:lnTo>
                  <a:close/>
                  <a:moveTo>
                    <a:pt x="19223" y="7766"/>
                  </a:moveTo>
                  <a:lnTo>
                    <a:pt x="19214" y="7766"/>
                  </a:lnTo>
                  <a:lnTo>
                    <a:pt x="19214" y="7774"/>
                  </a:lnTo>
                  <a:lnTo>
                    <a:pt x="19223" y="7774"/>
                  </a:lnTo>
                  <a:close/>
                  <a:moveTo>
                    <a:pt x="19232" y="7748"/>
                  </a:moveTo>
                  <a:lnTo>
                    <a:pt x="19223" y="7757"/>
                  </a:lnTo>
                  <a:lnTo>
                    <a:pt x="19232" y="7757"/>
                  </a:lnTo>
                  <a:lnTo>
                    <a:pt x="19232" y="7766"/>
                  </a:lnTo>
                  <a:lnTo>
                    <a:pt x="19232" y="7757"/>
                  </a:lnTo>
                  <a:close/>
                  <a:moveTo>
                    <a:pt x="19196" y="7739"/>
                  </a:moveTo>
                  <a:lnTo>
                    <a:pt x="19196" y="7748"/>
                  </a:lnTo>
                  <a:lnTo>
                    <a:pt x="19205" y="7748"/>
                  </a:lnTo>
                  <a:close/>
                  <a:moveTo>
                    <a:pt x="19241" y="6971"/>
                  </a:moveTo>
                  <a:lnTo>
                    <a:pt x="19249" y="6971"/>
                  </a:lnTo>
                  <a:lnTo>
                    <a:pt x="19249" y="6962"/>
                  </a:lnTo>
                  <a:lnTo>
                    <a:pt x="19249" y="6954"/>
                  </a:lnTo>
                  <a:lnTo>
                    <a:pt x="19241" y="6954"/>
                  </a:lnTo>
                  <a:lnTo>
                    <a:pt x="19232" y="6954"/>
                  </a:lnTo>
                  <a:lnTo>
                    <a:pt x="19232" y="6962"/>
                  </a:lnTo>
                  <a:close/>
                  <a:moveTo>
                    <a:pt x="19170" y="7404"/>
                  </a:moveTo>
                  <a:lnTo>
                    <a:pt x="19170" y="7395"/>
                  </a:lnTo>
                  <a:lnTo>
                    <a:pt x="19170" y="7404"/>
                  </a:lnTo>
                  <a:lnTo>
                    <a:pt x="19170" y="7413"/>
                  </a:lnTo>
                  <a:close/>
                  <a:moveTo>
                    <a:pt x="19196" y="6883"/>
                  </a:moveTo>
                  <a:lnTo>
                    <a:pt x="19196" y="6874"/>
                  </a:lnTo>
                  <a:lnTo>
                    <a:pt x="19188" y="6865"/>
                  </a:lnTo>
                  <a:lnTo>
                    <a:pt x="19188" y="6874"/>
                  </a:lnTo>
                  <a:lnTo>
                    <a:pt x="19188" y="6883"/>
                  </a:lnTo>
                  <a:close/>
                  <a:moveTo>
                    <a:pt x="19196" y="7466"/>
                  </a:moveTo>
                  <a:lnTo>
                    <a:pt x="19188" y="7474"/>
                  </a:lnTo>
                  <a:lnTo>
                    <a:pt x="19196" y="7474"/>
                  </a:lnTo>
                  <a:close/>
                  <a:moveTo>
                    <a:pt x="19232" y="6892"/>
                  </a:moveTo>
                  <a:lnTo>
                    <a:pt x="19232" y="6874"/>
                  </a:lnTo>
                  <a:lnTo>
                    <a:pt x="19223" y="6874"/>
                  </a:lnTo>
                  <a:lnTo>
                    <a:pt x="19223" y="6883"/>
                  </a:lnTo>
                  <a:close/>
                  <a:moveTo>
                    <a:pt x="19514" y="8198"/>
                  </a:moveTo>
                  <a:lnTo>
                    <a:pt x="19505" y="8189"/>
                  </a:lnTo>
                  <a:lnTo>
                    <a:pt x="19496" y="8189"/>
                  </a:lnTo>
                  <a:lnTo>
                    <a:pt x="19505" y="8189"/>
                  </a:lnTo>
                  <a:close/>
                  <a:moveTo>
                    <a:pt x="19549" y="8269"/>
                  </a:moveTo>
                  <a:lnTo>
                    <a:pt x="19541" y="8269"/>
                  </a:lnTo>
                  <a:lnTo>
                    <a:pt x="19523" y="8242"/>
                  </a:lnTo>
                  <a:lnTo>
                    <a:pt x="19514" y="8242"/>
                  </a:lnTo>
                  <a:lnTo>
                    <a:pt x="19505" y="8251"/>
                  </a:lnTo>
                  <a:lnTo>
                    <a:pt x="19496" y="8251"/>
                  </a:lnTo>
                  <a:lnTo>
                    <a:pt x="19505" y="8269"/>
                  </a:lnTo>
                  <a:lnTo>
                    <a:pt x="19514" y="8277"/>
                  </a:lnTo>
                  <a:lnTo>
                    <a:pt x="19514" y="8286"/>
                  </a:lnTo>
                  <a:lnTo>
                    <a:pt x="19523" y="8286"/>
                  </a:lnTo>
                  <a:lnTo>
                    <a:pt x="19532" y="8286"/>
                  </a:lnTo>
                  <a:lnTo>
                    <a:pt x="19541" y="8304"/>
                  </a:lnTo>
                  <a:lnTo>
                    <a:pt x="19549" y="8313"/>
                  </a:lnTo>
                  <a:lnTo>
                    <a:pt x="19549" y="8304"/>
                  </a:lnTo>
                  <a:lnTo>
                    <a:pt x="19549" y="8286"/>
                  </a:lnTo>
                  <a:lnTo>
                    <a:pt x="19558" y="8277"/>
                  </a:lnTo>
                  <a:lnTo>
                    <a:pt x="19549" y="8277"/>
                  </a:lnTo>
                  <a:close/>
                  <a:moveTo>
                    <a:pt x="19444" y="8172"/>
                  </a:moveTo>
                  <a:lnTo>
                    <a:pt x="19426" y="8154"/>
                  </a:lnTo>
                  <a:lnTo>
                    <a:pt x="19417" y="8154"/>
                  </a:lnTo>
                  <a:lnTo>
                    <a:pt x="19417" y="8145"/>
                  </a:lnTo>
                  <a:lnTo>
                    <a:pt x="19408" y="8136"/>
                  </a:lnTo>
                  <a:lnTo>
                    <a:pt x="19399" y="8136"/>
                  </a:lnTo>
                  <a:lnTo>
                    <a:pt x="19399" y="8145"/>
                  </a:lnTo>
                  <a:lnTo>
                    <a:pt x="19391" y="8145"/>
                  </a:lnTo>
                  <a:lnTo>
                    <a:pt x="19399" y="8154"/>
                  </a:lnTo>
                  <a:lnTo>
                    <a:pt x="19408" y="8154"/>
                  </a:lnTo>
                  <a:lnTo>
                    <a:pt x="19408" y="8163"/>
                  </a:lnTo>
                  <a:lnTo>
                    <a:pt x="19417" y="8163"/>
                  </a:lnTo>
                  <a:lnTo>
                    <a:pt x="19435" y="8172"/>
                  </a:lnTo>
                  <a:lnTo>
                    <a:pt x="19435" y="8180"/>
                  </a:lnTo>
                  <a:lnTo>
                    <a:pt x="19444" y="8180"/>
                  </a:lnTo>
                  <a:close/>
                  <a:moveTo>
                    <a:pt x="19241" y="7810"/>
                  </a:moveTo>
                  <a:lnTo>
                    <a:pt x="19241" y="7819"/>
                  </a:lnTo>
                  <a:lnTo>
                    <a:pt x="19249" y="7810"/>
                  </a:lnTo>
                  <a:close/>
                  <a:moveTo>
                    <a:pt x="19593" y="8348"/>
                  </a:moveTo>
                  <a:lnTo>
                    <a:pt x="19585" y="8348"/>
                  </a:lnTo>
                  <a:lnTo>
                    <a:pt x="19593" y="8366"/>
                  </a:lnTo>
                  <a:lnTo>
                    <a:pt x="19593" y="8375"/>
                  </a:lnTo>
                  <a:lnTo>
                    <a:pt x="19585" y="8375"/>
                  </a:lnTo>
                  <a:lnTo>
                    <a:pt x="19585" y="8383"/>
                  </a:lnTo>
                  <a:lnTo>
                    <a:pt x="19585" y="8392"/>
                  </a:lnTo>
                  <a:lnTo>
                    <a:pt x="19593" y="8392"/>
                  </a:lnTo>
                  <a:lnTo>
                    <a:pt x="19602" y="8375"/>
                  </a:lnTo>
                  <a:lnTo>
                    <a:pt x="19602" y="8366"/>
                  </a:lnTo>
                  <a:lnTo>
                    <a:pt x="19593" y="8366"/>
                  </a:lnTo>
                  <a:close/>
                  <a:moveTo>
                    <a:pt x="19249" y="7819"/>
                  </a:moveTo>
                  <a:lnTo>
                    <a:pt x="19241" y="7827"/>
                  </a:lnTo>
                  <a:lnTo>
                    <a:pt x="19241" y="7836"/>
                  </a:lnTo>
                  <a:lnTo>
                    <a:pt x="19249" y="7836"/>
                  </a:lnTo>
                  <a:lnTo>
                    <a:pt x="19258" y="7854"/>
                  </a:lnTo>
                  <a:lnTo>
                    <a:pt x="19258" y="7845"/>
                  </a:lnTo>
                  <a:lnTo>
                    <a:pt x="19258" y="7827"/>
                  </a:lnTo>
                  <a:close/>
                  <a:moveTo>
                    <a:pt x="19320" y="7183"/>
                  </a:moveTo>
                  <a:lnTo>
                    <a:pt x="19320" y="7192"/>
                  </a:lnTo>
                  <a:lnTo>
                    <a:pt x="19329" y="7183"/>
                  </a:lnTo>
                  <a:lnTo>
                    <a:pt x="19329" y="7174"/>
                  </a:lnTo>
                  <a:close/>
                  <a:moveTo>
                    <a:pt x="19311" y="7157"/>
                  </a:moveTo>
                  <a:lnTo>
                    <a:pt x="19302" y="7165"/>
                  </a:lnTo>
                  <a:lnTo>
                    <a:pt x="19294" y="7174"/>
                  </a:lnTo>
                  <a:lnTo>
                    <a:pt x="19294" y="7183"/>
                  </a:lnTo>
                  <a:lnTo>
                    <a:pt x="19302" y="7174"/>
                  </a:lnTo>
                  <a:lnTo>
                    <a:pt x="19311" y="7174"/>
                  </a:lnTo>
                  <a:lnTo>
                    <a:pt x="19311" y="7165"/>
                  </a:lnTo>
                  <a:close/>
                  <a:moveTo>
                    <a:pt x="17750" y="8119"/>
                  </a:moveTo>
                  <a:lnTo>
                    <a:pt x="17758" y="8110"/>
                  </a:lnTo>
                  <a:lnTo>
                    <a:pt x="17750" y="8110"/>
                  </a:lnTo>
                  <a:close/>
                  <a:moveTo>
                    <a:pt x="18235" y="7642"/>
                  </a:moveTo>
                  <a:lnTo>
                    <a:pt x="18226" y="7633"/>
                  </a:lnTo>
                  <a:lnTo>
                    <a:pt x="18226" y="7642"/>
                  </a:lnTo>
                  <a:close/>
                  <a:moveTo>
                    <a:pt x="17758" y="8048"/>
                  </a:moveTo>
                  <a:lnTo>
                    <a:pt x="17758" y="8039"/>
                  </a:lnTo>
                  <a:close/>
                  <a:moveTo>
                    <a:pt x="18376" y="7810"/>
                  </a:moveTo>
                  <a:lnTo>
                    <a:pt x="18367" y="7801"/>
                  </a:lnTo>
                  <a:lnTo>
                    <a:pt x="18367" y="7792"/>
                  </a:lnTo>
                  <a:lnTo>
                    <a:pt x="18358" y="7792"/>
                  </a:lnTo>
                  <a:lnTo>
                    <a:pt x="18358" y="7783"/>
                  </a:lnTo>
                  <a:lnTo>
                    <a:pt x="18341" y="7757"/>
                  </a:lnTo>
                  <a:lnTo>
                    <a:pt x="18341" y="7748"/>
                  </a:lnTo>
                  <a:lnTo>
                    <a:pt x="18341" y="7730"/>
                  </a:lnTo>
                  <a:lnTo>
                    <a:pt x="18332" y="7730"/>
                  </a:lnTo>
                  <a:lnTo>
                    <a:pt x="18323" y="7721"/>
                  </a:lnTo>
                  <a:lnTo>
                    <a:pt x="18323" y="7713"/>
                  </a:lnTo>
                  <a:lnTo>
                    <a:pt x="18314" y="7695"/>
                  </a:lnTo>
                  <a:lnTo>
                    <a:pt x="18305" y="7695"/>
                  </a:lnTo>
                  <a:lnTo>
                    <a:pt x="18305" y="7686"/>
                  </a:lnTo>
                  <a:lnTo>
                    <a:pt x="18288" y="7668"/>
                  </a:lnTo>
                  <a:lnTo>
                    <a:pt x="18261" y="7642"/>
                  </a:lnTo>
                  <a:lnTo>
                    <a:pt x="18252" y="7633"/>
                  </a:lnTo>
                  <a:lnTo>
                    <a:pt x="18244" y="7633"/>
                  </a:lnTo>
                  <a:lnTo>
                    <a:pt x="18235" y="7633"/>
                  </a:lnTo>
                  <a:lnTo>
                    <a:pt x="18235" y="7642"/>
                  </a:lnTo>
                  <a:lnTo>
                    <a:pt x="18244" y="7642"/>
                  </a:lnTo>
                  <a:lnTo>
                    <a:pt x="18252" y="7651"/>
                  </a:lnTo>
                  <a:lnTo>
                    <a:pt x="18270" y="7651"/>
                  </a:lnTo>
                  <a:lnTo>
                    <a:pt x="18270" y="7660"/>
                  </a:lnTo>
                  <a:lnTo>
                    <a:pt x="18261" y="7660"/>
                  </a:lnTo>
                  <a:lnTo>
                    <a:pt x="18252" y="7660"/>
                  </a:lnTo>
                  <a:lnTo>
                    <a:pt x="18252" y="7651"/>
                  </a:lnTo>
                  <a:lnTo>
                    <a:pt x="18244" y="7651"/>
                  </a:lnTo>
                  <a:lnTo>
                    <a:pt x="18244" y="7660"/>
                  </a:lnTo>
                  <a:lnTo>
                    <a:pt x="18244" y="7668"/>
                  </a:lnTo>
                  <a:lnTo>
                    <a:pt x="18244" y="7677"/>
                  </a:lnTo>
                  <a:lnTo>
                    <a:pt x="18244" y="7686"/>
                  </a:lnTo>
                  <a:lnTo>
                    <a:pt x="18235" y="7704"/>
                  </a:lnTo>
                  <a:lnTo>
                    <a:pt x="18235" y="7713"/>
                  </a:lnTo>
                  <a:lnTo>
                    <a:pt x="18226" y="7739"/>
                  </a:lnTo>
                  <a:lnTo>
                    <a:pt x="18226" y="7766"/>
                  </a:lnTo>
                  <a:lnTo>
                    <a:pt x="18217" y="7766"/>
                  </a:lnTo>
                  <a:lnTo>
                    <a:pt x="18217" y="7748"/>
                  </a:lnTo>
                  <a:lnTo>
                    <a:pt x="18217" y="7757"/>
                  </a:lnTo>
                  <a:lnTo>
                    <a:pt x="18217" y="7783"/>
                  </a:lnTo>
                  <a:lnTo>
                    <a:pt x="18226" y="7792"/>
                  </a:lnTo>
                  <a:lnTo>
                    <a:pt x="18226" y="7854"/>
                  </a:lnTo>
                  <a:lnTo>
                    <a:pt x="18235" y="7871"/>
                  </a:lnTo>
                  <a:lnTo>
                    <a:pt x="18235" y="7889"/>
                  </a:lnTo>
                  <a:lnTo>
                    <a:pt x="18244" y="7898"/>
                  </a:lnTo>
                  <a:lnTo>
                    <a:pt x="18261" y="7916"/>
                  </a:lnTo>
                  <a:lnTo>
                    <a:pt x="18270" y="7916"/>
                  </a:lnTo>
                  <a:lnTo>
                    <a:pt x="18288" y="7916"/>
                  </a:lnTo>
                  <a:lnTo>
                    <a:pt x="18305" y="7907"/>
                  </a:lnTo>
                  <a:lnTo>
                    <a:pt x="18332" y="7898"/>
                  </a:lnTo>
                  <a:lnTo>
                    <a:pt x="18341" y="7898"/>
                  </a:lnTo>
                  <a:lnTo>
                    <a:pt x="18358" y="7880"/>
                  </a:lnTo>
                  <a:lnTo>
                    <a:pt x="18367" y="7871"/>
                  </a:lnTo>
                  <a:lnTo>
                    <a:pt x="18367" y="7854"/>
                  </a:lnTo>
                  <a:lnTo>
                    <a:pt x="18376" y="7845"/>
                  </a:lnTo>
                  <a:lnTo>
                    <a:pt x="18376" y="7836"/>
                  </a:lnTo>
                  <a:lnTo>
                    <a:pt x="18376" y="7819"/>
                  </a:lnTo>
                  <a:close/>
                  <a:moveTo>
                    <a:pt x="18217" y="7686"/>
                  </a:moveTo>
                  <a:lnTo>
                    <a:pt x="18226" y="7686"/>
                  </a:lnTo>
                  <a:lnTo>
                    <a:pt x="18235" y="7695"/>
                  </a:lnTo>
                  <a:lnTo>
                    <a:pt x="18226" y="7686"/>
                  </a:lnTo>
                  <a:close/>
                  <a:moveTo>
                    <a:pt x="19646" y="8463"/>
                  </a:moveTo>
                  <a:lnTo>
                    <a:pt x="19646" y="8454"/>
                  </a:lnTo>
                  <a:lnTo>
                    <a:pt x="19638" y="8445"/>
                  </a:lnTo>
                  <a:lnTo>
                    <a:pt x="19629" y="8427"/>
                  </a:lnTo>
                  <a:lnTo>
                    <a:pt x="19629" y="8419"/>
                  </a:lnTo>
                  <a:lnTo>
                    <a:pt x="19611" y="8419"/>
                  </a:lnTo>
                  <a:lnTo>
                    <a:pt x="19602" y="8436"/>
                  </a:lnTo>
                  <a:lnTo>
                    <a:pt x="19611" y="8445"/>
                  </a:lnTo>
                  <a:lnTo>
                    <a:pt x="19620" y="8463"/>
                  </a:lnTo>
                  <a:lnTo>
                    <a:pt x="19620" y="8472"/>
                  </a:lnTo>
                  <a:lnTo>
                    <a:pt x="19629" y="8472"/>
                  </a:lnTo>
                  <a:lnTo>
                    <a:pt x="19638" y="8480"/>
                  </a:lnTo>
                  <a:lnTo>
                    <a:pt x="19646" y="8480"/>
                  </a:lnTo>
                  <a:lnTo>
                    <a:pt x="19655" y="8480"/>
                  </a:lnTo>
                  <a:lnTo>
                    <a:pt x="19655" y="8472"/>
                  </a:lnTo>
                  <a:close/>
                  <a:moveTo>
                    <a:pt x="17705" y="7527"/>
                  </a:moveTo>
                  <a:close/>
                  <a:moveTo>
                    <a:pt x="19179" y="7677"/>
                  </a:moveTo>
                  <a:lnTo>
                    <a:pt x="19170" y="7677"/>
                  </a:lnTo>
                  <a:lnTo>
                    <a:pt x="19170" y="7686"/>
                  </a:lnTo>
                  <a:lnTo>
                    <a:pt x="19179" y="7686"/>
                  </a:lnTo>
                  <a:close/>
                  <a:moveTo>
                    <a:pt x="17732" y="7739"/>
                  </a:moveTo>
                  <a:lnTo>
                    <a:pt x="17723" y="7748"/>
                  </a:lnTo>
                  <a:lnTo>
                    <a:pt x="17732" y="7748"/>
                  </a:lnTo>
                  <a:close/>
                  <a:moveTo>
                    <a:pt x="17767" y="12646"/>
                  </a:moveTo>
                  <a:lnTo>
                    <a:pt x="17750" y="12646"/>
                  </a:lnTo>
                  <a:lnTo>
                    <a:pt x="17750" y="12637"/>
                  </a:lnTo>
                  <a:lnTo>
                    <a:pt x="17741" y="12637"/>
                  </a:lnTo>
                  <a:lnTo>
                    <a:pt x="17741" y="12646"/>
                  </a:lnTo>
                  <a:lnTo>
                    <a:pt x="17750" y="12646"/>
                  </a:lnTo>
                  <a:lnTo>
                    <a:pt x="17750" y="12655"/>
                  </a:lnTo>
                  <a:lnTo>
                    <a:pt x="17758" y="12664"/>
                  </a:lnTo>
                  <a:lnTo>
                    <a:pt x="17767" y="12664"/>
                  </a:lnTo>
                  <a:lnTo>
                    <a:pt x="17776" y="12655"/>
                  </a:lnTo>
                  <a:lnTo>
                    <a:pt x="17785" y="12655"/>
                  </a:lnTo>
                  <a:lnTo>
                    <a:pt x="17776" y="12655"/>
                  </a:lnTo>
                  <a:close/>
                  <a:moveTo>
                    <a:pt x="19117" y="6742"/>
                  </a:moveTo>
                  <a:lnTo>
                    <a:pt x="19108" y="6742"/>
                  </a:lnTo>
                  <a:lnTo>
                    <a:pt x="19108" y="6751"/>
                  </a:lnTo>
                  <a:lnTo>
                    <a:pt x="19108" y="6759"/>
                  </a:lnTo>
                  <a:lnTo>
                    <a:pt x="19117" y="6759"/>
                  </a:lnTo>
                  <a:lnTo>
                    <a:pt x="19117" y="6751"/>
                  </a:lnTo>
                  <a:close/>
                  <a:moveTo>
                    <a:pt x="19161" y="7554"/>
                  </a:moveTo>
                  <a:lnTo>
                    <a:pt x="19152" y="7554"/>
                  </a:lnTo>
                  <a:lnTo>
                    <a:pt x="19144" y="7563"/>
                  </a:lnTo>
                  <a:lnTo>
                    <a:pt x="19144" y="7571"/>
                  </a:lnTo>
                  <a:lnTo>
                    <a:pt x="19144" y="7580"/>
                  </a:lnTo>
                  <a:lnTo>
                    <a:pt x="19152" y="7580"/>
                  </a:lnTo>
                  <a:lnTo>
                    <a:pt x="19161" y="7563"/>
                  </a:lnTo>
                  <a:close/>
                  <a:moveTo>
                    <a:pt x="19170" y="7510"/>
                  </a:moveTo>
                  <a:lnTo>
                    <a:pt x="19161" y="7518"/>
                  </a:lnTo>
                  <a:lnTo>
                    <a:pt x="19170" y="7518"/>
                  </a:lnTo>
                  <a:close/>
                  <a:moveTo>
                    <a:pt x="19108" y="6724"/>
                  </a:moveTo>
                  <a:lnTo>
                    <a:pt x="19108" y="6733"/>
                  </a:lnTo>
                  <a:close/>
                  <a:moveTo>
                    <a:pt x="19020" y="6645"/>
                  </a:moveTo>
                  <a:lnTo>
                    <a:pt x="19011" y="6636"/>
                  </a:lnTo>
                  <a:lnTo>
                    <a:pt x="19011" y="6645"/>
                  </a:lnTo>
                  <a:close/>
                  <a:moveTo>
                    <a:pt x="19020" y="6662"/>
                  </a:moveTo>
                  <a:lnTo>
                    <a:pt x="19020" y="6654"/>
                  </a:lnTo>
                  <a:lnTo>
                    <a:pt x="19011" y="6654"/>
                  </a:lnTo>
                  <a:lnTo>
                    <a:pt x="19011" y="6662"/>
                  </a:lnTo>
                  <a:lnTo>
                    <a:pt x="19011" y="6671"/>
                  </a:lnTo>
                  <a:lnTo>
                    <a:pt x="19020" y="6680"/>
                  </a:lnTo>
                  <a:lnTo>
                    <a:pt x="19020" y="6689"/>
                  </a:lnTo>
                  <a:lnTo>
                    <a:pt x="19011" y="6715"/>
                  </a:lnTo>
                  <a:lnTo>
                    <a:pt x="19020" y="6715"/>
                  </a:lnTo>
                  <a:lnTo>
                    <a:pt x="19029" y="6706"/>
                  </a:lnTo>
                  <a:lnTo>
                    <a:pt x="19038" y="6706"/>
                  </a:lnTo>
                  <a:lnTo>
                    <a:pt x="19038" y="6689"/>
                  </a:lnTo>
                  <a:lnTo>
                    <a:pt x="19038" y="6680"/>
                  </a:lnTo>
                  <a:lnTo>
                    <a:pt x="19029" y="6671"/>
                  </a:lnTo>
                  <a:close/>
                  <a:moveTo>
                    <a:pt x="19082" y="6680"/>
                  </a:moveTo>
                  <a:lnTo>
                    <a:pt x="19082" y="6671"/>
                  </a:lnTo>
                  <a:lnTo>
                    <a:pt x="19073" y="6680"/>
                  </a:lnTo>
                  <a:lnTo>
                    <a:pt x="19082" y="6689"/>
                  </a:lnTo>
                  <a:lnTo>
                    <a:pt x="19091" y="6689"/>
                  </a:lnTo>
                  <a:close/>
                  <a:moveTo>
                    <a:pt x="19055" y="6680"/>
                  </a:moveTo>
                  <a:lnTo>
                    <a:pt x="19046" y="6706"/>
                  </a:lnTo>
                  <a:lnTo>
                    <a:pt x="19055" y="6706"/>
                  </a:lnTo>
                  <a:lnTo>
                    <a:pt x="19055" y="6698"/>
                  </a:lnTo>
                  <a:lnTo>
                    <a:pt x="19055" y="6689"/>
                  </a:lnTo>
                  <a:close/>
                  <a:moveTo>
                    <a:pt x="19585" y="7757"/>
                  </a:moveTo>
                  <a:lnTo>
                    <a:pt x="19576" y="7774"/>
                  </a:lnTo>
                  <a:lnTo>
                    <a:pt x="19585" y="7783"/>
                  </a:lnTo>
                  <a:lnTo>
                    <a:pt x="19585" y="7774"/>
                  </a:lnTo>
                  <a:lnTo>
                    <a:pt x="19593" y="7774"/>
                  </a:lnTo>
                  <a:lnTo>
                    <a:pt x="19593" y="7766"/>
                  </a:lnTo>
                  <a:lnTo>
                    <a:pt x="19593" y="7757"/>
                  </a:lnTo>
                  <a:close/>
                  <a:moveTo>
                    <a:pt x="19805" y="8127"/>
                  </a:moveTo>
                  <a:lnTo>
                    <a:pt x="19796" y="8136"/>
                  </a:lnTo>
                  <a:lnTo>
                    <a:pt x="19805" y="8136"/>
                  </a:lnTo>
                  <a:close/>
                  <a:moveTo>
                    <a:pt x="19682" y="7889"/>
                  </a:moveTo>
                  <a:lnTo>
                    <a:pt x="19691" y="7889"/>
                  </a:lnTo>
                  <a:lnTo>
                    <a:pt x="19699" y="7889"/>
                  </a:lnTo>
                  <a:lnTo>
                    <a:pt x="19699" y="7880"/>
                  </a:lnTo>
                  <a:lnTo>
                    <a:pt x="19691" y="7880"/>
                  </a:lnTo>
                  <a:lnTo>
                    <a:pt x="19682" y="7880"/>
                  </a:lnTo>
                  <a:close/>
                  <a:moveTo>
                    <a:pt x="19735" y="7960"/>
                  </a:moveTo>
                  <a:lnTo>
                    <a:pt x="19735" y="7951"/>
                  </a:lnTo>
                  <a:lnTo>
                    <a:pt x="19726" y="7951"/>
                  </a:lnTo>
                  <a:lnTo>
                    <a:pt x="19726" y="7969"/>
                  </a:lnTo>
                  <a:lnTo>
                    <a:pt x="19726" y="7960"/>
                  </a:lnTo>
                  <a:close/>
                  <a:moveTo>
                    <a:pt x="19638" y="7792"/>
                  </a:moveTo>
                  <a:lnTo>
                    <a:pt x="19638" y="7801"/>
                  </a:lnTo>
                  <a:close/>
                  <a:moveTo>
                    <a:pt x="19682" y="7871"/>
                  </a:moveTo>
                  <a:lnTo>
                    <a:pt x="19682" y="7863"/>
                  </a:lnTo>
                  <a:close/>
                  <a:moveTo>
                    <a:pt x="19567" y="7439"/>
                  </a:moveTo>
                  <a:lnTo>
                    <a:pt x="19558" y="7439"/>
                  </a:lnTo>
                  <a:lnTo>
                    <a:pt x="19558" y="7448"/>
                  </a:lnTo>
                  <a:lnTo>
                    <a:pt x="19567" y="7448"/>
                  </a:lnTo>
                  <a:close/>
                  <a:moveTo>
                    <a:pt x="17679" y="8878"/>
                  </a:moveTo>
                  <a:lnTo>
                    <a:pt x="17688" y="8886"/>
                  </a:lnTo>
                  <a:lnTo>
                    <a:pt x="17679" y="8895"/>
                  </a:lnTo>
                  <a:lnTo>
                    <a:pt x="17679" y="8886"/>
                  </a:lnTo>
                  <a:lnTo>
                    <a:pt x="17679" y="8895"/>
                  </a:lnTo>
                  <a:lnTo>
                    <a:pt x="17688" y="8895"/>
                  </a:lnTo>
                  <a:lnTo>
                    <a:pt x="17688" y="8886"/>
                  </a:lnTo>
                  <a:close/>
                  <a:moveTo>
                    <a:pt x="19602" y="7766"/>
                  </a:moveTo>
                  <a:lnTo>
                    <a:pt x="19602" y="7757"/>
                  </a:lnTo>
                  <a:lnTo>
                    <a:pt x="19602" y="7774"/>
                  </a:lnTo>
                  <a:close/>
                  <a:moveTo>
                    <a:pt x="19955" y="8295"/>
                  </a:moveTo>
                  <a:lnTo>
                    <a:pt x="19964" y="8304"/>
                  </a:lnTo>
                  <a:lnTo>
                    <a:pt x="19964" y="8295"/>
                  </a:lnTo>
                  <a:lnTo>
                    <a:pt x="19955" y="8286"/>
                  </a:lnTo>
                  <a:close/>
                  <a:moveTo>
                    <a:pt x="19955" y="8269"/>
                  </a:moveTo>
                  <a:lnTo>
                    <a:pt x="19955" y="8277"/>
                  </a:lnTo>
                  <a:lnTo>
                    <a:pt x="19964" y="8277"/>
                  </a:lnTo>
                  <a:lnTo>
                    <a:pt x="19955" y="8277"/>
                  </a:lnTo>
                  <a:close/>
                  <a:moveTo>
                    <a:pt x="19885" y="8251"/>
                  </a:moveTo>
                  <a:lnTo>
                    <a:pt x="19876" y="8251"/>
                  </a:lnTo>
                  <a:lnTo>
                    <a:pt x="19876" y="8260"/>
                  </a:lnTo>
                  <a:lnTo>
                    <a:pt x="19876" y="8269"/>
                  </a:lnTo>
                  <a:lnTo>
                    <a:pt x="19876" y="8277"/>
                  </a:lnTo>
                  <a:lnTo>
                    <a:pt x="19885" y="8277"/>
                  </a:lnTo>
                  <a:lnTo>
                    <a:pt x="19885" y="8269"/>
                  </a:lnTo>
                  <a:lnTo>
                    <a:pt x="19885" y="8260"/>
                  </a:lnTo>
                  <a:close/>
                  <a:moveTo>
                    <a:pt x="19567" y="7492"/>
                  </a:moveTo>
                  <a:lnTo>
                    <a:pt x="19558" y="7483"/>
                  </a:lnTo>
                  <a:lnTo>
                    <a:pt x="19558" y="7492"/>
                  </a:lnTo>
                  <a:lnTo>
                    <a:pt x="19567" y="7501"/>
                  </a:lnTo>
                  <a:close/>
                  <a:moveTo>
                    <a:pt x="19893" y="8242"/>
                  </a:moveTo>
                  <a:lnTo>
                    <a:pt x="19858" y="8233"/>
                  </a:lnTo>
                  <a:lnTo>
                    <a:pt x="19858" y="8242"/>
                  </a:lnTo>
                  <a:lnTo>
                    <a:pt x="19867" y="8242"/>
                  </a:lnTo>
                  <a:lnTo>
                    <a:pt x="19876" y="8242"/>
                  </a:lnTo>
                  <a:lnTo>
                    <a:pt x="19885" y="8251"/>
                  </a:lnTo>
                  <a:lnTo>
                    <a:pt x="19893" y="8251"/>
                  </a:lnTo>
                  <a:close/>
                  <a:moveTo>
                    <a:pt x="19814" y="8225"/>
                  </a:moveTo>
                  <a:lnTo>
                    <a:pt x="19823" y="8225"/>
                  </a:lnTo>
                  <a:lnTo>
                    <a:pt x="19832" y="8225"/>
                  </a:lnTo>
                  <a:lnTo>
                    <a:pt x="19832" y="8216"/>
                  </a:lnTo>
                  <a:lnTo>
                    <a:pt x="19841" y="8207"/>
                  </a:lnTo>
                  <a:lnTo>
                    <a:pt x="19832" y="8198"/>
                  </a:lnTo>
                  <a:lnTo>
                    <a:pt x="19823" y="8198"/>
                  </a:lnTo>
                  <a:lnTo>
                    <a:pt x="19814" y="8198"/>
                  </a:lnTo>
                  <a:lnTo>
                    <a:pt x="19814" y="8207"/>
                  </a:lnTo>
                  <a:lnTo>
                    <a:pt x="19814" y="8216"/>
                  </a:lnTo>
                  <a:close/>
                  <a:moveTo>
                    <a:pt x="19893" y="8269"/>
                  </a:moveTo>
                  <a:lnTo>
                    <a:pt x="19893" y="8277"/>
                  </a:lnTo>
                  <a:lnTo>
                    <a:pt x="19885" y="8286"/>
                  </a:lnTo>
                  <a:lnTo>
                    <a:pt x="19893" y="8286"/>
                  </a:lnTo>
                  <a:lnTo>
                    <a:pt x="19911" y="8295"/>
                  </a:lnTo>
                  <a:lnTo>
                    <a:pt x="19929" y="8295"/>
                  </a:lnTo>
                  <a:lnTo>
                    <a:pt x="19929" y="8286"/>
                  </a:lnTo>
                  <a:lnTo>
                    <a:pt x="19920" y="8286"/>
                  </a:lnTo>
                  <a:lnTo>
                    <a:pt x="19911" y="8277"/>
                  </a:lnTo>
                  <a:lnTo>
                    <a:pt x="19902" y="8277"/>
                  </a:lnTo>
                  <a:close/>
                  <a:moveTo>
                    <a:pt x="19929" y="8277"/>
                  </a:moveTo>
                  <a:lnTo>
                    <a:pt x="19911" y="8269"/>
                  </a:lnTo>
                  <a:lnTo>
                    <a:pt x="19902" y="8277"/>
                  </a:lnTo>
                  <a:lnTo>
                    <a:pt x="19911" y="8277"/>
                  </a:lnTo>
                  <a:lnTo>
                    <a:pt x="19920" y="8277"/>
                  </a:lnTo>
                  <a:lnTo>
                    <a:pt x="19929" y="8286"/>
                  </a:lnTo>
                  <a:lnTo>
                    <a:pt x="19938" y="8286"/>
                  </a:lnTo>
                  <a:lnTo>
                    <a:pt x="19938" y="8277"/>
                  </a:lnTo>
                  <a:close/>
                  <a:moveTo>
                    <a:pt x="19938" y="8313"/>
                  </a:moveTo>
                  <a:lnTo>
                    <a:pt x="19946" y="8313"/>
                  </a:lnTo>
                  <a:lnTo>
                    <a:pt x="19946" y="8304"/>
                  </a:lnTo>
                  <a:lnTo>
                    <a:pt x="19938" y="8304"/>
                  </a:lnTo>
                  <a:close/>
                  <a:moveTo>
                    <a:pt x="19726" y="8551"/>
                  </a:moveTo>
                  <a:lnTo>
                    <a:pt x="19708" y="8533"/>
                  </a:lnTo>
                  <a:lnTo>
                    <a:pt x="19708" y="8542"/>
                  </a:lnTo>
                  <a:lnTo>
                    <a:pt x="19708" y="8551"/>
                  </a:lnTo>
                  <a:lnTo>
                    <a:pt x="19708" y="8560"/>
                  </a:lnTo>
                  <a:lnTo>
                    <a:pt x="19717" y="8560"/>
                  </a:lnTo>
                  <a:close/>
                  <a:moveTo>
                    <a:pt x="19364" y="7924"/>
                  </a:moveTo>
                  <a:lnTo>
                    <a:pt x="19364" y="7916"/>
                  </a:lnTo>
                  <a:lnTo>
                    <a:pt x="19355" y="7916"/>
                  </a:lnTo>
                  <a:lnTo>
                    <a:pt x="19355" y="7924"/>
                  </a:lnTo>
                  <a:close/>
                  <a:moveTo>
                    <a:pt x="19532" y="7157"/>
                  </a:moveTo>
                  <a:lnTo>
                    <a:pt x="19532" y="7139"/>
                  </a:lnTo>
                  <a:lnTo>
                    <a:pt x="19523" y="7130"/>
                  </a:lnTo>
                  <a:lnTo>
                    <a:pt x="19523" y="7139"/>
                  </a:lnTo>
                  <a:lnTo>
                    <a:pt x="19523" y="7148"/>
                  </a:lnTo>
                  <a:lnTo>
                    <a:pt x="19523" y="7157"/>
                  </a:lnTo>
                  <a:close/>
                  <a:moveTo>
                    <a:pt x="20096" y="8763"/>
                  </a:moveTo>
                  <a:lnTo>
                    <a:pt x="20105" y="8754"/>
                  </a:lnTo>
                  <a:lnTo>
                    <a:pt x="20114" y="8763"/>
                  </a:lnTo>
                  <a:lnTo>
                    <a:pt x="20114" y="8772"/>
                  </a:lnTo>
                  <a:lnTo>
                    <a:pt x="20123" y="8772"/>
                  </a:lnTo>
                  <a:lnTo>
                    <a:pt x="20123" y="8781"/>
                  </a:lnTo>
                  <a:lnTo>
                    <a:pt x="20132" y="8781"/>
                  </a:lnTo>
                  <a:lnTo>
                    <a:pt x="20132" y="8772"/>
                  </a:lnTo>
                  <a:lnTo>
                    <a:pt x="20132" y="8763"/>
                  </a:lnTo>
                  <a:lnTo>
                    <a:pt x="20140" y="8719"/>
                  </a:lnTo>
                  <a:lnTo>
                    <a:pt x="20140" y="8701"/>
                  </a:lnTo>
                  <a:lnTo>
                    <a:pt x="20140" y="8692"/>
                  </a:lnTo>
                  <a:lnTo>
                    <a:pt x="20140" y="8683"/>
                  </a:lnTo>
                  <a:lnTo>
                    <a:pt x="20140" y="8657"/>
                  </a:lnTo>
                  <a:lnTo>
                    <a:pt x="20140" y="8648"/>
                  </a:lnTo>
                  <a:lnTo>
                    <a:pt x="20140" y="8630"/>
                  </a:lnTo>
                  <a:lnTo>
                    <a:pt x="20140" y="8622"/>
                  </a:lnTo>
                  <a:lnTo>
                    <a:pt x="20140" y="8613"/>
                  </a:lnTo>
                  <a:lnTo>
                    <a:pt x="20140" y="8604"/>
                  </a:lnTo>
                  <a:lnTo>
                    <a:pt x="20149" y="8586"/>
                  </a:lnTo>
                  <a:lnTo>
                    <a:pt x="20149" y="8578"/>
                  </a:lnTo>
                  <a:lnTo>
                    <a:pt x="20140" y="8560"/>
                  </a:lnTo>
                  <a:lnTo>
                    <a:pt x="20114" y="8533"/>
                  </a:lnTo>
                  <a:lnTo>
                    <a:pt x="20114" y="8525"/>
                  </a:lnTo>
                  <a:lnTo>
                    <a:pt x="20105" y="8525"/>
                  </a:lnTo>
                  <a:lnTo>
                    <a:pt x="20096" y="8525"/>
                  </a:lnTo>
                  <a:lnTo>
                    <a:pt x="20079" y="8525"/>
                  </a:lnTo>
                  <a:lnTo>
                    <a:pt x="20070" y="8525"/>
                  </a:lnTo>
                  <a:lnTo>
                    <a:pt x="20052" y="8542"/>
                  </a:lnTo>
                  <a:lnTo>
                    <a:pt x="20052" y="8533"/>
                  </a:lnTo>
                  <a:lnTo>
                    <a:pt x="20052" y="8525"/>
                  </a:lnTo>
                  <a:lnTo>
                    <a:pt x="20061" y="8516"/>
                  </a:lnTo>
                  <a:lnTo>
                    <a:pt x="20061" y="8507"/>
                  </a:lnTo>
                  <a:lnTo>
                    <a:pt x="20061" y="8498"/>
                  </a:lnTo>
                  <a:lnTo>
                    <a:pt x="20052" y="8498"/>
                  </a:lnTo>
                  <a:lnTo>
                    <a:pt x="20043" y="8489"/>
                  </a:lnTo>
                  <a:lnTo>
                    <a:pt x="20043" y="8480"/>
                  </a:lnTo>
                  <a:lnTo>
                    <a:pt x="20043" y="8472"/>
                  </a:lnTo>
                  <a:lnTo>
                    <a:pt x="20035" y="8472"/>
                  </a:lnTo>
                  <a:lnTo>
                    <a:pt x="20035" y="8454"/>
                  </a:lnTo>
                  <a:lnTo>
                    <a:pt x="20035" y="8445"/>
                  </a:lnTo>
                  <a:lnTo>
                    <a:pt x="20026" y="8427"/>
                  </a:lnTo>
                  <a:lnTo>
                    <a:pt x="20017" y="8427"/>
                  </a:lnTo>
                  <a:lnTo>
                    <a:pt x="20008" y="8427"/>
                  </a:lnTo>
                  <a:lnTo>
                    <a:pt x="19999" y="8419"/>
                  </a:lnTo>
                  <a:lnTo>
                    <a:pt x="19982" y="8419"/>
                  </a:lnTo>
                  <a:lnTo>
                    <a:pt x="19973" y="8410"/>
                  </a:lnTo>
                  <a:lnTo>
                    <a:pt x="19964" y="8410"/>
                  </a:lnTo>
                  <a:lnTo>
                    <a:pt x="19964" y="8392"/>
                  </a:lnTo>
                  <a:lnTo>
                    <a:pt x="19964" y="8383"/>
                  </a:lnTo>
                  <a:lnTo>
                    <a:pt x="19955" y="8375"/>
                  </a:lnTo>
                  <a:lnTo>
                    <a:pt x="19964" y="8375"/>
                  </a:lnTo>
                  <a:lnTo>
                    <a:pt x="19955" y="8366"/>
                  </a:lnTo>
                  <a:lnTo>
                    <a:pt x="19964" y="8366"/>
                  </a:lnTo>
                  <a:lnTo>
                    <a:pt x="19973" y="8357"/>
                  </a:lnTo>
                  <a:lnTo>
                    <a:pt x="19982" y="8357"/>
                  </a:lnTo>
                  <a:lnTo>
                    <a:pt x="19990" y="8348"/>
                  </a:lnTo>
                  <a:lnTo>
                    <a:pt x="19982" y="8339"/>
                  </a:lnTo>
                  <a:lnTo>
                    <a:pt x="19982" y="8330"/>
                  </a:lnTo>
                  <a:lnTo>
                    <a:pt x="19973" y="8322"/>
                  </a:lnTo>
                  <a:lnTo>
                    <a:pt x="19964" y="8313"/>
                  </a:lnTo>
                  <a:lnTo>
                    <a:pt x="19955" y="8313"/>
                  </a:lnTo>
                  <a:lnTo>
                    <a:pt x="19946" y="8313"/>
                  </a:lnTo>
                  <a:lnTo>
                    <a:pt x="19938" y="8322"/>
                  </a:lnTo>
                  <a:lnTo>
                    <a:pt x="19929" y="8330"/>
                  </a:lnTo>
                  <a:lnTo>
                    <a:pt x="19920" y="8330"/>
                  </a:lnTo>
                  <a:lnTo>
                    <a:pt x="19911" y="8330"/>
                  </a:lnTo>
                  <a:lnTo>
                    <a:pt x="19893" y="8339"/>
                  </a:lnTo>
                  <a:lnTo>
                    <a:pt x="19911" y="8330"/>
                  </a:lnTo>
                  <a:lnTo>
                    <a:pt x="19929" y="8322"/>
                  </a:lnTo>
                  <a:lnTo>
                    <a:pt x="19938" y="8313"/>
                  </a:lnTo>
                  <a:lnTo>
                    <a:pt x="19929" y="8313"/>
                  </a:lnTo>
                  <a:lnTo>
                    <a:pt x="19929" y="8304"/>
                  </a:lnTo>
                  <a:lnTo>
                    <a:pt x="19920" y="8295"/>
                  </a:lnTo>
                  <a:lnTo>
                    <a:pt x="19893" y="8295"/>
                  </a:lnTo>
                  <a:lnTo>
                    <a:pt x="19885" y="8286"/>
                  </a:lnTo>
                  <a:lnTo>
                    <a:pt x="19876" y="8277"/>
                  </a:lnTo>
                  <a:lnTo>
                    <a:pt x="19867" y="8277"/>
                  </a:lnTo>
                  <a:lnTo>
                    <a:pt x="19867" y="8269"/>
                  </a:lnTo>
                  <a:lnTo>
                    <a:pt x="19867" y="8260"/>
                  </a:lnTo>
                  <a:lnTo>
                    <a:pt x="19858" y="8251"/>
                  </a:lnTo>
                  <a:lnTo>
                    <a:pt x="19858" y="8242"/>
                  </a:lnTo>
                  <a:lnTo>
                    <a:pt x="19841" y="8233"/>
                  </a:lnTo>
                  <a:lnTo>
                    <a:pt x="19832" y="8233"/>
                  </a:lnTo>
                  <a:lnTo>
                    <a:pt x="19823" y="8233"/>
                  </a:lnTo>
                  <a:lnTo>
                    <a:pt x="19814" y="8225"/>
                  </a:lnTo>
                  <a:lnTo>
                    <a:pt x="19805" y="8216"/>
                  </a:lnTo>
                  <a:lnTo>
                    <a:pt x="19805" y="8207"/>
                  </a:lnTo>
                  <a:lnTo>
                    <a:pt x="19796" y="8198"/>
                  </a:lnTo>
                  <a:lnTo>
                    <a:pt x="19788" y="8189"/>
                  </a:lnTo>
                  <a:lnTo>
                    <a:pt x="19779" y="8180"/>
                  </a:lnTo>
                  <a:lnTo>
                    <a:pt x="19770" y="8180"/>
                  </a:lnTo>
                  <a:lnTo>
                    <a:pt x="19770" y="8189"/>
                  </a:lnTo>
                  <a:lnTo>
                    <a:pt x="19770" y="8198"/>
                  </a:lnTo>
                  <a:lnTo>
                    <a:pt x="19770" y="8207"/>
                  </a:lnTo>
                  <a:lnTo>
                    <a:pt x="19761" y="8198"/>
                  </a:lnTo>
                  <a:lnTo>
                    <a:pt x="19752" y="8198"/>
                  </a:lnTo>
                  <a:lnTo>
                    <a:pt x="19743" y="8189"/>
                  </a:lnTo>
                  <a:lnTo>
                    <a:pt x="19735" y="8180"/>
                  </a:lnTo>
                  <a:lnTo>
                    <a:pt x="19735" y="8172"/>
                  </a:lnTo>
                  <a:lnTo>
                    <a:pt x="19717" y="8154"/>
                  </a:lnTo>
                  <a:lnTo>
                    <a:pt x="19708" y="8145"/>
                  </a:lnTo>
                  <a:lnTo>
                    <a:pt x="19708" y="8136"/>
                  </a:lnTo>
                  <a:lnTo>
                    <a:pt x="19699" y="8136"/>
                  </a:lnTo>
                  <a:lnTo>
                    <a:pt x="19691" y="8119"/>
                  </a:lnTo>
                  <a:lnTo>
                    <a:pt x="19673" y="8110"/>
                  </a:lnTo>
                  <a:lnTo>
                    <a:pt x="19646" y="8092"/>
                  </a:lnTo>
                  <a:lnTo>
                    <a:pt x="19629" y="8083"/>
                  </a:lnTo>
                  <a:lnTo>
                    <a:pt x="19620" y="8074"/>
                  </a:lnTo>
                  <a:lnTo>
                    <a:pt x="19611" y="8074"/>
                  </a:lnTo>
                  <a:lnTo>
                    <a:pt x="19611" y="8066"/>
                  </a:lnTo>
                  <a:lnTo>
                    <a:pt x="19602" y="8057"/>
                  </a:lnTo>
                  <a:lnTo>
                    <a:pt x="19585" y="8048"/>
                  </a:lnTo>
                  <a:lnTo>
                    <a:pt x="19576" y="8048"/>
                  </a:lnTo>
                  <a:lnTo>
                    <a:pt x="19585" y="8039"/>
                  </a:lnTo>
                  <a:lnTo>
                    <a:pt x="19576" y="8030"/>
                  </a:lnTo>
                  <a:lnTo>
                    <a:pt x="19558" y="8013"/>
                  </a:lnTo>
                  <a:lnTo>
                    <a:pt x="19558" y="8004"/>
                  </a:lnTo>
                  <a:lnTo>
                    <a:pt x="19558" y="7995"/>
                  </a:lnTo>
                  <a:lnTo>
                    <a:pt x="19541" y="7986"/>
                  </a:lnTo>
                  <a:lnTo>
                    <a:pt x="19532" y="7977"/>
                  </a:lnTo>
                  <a:lnTo>
                    <a:pt x="19532" y="7969"/>
                  </a:lnTo>
                  <a:lnTo>
                    <a:pt x="19523" y="7969"/>
                  </a:lnTo>
                  <a:lnTo>
                    <a:pt x="19505" y="7969"/>
                  </a:lnTo>
                  <a:lnTo>
                    <a:pt x="19496" y="7969"/>
                  </a:lnTo>
                  <a:lnTo>
                    <a:pt x="19488" y="7969"/>
                  </a:lnTo>
                  <a:lnTo>
                    <a:pt x="19479" y="7969"/>
                  </a:lnTo>
                  <a:lnTo>
                    <a:pt x="19461" y="7969"/>
                  </a:lnTo>
                  <a:lnTo>
                    <a:pt x="19452" y="7969"/>
                  </a:lnTo>
                  <a:lnTo>
                    <a:pt x="19435" y="7969"/>
                  </a:lnTo>
                  <a:lnTo>
                    <a:pt x="19426" y="7960"/>
                  </a:lnTo>
                  <a:lnTo>
                    <a:pt x="19417" y="7960"/>
                  </a:lnTo>
                  <a:lnTo>
                    <a:pt x="19399" y="7951"/>
                  </a:lnTo>
                  <a:lnTo>
                    <a:pt x="19391" y="7942"/>
                  </a:lnTo>
                  <a:lnTo>
                    <a:pt x="19382" y="7942"/>
                  </a:lnTo>
                  <a:lnTo>
                    <a:pt x="19373" y="7942"/>
                  </a:lnTo>
                  <a:lnTo>
                    <a:pt x="19364" y="7942"/>
                  </a:lnTo>
                  <a:lnTo>
                    <a:pt x="19355" y="7942"/>
                  </a:lnTo>
                  <a:lnTo>
                    <a:pt x="19355" y="7951"/>
                  </a:lnTo>
                  <a:lnTo>
                    <a:pt x="19355" y="7960"/>
                  </a:lnTo>
                  <a:lnTo>
                    <a:pt x="19355" y="7969"/>
                  </a:lnTo>
                  <a:lnTo>
                    <a:pt x="19364" y="7986"/>
                  </a:lnTo>
                  <a:lnTo>
                    <a:pt x="19373" y="7995"/>
                  </a:lnTo>
                  <a:lnTo>
                    <a:pt x="19373" y="8004"/>
                  </a:lnTo>
                  <a:lnTo>
                    <a:pt x="19382" y="8013"/>
                  </a:lnTo>
                  <a:lnTo>
                    <a:pt x="19417" y="8039"/>
                  </a:lnTo>
                  <a:lnTo>
                    <a:pt x="19435" y="8057"/>
                  </a:lnTo>
                  <a:lnTo>
                    <a:pt x="19444" y="8074"/>
                  </a:lnTo>
                  <a:lnTo>
                    <a:pt x="19452" y="8074"/>
                  </a:lnTo>
                  <a:lnTo>
                    <a:pt x="19470" y="8083"/>
                  </a:lnTo>
                  <a:lnTo>
                    <a:pt x="19479" y="8083"/>
                  </a:lnTo>
                  <a:lnTo>
                    <a:pt x="19488" y="8092"/>
                  </a:lnTo>
                  <a:lnTo>
                    <a:pt x="19505" y="8110"/>
                  </a:lnTo>
                  <a:lnTo>
                    <a:pt x="19505" y="8119"/>
                  </a:lnTo>
                  <a:lnTo>
                    <a:pt x="19514" y="8127"/>
                  </a:lnTo>
                  <a:lnTo>
                    <a:pt x="19514" y="8136"/>
                  </a:lnTo>
                  <a:lnTo>
                    <a:pt x="19532" y="8145"/>
                  </a:lnTo>
                  <a:lnTo>
                    <a:pt x="19532" y="8154"/>
                  </a:lnTo>
                  <a:lnTo>
                    <a:pt x="19532" y="8172"/>
                  </a:lnTo>
                  <a:lnTo>
                    <a:pt x="19541" y="8180"/>
                  </a:lnTo>
                  <a:lnTo>
                    <a:pt x="19549" y="8180"/>
                  </a:lnTo>
                  <a:lnTo>
                    <a:pt x="19558" y="8189"/>
                  </a:lnTo>
                  <a:lnTo>
                    <a:pt x="19567" y="8189"/>
                  </a:lnTo>
                  <a:lnTo>
                    <a:pt x="19602" y="8216"/>
                  </a:lnTo>
                  <a:lnTo>
                    <a:pt x="19611" y="8225"/>
                  </a:lnTo>
                  <a:lnTo>
                    <a:pt x="19620" y="8242"/>
                  </a:lnTo>
                  <a:lnTo>
                    <a:pt x="19629" y="8277"/>
                  </a:lnTo>
                  <a:lnTo>
                    <a:pt x="19638" y="8304"/>
                  </a:lnTo>
                  <a:lnTo>
                    <a:pt x="19646" y="8322"/>
                  </a:lnTo>
                  <a:lnTo>
                    <a:pt x="19655" y="8330"/>
                  </a:lnTo>
                  <a:lnTo>
                    <a:pt x="19655" y="8339"/>
                  </a:lnTo>
                  <a:lnTo>
                    <a:pt x="19682" y="8348"/>
                  </a:lnTo>
                  <a:lnTo>
                    <a:pt x="19691" y="8357"/>
                  </a:lnTo>
                  <a:lnTo>
                    <a:pt x="19699" y="8375"/>
                  </a:lnTo>
                  <a:lnTo>
                    <a:pt x="19699" y="8383"/>
                  </a:lnTo>
                  <a:lnTo>
                    <a:pt x="19708" y="8383"/>
                  </a:lnTo>
                  <a:lnTo>
                    <a:pt x="19717" y="8392"/>
                  </a:lnTo>
                  <a:lnTo>
                    <a:pt x="19726" y="8410"/>
                  </a:lnTo>
                  <a:lnTo>
                    <a:pt x="19735" y="8410"/>
                  </a:lnTo>
                  <a:lnTo>
                    <a:pt x="19735" y="8427"/>
                  </a:lnTo>
                  <a:lnTo>
                    <a:pt x="19743" y="8445"/>
                  </a:lnTo>
                  <a:lnTo>
                    <a:pt x="19770" y="8489"/>
                  </a:lnTo>
                  <a:lnTo>
                    <a:pt x="19770" y="8507"/>
                  </a:lnTo>
                  <a:lnTo>
                    <a:pt x="19770" y="8516"/>
                  </a:lnTo>
                  <a:lnTo>
                    <a:pt x="19779" y="8525"/>
                  </a:lnTo>
                  <a:lnTo>
                    <a:pt x="19788" y="8542"/>
                  </a:lnTo>
                  <a:lnTo>
                    <a:pt x="19796" y="8542"/>
                  </a:lnTo>
                  <a:lnTo>
                    <a:pt x="19805" y="8551"/>
                  </a:lnTo>
                  <a:lnTo>
                    <a:pt x="19805" y="8560"/>
                  </a:lnTo>
                  <a:lnTo>
                    <a:pt x="19814" y="8560"/>
                  </a:lnTo>
                  <a:lnTo>
                    <a:pt x="19823" y="8586"/>
                  </a:lnTo>
                  <a:lnTo>
                    <a:pt x="19832" y="8586"/>
                  </a:lnTo>
                  <a:lnTo>
                    <a:pt x="19841" y="8595"/>
                  </a:lnTo>
                  <a:lnTo>
                    <a:pt x="19867" y="8613"/>
                  </a:lnTo>
                  <a:lnTo>
                    <a:pt x="19867" y="8622"/>
                  </a:lnTo>
                  <a:lnTo>
                    <a:pt x="19885" y="8639"/>
                  </a:lnTo>
                  <a:lnTo>
                    <a:pt x="19893" y="8657"/>
                  </a:lnTo>
                  <a:lnTo>
                    <a:pt x="19920" y="8675"/>
                  </a:lnTo>
                  <a:lnTo>
                    <a:pt x="19938" y="8683"/>
                  </a:lnTo>
                  <a:lnTo>
                    <a:pt x="19946" y="8692"/>
                  </a:lnTo>
                  <a:lnTo>
                    <a:pt x="19955" y="8701"/>
                  </a:lnTo>
                  <a:lnTo>
                    <a:pt x="19982" y="8719"/>
                  </a:lnTo>
                  <a:lnTo>
                    <a:pt x="19990" y="8719"/>
                  </a:lnTo>
                  <a:lnTo>
                    <a:pt x="20008" y="8745"/>
                  </a:lnTo>
                  <a:lnTo>
                    <a:pt x="20017" y="8754"/>
                  </a:lnTo>
                  <a:lnTo>
                    <a:pt x="20026" y="8772"/>
                  </a:lnTo>
                  <a:lnTo>
                    <a:pt x="20035" y="8772"/>
                  </a:lnTo>
                  <a:lnTo>
                    <a:pt x="20043" y="8781"/>
                  </a:lnTo>
                  <a:lnTo>
                    <a:pt x="20052" y="8781"/>
                  </a:lnTo>
                  <a:lnTo>
                    <a:pt x="20043" y="8763"/>
                  </a:lnTo>
                  <a:lnTo>
                    <a:pt x="20052" y="8754"/>
                  </a:lnTo>
                  <a:lnTo>
                    <a:pt x="20070" y="8763"/>
                  </a:lnTo>
                  <a:lnTo>
                    <a:pt x="20079" y="8772"/>
                  </a:lnTo>
                  <a:lnTo>
                    <a:pt x="20088" y="8772"/>
                  </a:lnTo>
                  <a:close/>
                  <a:moveTo>
                    <a:pt x="19567" y="7448"/>
                  </a:moveTo>
                  <a:lnTo>
                    <a:pt x="19567" y="7457"/>
                  </a:lnTo>
                  <a:close/>
                  <a:moveTo>
                    <a:pt x="19567" y="7545"/>
                  </a:moveTo>
                  <a:lnTo>
                    <a:pt x="19567" y="7554"/>
                  </a:lnTo>
                  <a:lnTo>
                    <a:pt x="19576" y="7554"/>
                  </a:lnTo>
                  <a:lnTo>
                    <a:pt x="19576" y="7563"/>
                  </a:lnTo>
                  <a:lnTo>
                    <a:pt x="19585" y="7563"/>
                  </a:lnTo>
                  <a:lnTo>
                    <a:pt x="19576" y="7545"/>
                  </a:lnTo>
                  <a:close/>
                  <a:moveTo>
                    <a:pt x="19691" y="8516"/>
                  </a:moveTo>
                  <a:lnTo>
                    <a:pt x="19691" y="8507"/>
                  </a:lnTo>
                  <a:lnTo>
                    <a:pt x="19682" y="8498"/>
                  </a:lnTo>
                  <a:lnTo>
                    <a:pt x="19673" y="8498"/>
                  </a:lnTo>
                  <a:lnTo>
                    <a:pt x="19673" y="8507"/>
                  </a:lnTo>
                  <a:lnTo>
                    <a:pt x="19682" y="8516"/>
                  </a:lnTo>
                  <a:lnTo>
                    <a:pt x="19699" y="8525"/>
                  </a:lnTo>
                  <a:close/>
                  <a:moveTo>
                    <a:pt x="19743" y="8578"/>
                  </a:moveTo>
                  <a:lnTo>
                    <a:pt x="19743" y="8569"/>
                  </a:lnTo>
                  <a:lnTo>
                    <a:pt x="19726" y="8551"/>
                  </a:lnTo>
                  <a:lnTo>
                    <a:pt x="19717" y="8560"/>
                  </a:lnTo>
                  <a:lnTo>
                    <a:pt x="19726" y="8569"/>
                  </a:lnTo>
                  <a:lnTo>
                    <a:pt x="19726" y="8578"/>
                  </a:lnTo>
                  <a:lnTo>
                    <a:pt x="19735" y="8578"/>
                  </a:lnTo>
                  <a:lnTo>
                    <a:pt x="19735" y="8586"/>
                  </a:lnTo>
                  <a:lnTo>
                    <a:pt x="19743" y="8595"/>
                  </a:lnTo>
                  <a:lnTo>
                    <a:pt x="19735" y="8586"/>
                  </a:lnTo>
                  <a:close/>
                  <a:moveTo>
                    <a:pt x="19602" y="7483"/>
                  </a:moveTo>
                  <a:lnTo>
                    <a:pt x="19585" y="7483"/>
                  </a:lnTo>
                  <a:lnTo>
                    <a:pt x="19593" y="7492"/>
                  </a:lnTo>
                  <a:lnTo>
                    <a:pt x="19593" y="7501"/>
                  </a:lnTo>
                  <a:lnTo>
                    <a:pt x="19602" y="7501"/>
                  </a:lnTo>
                  <a:lnTo>
                    <a:pt x="19602" y="7492"/>
                  </a:lnTo>
                  <a:close/>
                  <a:moveTo>
                    <a:pt x="19867" y="8736"/>
                  </a:moveTo>
                  <a:lnTo>
                    <a:pt x="19867" y="8745"/>
                  </a:lnTo>
                  <a:lnTo>
                    <a:pt x="19876" y="8754"/>
                  </a:lnTo>
                  <a:lnTo>
                    <a:pt x="19885" y="8754"/>
                  </a:lnTo>
                  <a:lnTo>
                    <a:pt x="19885" y="8745"/>
                  </a:lnTo>
                  <a:close/>
                  <a:moveTo>
                    <a:pt x="19585" y="7616"/>
                  </a:moveTo>
                  <a:lnTo>
                    <a:pt x="19576" y="7616"/>
                  </a:lnTo>
                  <a:lnTo>
                    <a:pt x="19567" y="7624"/>
                  </a:lnTo>
                  <a:lnTo>
                    <a:pt x="19576" y="7624"/>
                  </a:lnTo>
                  <a:close/>
                  <a:moveTo>
                    <a:pt x="19593" y="7545"/>
                  </a:moveTo>
                  <a:lnTo>
                    <a:pt x="19602" y="7545"/>
                  </a:lnTo>
                  <a:lnTo>
                    <a:pt x="19602" y="7536"/>
                  </a:lnTo>
                  <a:close/>
                  <a:moveTo>
                    <a:pt x="19576" y="7501"/>
                  </a:moveTo>
                  <a:lnTo>
                    <a:pt x="19576" y="7510"/>
                  </a:lnTo>
                  <a:lnTo>
                    <a:pt x="19585" y="7501"/>
                  </a:lnTo>
                  <a:lnTo>
                    <a:pt x="19585" y="7492"/>
                  </a:lnTo>
                  <a:lnTo>
                    <a:pt x="19585" y="7483"/>
                  </a:lnTo>
                  <a:lnTo>
                    <a:pt x="19585" y="7492"/>
                  </a:lnTo>
                  <a:close/>
                  <a:moveTo>
                    <a:pt x="19585" y="7386"/>
                  </a:moveTo>
                  <a:lnTo>
                    <a:pt x="19576" y="7377"/>
                  </a:lnTo>
                  <a:lnTo>
                    <a:pt x="19576" y="7386"/>
                  </a:lnTo>
                  <a:lnTo>
                    <a:pt x="19576" y="7395"/>
                  </a:lnTo>
                  <a:lnTo>
                    <a:pt x="19585" y="7404"/>
                  </a:lnTo>
                  <a:close/>
                  <a:moveTo>
                    <a:pt x="19602" y="7474"/>
                  </a:moveTo>
                  <a:lnTo>
                    <a:pt x="19593" y="7466"/>
                  </a:lnTo>
                  <a:lnTo>
                    <a:pt x="19593" y="7474"/>
                  </a:lnTo>
                  <a:close/>
                  <a:moveTo>
                    <a:pt x="19585" y="7686"/>
                  </a:moveTo>
                  <a:lnTo>
                    <a:pt x="19576" y="7686"/>
                  </a:lnTo>
                  <a:close/>
                  <a:moveTo>
                    <a:pt x="19593" y="7430"/>
                  </a:moveTo>
                  <a:lnTo>
                    <a:pt x="19593" y="7421"/>
                  </a:lnTo>
                  <a:lnTo>
                    <a:pt x="19585" y="7421"/>
                  </a:lnTo>
                  <a:lnTo>
                    <a:pt x="19585" y="7430"/>
                  </a:lnTo>
                  <a:lnTo>
                    <a:pt x="19585" y="7448"/>
                  </a:lnTo>
                  <a:lnTo>
                    <a:pt x="19593" y="7439"/>
                  </a:lnTo>
                  <a:close/>
                  <a:moveTo>
                    <a:pt x="10657" y="7227"/>
                  </a:moveTo>
                  <a:lnTo>
                    <a:pt x="10649" y="7227"/>
                  </a:lnTo>
                  <a:lnTo>
                    <a:pt x="10649" y="7236"/>
                  </a:lnTo>
                  <a:lnTo>
                    <a:pt x="10657" y="7236"/>
                  </a:lnTo>
                  <a:close/>
                  <a:moveTo>
                    <a:pt x="11054" y="6187"/>
                  </a:moveTo>
                  <a:lnTo>
                    <a:pt x="11046" y="6187"/>
                  </a:lnTo>
                  <a:lnTo>
                    <a:pt x="11037" y="6187"/>
                  </a:lnTo>
                  <a:lnTo>
                    <a:pt x="11046" y="6204"/>
                  </a:lnTo>
                  <a:lnTo>
                    <a:pt x="11046" y="6213"/>
                  </a:lnTo>
                  <a:lnTo>
                    <a:pt x="11054" y="6204"/>
                  </a:lnTo>
                  <a:lnTo>
                    <a:pt x="11054" y="6196"/>
                  </a:lnTo>
                  <a:close/>
                  <a:moveTo>
                    <a:pt x="10569" y="2198"/>
                  </a:moveTo>
                  <a:lnTo>
                    <a:pt x="10578" y="2198"/>
                  </a:lnTo>
                  <a:lnTo>
                    <a:pt x="10578" y="2189"/>
                  </a:lnTo>
                  <a:lnTo>
                    <a:pt x="10569" y="2180"/>
                  </a:lnTo>
                  <a:lnTo>
                    <a:pt x="10578" y="2180"/>
                  </a:lnTo>
                  <a:lnTo>
                    <a:pt x="10596" y="2189"/>
                  </a:lnTo>
                  <a:lnTo>
                    <a:pt x="10604" y="2180"/>
                  </a:lnTo>
                  <a:lnTo>
                    <a:pt x="10613" y="2180"/>
                  </a:lnTo>
                  <a:lnTo>
                    <a:pt x="10613" y="2171"/>
                  </a:lnTo>
                  <a:lnTo>
                    <a:pt x="10604" y="2162"/>
                  </a:lnTo>
                  <a:lnTo>
                    <a:pt x="10622" y="2162"/>
                  </a:lnTo>
                  <a:lnTo>
                    <a:pt x="10649" y="2153"/>
                  </a:lnTo>
                  <a:lnTo>
                    <a:pt x="10666" y="2153"/>
                  </a:lnTo>
                  <a:lnTo>
                    <a:pt x="10657" y="2145"/>
                  </a:lnTo>
                  <a:lnTo>
                    <a:pt x="10666" y="2145"/>
                  </a:lnTo>
                  <a:lnTo>
                    <a:pt x="10684" y="2136"/>
                  </a:lnTo>
                  <a:lnTo>
                    <a:pt x="10693" y="2136"/>
                  </a:lnTo>
                  <a:lnTo>
                    <a:pt x="10710" y="2127"/>
                  </a:lnTo>
                  <a:lnTo>
                    <a:pt x="10719" y="2127"/>
                  </a:lnTo>
                  <a:lnTo>
                    <a:pt x="10719" y="2118"/>
                  </a:lnTo>
                  <a:lnTo>
                    <a:pt x="10728" y="2109"/>
                  </a:lnTo>
                  <a:lnTo>
                    <a:pt x="10719" y="2109"/>
                  </a:lnTo>
                  <a:lnTo>
                    <a:pt x="10657" y="2109"/>
                  </a:lnTo>
                  <a:lnTo>
                    <a:pt x="10622" y="2109"/>
                  </a:lnTo>
                  <a:lnTo>
                    <a:pt x="10587" y="2101"/>
                  </a:lnTo>
                  <a:lnTo>
                    <a:pt x="10543" y="2092"/>
                  </a:lnTo>
                  <a:lnTo>
                    <a:pt x="10481" y="2083"/>
                  </a:lnTo>
                  <a:lnTo>
                    <a:pt x="10472" y="2083"/>
                  </a:lnTo>
                  <a:lnTo>
                    <a:pt x="10437" y="2092"/>
                  </a:lnTo>
                  <a:lnTo>
                    <a:pt x="10419" y="2101"/>
                  </a:lnTo>
                  <a:lnTo>
                    <a:pt x="10393" y="2092"/>
                  </a:lnTo>
                  <a:lnTo>
                    <a:pt x="10375" y="2101"/>
                  </a:lnTo>
                  <a:lnTo>
                    <a:pt x="10366" y="2109"/>
                  </a:lnTo>
                  <a:lnTo>
                    <a:pt x="10349" y="2118"/>
                  </a:lnTo>
                  <a:lnTo>
                    <a:pt x="10349" y="2127"/>
                  </a:lnTo>
                  <a:lnTo>
                    <a:pt x="10331" y="2127"/>
                  </a:lnTo>
                  <a:lnTo>
                    <a:pt x="10331" y="2109"/>
                  </a:lnTo>
                  <a:lnTo>
                    <a:pt x="10349" y="2101"/>
                  </a:lnTo>
                  <a:lnTo>
                    <a:pt x="10357" y="2092"/>
                  </a:lnTo>
                  <a:lnTo>
                    <a:pt x="10366" y="2092"/>
                  </a:lnTo>
                  <a:lnTo>
                    <a:pt x="10393" y="2083"/>
                  </a:lnTo>
                  <a:lnTo>
                    <a:pt x="10402" y="2083"/>
                  </a:lnTo>
                  <a:lnTo>
                    <a:pt x="10410" y="2074"/>
                  </a:lnTo>
                  <a:lnTo>
                    <a:pt x="10402" y="2065"/>
                  </a:lnTo>
                  <a:lnTo>
                    <a:pt x="10393" y="2065"/>
                  </a:lnTo>
                  <a:lnTo>
                    <a:pt x="10331" y="2074"/>
                  </a:lnTo>
                  <a:lnTo>
                    <a:pt x="10296" y="2074"/>
                  </a:lnTo>
                  <a:lnTo>
                    <a:pt x="10260" y="2065"/>
                  </a:lnTo>
                  <a:lnTo>
                    <a:pt x="10252" y="2065"/>
                  </a:lnTo>
                  <a:lnTo>
                    <a:pt x="10225" y="2065"/>
                  </a:lnTo>
                  <a:lnTo>
                    <a:pt x="10216" y="2065"/>
                  </a:lnTo>
                  <a:lnTo>
                    <a:pt x="10225" y="2065"/>
                  </a:lnTo>
                  <a:lnTo>
                    <a:pt x="10260" y="2056"/>
                  </a:lnTo>
                  <a:lnTo>
                    <a:pt x="10269" y="2048"/>
                  </a:lnTo>
                  <a:lnTo>
                    <a:pt x="10287" y="2039"/>
                  </a:lnTo>
                  <a:lnTo>
                    <a:pt x="10296" y="2039"/>
                  </a:lnTo>
                  <a:lnTo>
                    <a:pt x="10296" y="2030"/>
                  </a:lnTo>
                  <a:lnTo>
                    <a:pt x="10305" y="2012"/>
                  </a:lnTo>
                  <a:lnTo>
                    <a:pt x="10296" y="2012"/>
                  </a:lnTo>
                  <a:lnTo>
                    <a:pt x="10287" y="2003"/>
                  </a:lnTo>
                  <a:lnTo>
                    <a:pt x="10278" y="2003"/>
                  </a:lnTo>
                  <a:lnTo>
                    <a:pt x="10269" y="1995"/>
                  </a:lnTo>
                  <a:lnTo>
                    <a:pt x="10278" y="1995"/>
                  </a:lnTo>
                  <a:lnTo>
                    <a:pt x="10305" y="1995"/>
                  </a:lnTo>
                  <a:lnTo>
                    <a:pt x="10322" y="1995"/>
                  </a:lnTo>
                  <a:lnTo>
                    <a:pt x="10349" y="2003"/>
                  </a:lnTo>
                  <a:lnTo>
                    <a:pt x="10366" y="2003"/>
                  </a:lnTo>
                  <a:lnTo>
                    <a:pt x="10393" y="2003"/>
                  </a:lnTo>
                  <a:lnTo>
                    <a:pt x="10402" y="1995"/>
                  </a:lnTo>
                  <a:lnTo>
                    <a:pt x="10437" y="1986"/>
                  </a:lnTo>
                  <a:lnTo>
                    <a:pt x="10446" y="1986"/>
                  </a:lnTo>
                  <a:lnTo>
                    <a:pt x="10463" y="1968"/>
                  </a:lnTo>
                  <a:lnTo>
                    <a:pt x="10472" y="1959"/>
                  </a:lnTo>
                  <a:lnTo>
                    <a:pt x="10472" y="1942"/>
                  </a:lnTo>
                  <a:lnTo>
                    <a:pt x="10463" y="1933"/>
                  </a:lnTo>
                  <a:lnTo>
                    <a:pt x="10455" y="1933"/>
                  </a:lnTo>
                  <a:lnTo>
                    <a:pt x="10437" y="1924"/>
                  </a:lnTo>
                  <a:lnTo>
                    <a:pt x="10410" y="1924"/>
                  </a:lnTo>
                  <a:lnTo>
                    <a:pt x="10393" y="1924"/>
                  </a:lnTo>
                  <a:lnTo>
                    <a:pt x="10366" y="1924"/>
                  </a:lnTo>
                  <a:lnTo>
                    <a:pt x="10357" y="1915"/>
                  </a:lnTo>
                  <a:lnTo>
                    <a:pt x="10366" y="1906"/>
                  </a:lnTo>
                  <a:lnTo>
                    <a:pt x="10375" y="1906"/>
                  </a:lnTo>
                  <a:lnTo>
                    <a:pt x="10393" y="1915"/>
                  </a:lnTo>
                  <a:lnTo>
                    <a:pt x="10428" y="1915"/>
                  </a:lnTo>
                  <a:lnTo>
                    <a:pt x="10455" y="1915"/>
                  </a:lnTo>
                  <a:lnTo>
                    <a:pt x="10472" y="1924"/>
                  </a:lnTo>
                  <a:lnTo>
                    <a:pt x="10490" y="1933"/>
                  </a:lnTo>
                  <a:lnTo>
                    <a:pt x="10499" y="1942"/>
                  </a:lnTo>
                  <a:lnTo>
                    <a:pt x="10516" y="1950"/>
                  </a:lnTo>
                  <a:lnTo>
                    <a:pt x="10534" y="1959"/>
                  </a:lnTo>
                  <a:lnTo>
                    <a:pt x="10552" y="1968"/>
                  </a:lnTo>
                  <a:lnTo>
                    <a:pt x="10569" y="1977"/>
                  </a:lnTo>
                  <a:lnTo>
                    <a:pt x="10578" y="1986"/>
                  </a:lnTo>
                  <a:lnTo>
                    <a:pt x="10578" y="2003"/>
                  </a:lnTo>
                  <a:lnTo>
                    <a:pt x="10587" y="2021"/>
                  </a:lnTo>
                  <a:lnTo>
                    <a:pt x="10596" y="2039"/>
                  </a:lnTo>
                  <a:lnTo>
                    <a:pt x="10604" y="2056"/>
                  </a:lnTo>
                  <a:lnTo>
                    <a:pt x="10640" y="2065"/>
                  </a:lnTo>
                  <a:lnTo>
                    <a:pt x="10657" y="2065"/>
                  </a:lnTo>
                  <a:lnTo>
                    <a:pt x="10675" y="2065"/>
                  </a:lnTo>
                  <a:lnTo>
                    <a:pt x="10693" y="2065"/>
                  </a:lnTo>
                  <a:lnTo>
                    <a:pt x="10702" y="2030"/>
                  </a:lnTo>
                  <a:lnTo>
                    <a:pt x="10702" y="2021"/>
                  </a:lnTo>
                  <a:lnTo>
                    <a:pt x="10710" y="2012"/>
                  </a:lnTo>
                  <a:lnTo>
                    <a:pt x="10710" y="2039"/>
                  </a:lnTo>
                  <a:lnTo>
                    <a:pt x="10710" y="2048"/>
                  </a:lnTo>
                  <a:lnTo>
                    <a:pt x="10710" y="2056"/>
                  </a:lnTo>
                  <a:lnTo>
                    <a:pt x="10710" y="2065"/>
                  </a:lnTo>
                  <a:lnTo>
                    <a:pt x="10737" y="2065"/>
                  </a:lnTo>
                  <a:lnTo>
                    <a:pt x="10746" y="2065"/>
                  </a:lnTo>
                  <a:lnTo>
                    <a:pt x="10772" y="2065"/>
                  </a:lnTo>
                  <a:lnTo>
                    <a:pt x="10772" y="2056"/>
                  </a:lnTo>
                  <a:lnTo>
                    <a:pt x="10772" y="2048"/>
                  </a:lnTo>
                  <a:lnTo>
                    <a:pt x="10772" y="2021"/>
                  </a:lnTo>
                  <a:lnTo>
                    <a:pt x="10763" y="2012"/>
                  </a:lnTo>
                  <a:lnTo>
                    <a:pt x="10763" y="2003"/>
                  </a:lnTo>
                  <a:lnTo>
                    <a:pt x="10763" y="1986"/>
                  </a:lnTo>
                  <a:lnTo>
                    <a:pt x="10763" y="1968"/>
                  </a:lnTo>
                  <a:lnTo>
                    <a:pt x="10763" y="1950"/>
                  </a:lnTo>
                  <a:lnTo>
                    <a:pt x="10754" y="1933"/>
                  </a:lnTo>
                  <a:lnTo>
                    <a:pt x="10746" y="1924"/>
                  </a:lnTo>
                  <a:lnTo>
                    <a:pt x="10728" y="1933"/>
                  </a:lnTo>
                  <a:lnTo>
                    <a:pt x="10719" y="1933"/>
                  </a:lnTo>
                  <a:lnTo>
                    <a:pt x="10719" y="1942"/>
                  </a:lnTo>
                  <a:lnTo>
                    <a:pt x="10710" y="1959"/>
                  </a:lnTo>
                  <a:lnTo>
                    <a:pt x="10702" y="1942"/>
                  </a:lnTo>
                  <a:lnTo>
                    <a:pt x="10702" y="1933"/>
                  </a:lnTo>
                  <a:lnTo>
                    <a:pt x="10702" y="1924"/>
                  </a:lnTo>
                  <a:lnTo>
                    <a:pt x="10710" y="1924"/>
                  </a:lnTo>
                  <a:lnTo>
                    <a:pt x="10719" y="1915"/>
                  </a:lnTo>
                  <a:lnTo>
                    <a:pt x="10737" y="1898"/>
                  </a:lnTo>
                  <a:lnTo>
                    <a:pt x="10746" y="1889"/>
                  </a:lnTo>
                  <a:lnTo>
                    <a:pt x="10719" y="1889"/>
                  </a:lnTo>
                  <a:lnTo>
                    <a:pt x="10710" y="1889"/>
                  </a:lnTo>
                  <a:lnTo>
                    <a:pt x="10702" y="1871"/>
                  </a:lnTo>
                  <a:lnTo>
                    <a:pt x="10675" y="1862"/>
                  </a:lnTo>
                  <a:lnTo>
                    <a:pt x="10666" y="1862"/>
                  </a:lnTo>
                  <a:lnTo>
                    <a:pt x="10649" y="1845"/>
                  </a:lnTo>
                  <a:lnTo>
                    <a:pt x="10622" y="1836"/>
                  </a:lnTo>
                  <a:lnTo>
                    <a:pt x="10604" y="1827"/>
                  </a:lnTo>
                  <a:lnTo>
                    <a:pt x="10578" y="1818"/>
                  </a:lnTo>
                  <a:lnTo>
                    <a:pt x="10560" y="1809"/>
                  </a:lnTo>
                  <a:lnTo>
                    <a:pt x="10552" y="1800"/>
                  </a:lnTo>
                  <a:lnTo>
                    <a:pt x="10543" y="1800"/>
                  </a:lnTo>
                  <a:lnTo>
                    <a:pt x="10534" y="1800"/>
                  </a:lnTo>
                  <a:lnTo>
                    <a:pt x="10507" y="1809"/>
                  </a:lnTo>
                  <a:lnTo>
                    <a:pt x="10507" y="1800"/>
                  </a:lnTo>
                  <a:lnTo>
                    <a:pt x="10534" y="1792"/>
                  </a:lnTo>
                  <a:lnTo>
                    <a:pt x="10543" y="1792"/>
                  </a:lnTo>
                  <a:lnTo>
                    <a:pt x="10543" y="1774"/>
                  </a:lnTo>
                  <a:lnTo>
                    <a:pt x="10534" y="1739"/>
                  </a:lnTo>
                  <a:lnTo>
                    <a:pt x="10534" y="1730"/>
                  </a:lnTo>
                  <a:lnTo>
                    <a:pt x="10525" y="1730"/>
                  </a:lnTo>
                  <a:lnTo>
                    <a:pt x="10499" y="1739"/>
                  </a:lnTo>
                  <a:lnTo>
                    <a:pt x="10490" y="1747"/>
                  </a:lnTo>
                  <a:lnTo>
                    <a:pt x="10472" y="1747"/>
                  </a:lnTo>
                  <a:lnTo>
                    <a:pt x="10437" y="1756"/>
                  </a:lnTo>
                  <a:lnTo>
                    <a:pt x="10428" y="1765"/>
                  </a:lnTo>
                  <a:lnTo>
                    <a:pt x="10419" y="1765"/>
                  </a:lnTo>
                  <a:lnTo>
                    <a:pt x="10410" y="1765"/>
                  </a:lnTo>
                  <a:lnTo>
                    <a:pt x="10402" y="1756"/>
                  </a:lnTo>
                  <a:lnTo>
                    <a:pt x="10428" y="1747"/>
                  </a:lnTo>
                  <a:lnTo>
                    <a:pt x="10437" y="1747"/>
                  </a:lnTo>
                  <a:lnTo>
                    <a:pt x="10455" y="1739"/>
                  </a:lnTo>
                  <a:lnTo>
                    <a:pt x="10499" y="1730"/>
                  </a:lnTo>
                  <a:lnTo>
                    <a:pt x="10507" y="1721"/>
                  </a:lnTo>
                  <a:lnTo>
                    <a:pt x="10516" y="1721"/>
                  </a:lnTo>
                  <a:lnTo>
                    <a:pt x="10534" y="1712"/>
                  </a:lnTo>
                  <a:lnTo>
                    <a:pt x="10552" y="1712"/>
                  </a:lnTo>
                  <a:lnTo>
                    <a:pt x="10552" y="1730"/>
                  </a:lnTo>
                  <a:lnTo>
                    <a:pt x="10569" y="1765"/>
                  </a:lnTo>
                  <a:lnTo>
                    <a:pt x="10587" y="1792"/>
                  </a:lnTo>
                  <a:lnTo>
                    <a:pt x="10604" y="1792"/>
                  </a:lnTo>
                  <a:lnTo>
                    <a:pt x="10613" y="1800"/>
                  </a:lnTo>
                  <a:lnTo>
                    <a:pt x="10649" y="1809"/>
                  </a:lnTo>
                  <a:lnTo>
                    <a:pt x="10693" y="1827"/>
                  </a:lnTo>
                  <a:lnTo>
                    <a:pt x="10702" y="1836"/>
                  </a:lnTo>
                  <a:lnTo>
                    <a:pt x="10719" y="1845"/>
                  </a:lnTo>
                  <a:lnTo>
                    <a:pt x="10719" y="1827"/>
                  </a:lnTo>
                  <a:lnTo>
                    <a:pt x="10719" y="1809"/>
                  </a:lnTo>
                  <a:lnTo>
                    <a:pt x="10737" y="1800"/>
                  </a:lnTo>
                  <a:lnTo>
                    <a:pt x="10737" y="1774"/>
                  </a:lnTo>
                  <a:lnTo>
                    <a:pt x="10737" y="1756"/>
                  </a:lnTo>
                  <a:lnTo>
                    <a:pt x="10737" y="1730"/>
                  </a:lnTo>
                  <a:lnTo>
                    <a:pt x="10728" y="1721"/>
                  </a:lnTo>
                  <a:lnTo>
                    <a:pt x="10710" y="1721"/>
                  </a:lnTo>
                  <a:lnTo>
                    <a:pt x="10675" y="1703"/>
                  </a:lnTo>
                  <a:lnTo>
                    <a:pt x="10666" y="1695"/>
                  </a:lnTo>
                  <a:lnTo>
                    <a:pt x="10649" y="1695"/>
                  </a:lnTo>
                  <a:lnTo>
                    <a:pt x="10631" y="1686"/>
                  </a:lnTo>
                  <a:lnTo>
                    <a:pt x="10613" y="1677"/>
                  </a:lnTo>
                  <a:lnTo>
                    <a:pt x="10604" y="1659"/>
                  </a:lnTo>
                  <a:lnTo>
                    <a:pt x="10587" y="1659"/>
                  </a:lnTo>
                  <a:lnTo>
                    <a:pt x="10552" y="1659"/>
                  </a:lnTo>
                  <a:lnTo>
                    <a:pt x="10516" y="1659"/>
                  </a:lnTo>
                  <a:lnTo>
                    <a:pt x="10499" y="1668"/>
                  </a:lnTo>
                  <a:lnTo>
                    <a:pt x="10490" y="1677"/>
                  </a:lnTo>
                  <a:lnTo>
                    <a:pt x="10446" y="1695"/>
                  </a:lnTo>
                  <a:lnTo>
                    <a:pt x="10428" y="1695"/>
                  </a:lnTo>
                  <a:lnTo>
                    <a:pt x="10410" y="1695"/>
                  </a:lnTo>
                  <a:lnTo>
                    <a:pt x="10393" y="1703"/>
                  </a:lnTo>
                  <a:lnTo>
                    <a:pt x="10366" y="1703"/>
                  </a:lnTo>
                  <a:lnTo>
                    <a:pt x="10357" y="1703"/>
                  </a:lnTo>
                  <a:lnTo>
                    <a:pt x="10349" y="1712"/>
                  </a:lnTo>
                  <a:lnTo>
                    <a:pt x="10340" y="1712"/>
                  </a:lnTo>
                  <a:lnTo>
                    <a:pt x="10340" y="1703"/>
                  </a:lnTo>
                  <a:lnTo>
                    <a:pt x="10331" y="1703"/>
                  </a:lnTo>
                  <a:lnTo>
                    <a:pt x="10340" y="1695"/>
                  </a:lnTo>
                  <a:lnTo>
                    <a:pt x="10357" y="1695"/>
                  </a:lnTo>
                  <a:lnTo>
                    <a:pt x="10366" y="1695"/>
                  </a:lnTo>
                  <a:lnTo>
                    <a:pt x="10384" y="1695"/>
                  </a:lnTo>
                  <a:lnTo>
                    <a:pt x="10393" y="1695"/>
                  </a:lnTo>
                  <a:lnTo>
                    <a:pt x="10402" y="1695"/>
                  </a:lnTo>
                  <a:lnTo>
                    <a:pt x="10410" y="1686"/>
                  </a:lnTo>
                  <a:lnTo>
                    <a:pt x="10402" y="1677"/>
                  </a:lnTo>
                  <a:lnTo>
                    <a:pt x="10357" y="1668"/>
                  </a:lnTo>
                  <a:lnTo>
                    <a:pt x="10357" y="1659"/>
                  </a:lnTo>
                  <a:lnTo>
                    <a:pt x="10375" y="1668"/>
                  </a:lnTo>
                  <a:lnTo>
                    <a:pt x="10393" y="1668"/>
                  </a:lnTo>
                  <a:lnTo>
                    <a:pt x="10419" y="1677"/>
                  </a:lnTo>
                  <a:lnTo>
                    <a:pt x="10437" y="1686"/>
                  </a:lnTo>
                  <a:lnTo>
                    <a:pt x="10446" y="1686"/>
                  </a:lnTo>
                  <a:lnTo>
                    <a:pt x="10463" y="1677"/>
                  </a:lnTo>
                  <a:lnTo>
                    <a:pt x="10472" y="1677"/>
                  </a:lnTo>
                  <a:lnTo>
                    <a:pt x="10490" y="1659"/>
                  </a:lnTo>
                  <a:lnTo>
                    <a:pt x="10499" y="1659"/>
                  </a:lnTo>
                  <a:lnTo>
                    <a:pt x="10516" y="1650"/>
                  </a:lnTo>
                  <a:lnTo>
                    <a:pt x="10534" y="1650"/>
                  </a:lnTo>
                  <a:lnTo>
                    <a:pt x="10534" y="1642"/>
                  </a:lnTo>
                  <a:lnTo>
                    <a:pt x="10525" y="1633"/>
                  </a:lnTo>
                  <a:lnTo>
                    <a:pt x="10499" y="1615"/>
                  </a:lnTo>
                  <a:lnTo>
                    <a:pt x="10490" y="1606"/>
                  </a:lnTo>
                  <a:lnTo>
                    <a:pt x="10481" y="1597"/>
                  </a:lnTo>
                  <a:lnTo>
                    <a:pt x="10499" y="1606"/>
                  </a:lnTo>
                  <a:lnTo>
                    <a:pt x="10516" y="1615"/>
                  </a:lnTo>
                  <a:lnTo>
                    <a:pt x="10525" y="1624"/>
                  </a:lnTo>
                  <a:lnTo>
                    <a:pt x="10534" y="1633"/>
                  </a:lnTo>
                  <a:lnTo>
                    <a:pt x="10543" y="1633"/>
                  </a:lnTo>
                  <a:lnTo>
                    <a:pt x="10552" y="1633"/>
                  </a:lnTo>
                  <a:lnTo>
                    <a:pt x="10560" y="1633"/>
                  </a:lnTo>
                  <a:lnTo>
                    <a:pt x="10569" y="1624"/>
                  </a:lnTo>
                  <a:lnTo>
                    <a:pt x="10578" y="1606"/>
                  </a:lnTo>
                  <a:lnTo>
                    <a:pt x="10613" y="1642"/>
                  </a:lnTo>
                  <a:lnTo>
                    <a:pt x="10649" y="1659"/>
                  </a:lnTo>
                  <a:lnTo>
                    <a:pt x="10666" y="1668"/>
                  </a:lnTo>
                  <a:lnTo>
                    <a:pt x="10719" y="1677"/>
                  </a:lnTo>
                  <a:lnTo>
                    <a:pt x="10728" y="1677"/>
                  </a:lnTo>
                  <a:lnTo>
                    <a:pt x="10746" y="1668"/>
                  </a:lnTo>
                  <a:lnTo>
                    <a:pt x="10772" y="1659"/>
                  </a:lnTo>
                  <a:lnTo>
                    <a:pt x="10790" y="1650"/>
                  </a:lnTo>
                  <a:lnTo>
                    <a:pt x="10843" y="1650"/>
                  </a:lnTo>
                  <a:lnTo>
                    <a:pt x="10852" y="1650"/>
                  </a:lnTo>
                  <a:lnTo>
                    <a:pt x="10852" y="1624"/>
                  </a:lnTo>
                  <a:lnTo>
                    <a:pt x="10860" y="1606"/>
                  </a:lnTo>
                  <a:lnTo>
                    <a:pt x="10860" y="1597"/>
                  </a:lnTo>
                  <a:lnTo>
                    <a:pt x="10816" y="1589"/>
                  </a:lnTo>
                  <a:lnTo>
                    <a:pt x="10790" y="1580"/>
                  </a:lnTo>
                  <a:lnTo>
                    <a:pt x="10746" y="1580"/>
                  </a:lnTo>
                  <a:lnTo>
                    <a:pt x="10728" y="1580"/>
                  </a:lnTo>
                  <a:lnTo>
                    <a:pt x="10719" y="1571"/>
                  </a:lnTo>
                  <a:lnTo>
                    <a:pt x="10719" y="1562"/>
                  </a:lnTo>
                  <a:lnTo>
                    <a:pt x="10728" y="1553"/>
                  </a:lnTo>
                  <a:lnTo>
                    <a:pt x="10728" y="1544"/>
                  </a:lnTo>
                  <a:lnTo>
                    <a:pt x="10719" y="1536"/>
                  </a:lnTo>
                  <a:lnTo>
                    <a:pt x="10728" y="1527"/>
                  </a:lnTo>
                  <a:lnTo>
                    <a:pt x="10746" y="1518"/>
                  </a:lnTo>
                  <a:lnTo>
                    <a:pt x="10746" y="1509"/>
                  </a:lnTo>
                  <a:lnTo>
                    <a:pt x="10746" y="1492"/>
                  </a:lnTo>
                  <a:lnTo>
                    <a:pt x="10754" y="1509"/>
                  </a:lnTo>
                  <a:lnTo>
                    <a:pt x="10754" y="1527"/>
                  </a:lnTo>
                  <a:lnTo>
                    <a:pt x="10746" y="1544"/>
                  </a:lnTo>
                  <a:lnTo>
                    <a:pt x="10772" y="1553"/>
                  </a:lnTo>
                  <a:lnTo>
                    <a:pt x="10807" y="1562"/>
                  </a:lnTo>
                  <a:lnTo>
                    <a:pt x="10843" y="1553"/>
                  </a:lnTo>
                  <a:lnTo>
                    <a:pt x="10869" y="1544"/>
                  </a:lnTo>
                  <a:lnTo>
                    <a:pt x="10869" y="1536"/>
                  </a:lnTo>
                  <a:lnTo>
                    <a:pt x="10887" y="1536"/>
                  </a:lnTo>
                  <a:lnTo>
                    <a:pt x="10913" y="1536"/>
                  </a:lnTo>
                  <a:lnTo>
                    <a:pt x="10931" y="1536"/>
                  </a:lnTo>
                  <a:lnTo>
                    <a:pt x="10940" y="1536"/>
                  </a:lnTo>
                  <a:lnTo>
                    <a:pt x="10940" y="1527"/>
                  </a:lnTo>
                  <a:lnTo>
                    <a:pt x="10940" y="1518"/>
                  </a:lnTo>
                  <a:lnTo>
                    <a:pt x="10949" y="1509"/>
                  </a:lnTo>
                  <a:lnTo>
                    <a:pt x="10940" y="1500"/>
                  </a:lnTo>
                  <a:lnTo>
                    <a:pt x="10931" y="1492"/>
                  </a:lnTo>
                  <a:lnTo>
                    <a:pt x="10922" y="1483"/>
                  </a:lnTo>
                  <a:lnTo>
                    <a:pt x="10904" y="1456"/>
                  </a:lnTo>
                  <a:lnTo>
                    <a:pt x="10887" y="1430"/>
                  </a:lnTo>
                  <a:lnTo>
                    <a:pt x="10869" y="1430"/>
                  </a:lnTo>
                  <a:lnTo>
                    <a:pt x="10860" y="1430"/>
                  </a:lnTo>
                  <a:lnTo>
                    <a:pt x="10852" y="1456"/>
                  </a:lnTo>
                  <a:lnTo>
                    <a:pt x="10843" y="1474"/>
                  </a:lnTo>
                  <a:lnTo>
                    <a:pt x="10825" y="1483"/>
                  </a:lnTo>
                  <a:lnTo>
                    <a:pt x="10807" y="1483"/>
                  </a:lnTo>
                  <a:lnTo>
                    <a:pt x="10816" y="1474"/>
                  </a:lnTo>
                  <a:lnTo>
                    <a:pt x="10825" y="1465"/>
                  </a:lnTo>
                  <a:lnTo>
                    <a:pt x="10825" y="1456"/>
                  </a:lnTo>
                  <a:lnTo>
                    <a:pt x="10834" y="1447"/>
                  </a:lnTo>
                  <a:lnTo>
                    <a:pt x="10825" y="1430"/>
                  </a:lnTo>
                  <a:lnTo>
                    <a:pt x="10816" y="1421"/>
                  </a:lnTo>
                  <a:lnTo>
                    <a:pt x="10807" y="1421"/>
                  </a:lnTo>
                  <a:lnTo>
                    <a:pt x="10781" y="1430"/>
                  </a:lnTo>
                  <a:lnTo>
                    <a:pt x="10772" y="1439"/>
                  </a:lnTo>
                  <a:lnTo>
                    <a:pt x="10763" y="1439"/>
                  </a:lnTo>
                  <a:lnTo>
                    <a:pt x="10754" y="1439"/>
                  </a:lnTo>
                  <a:lnTo>
                    <a:pt x="10746" y="1430"/>
                  </a:lnTo>
                  <a:lnTo>
                    <a:pt x="10737" y="1421"/>
                  </a:lnTo>
                  <a:lnTo>
                    <a:pt x="10719" y="1412"/>
                  </a:lnTo>
                  <a:lnTo>
                    <a:pt x="10754" y="1421"/>
                  </a:lnTo>
                  <a:lnTo>
                    <a:pt x="10763" y="1430"/>
                  </a:lnTo>
                  <a:lnTo>
                    <a:pt x="10781" y="1421"/>
                  </a:lnTo>
                  <a:lnTo>
                    <a:pt x="10799" y="1412"/>
                  </a:lnTo>
                  <a:lnTo>
                    <a:pt x="10807" y="1412"/>
                  </a:lnTo>
                  <a:lnTo>
                    <a:pt x="10825" y="1403"/>
                  </a:lnTo>
                  <a:lnTo>
                    <a:pt x="10852" y="1386"/>
                  </a:lnTo>
                  <a:lnTo>
                    <a:pt x="10869" y="1386"/>
                  </a:lnTo>
                  <a:lnTo>
                    <a:pt x="10887" y="1394"/>
                  </a:lnTo>
                  <a:lnTo>
                    <a:pt x="10896" y="1403"/>
                  </a:lnTo>
                  <a:lnTo>
                    <a:pt x="10904" y="1403"/>
                  </a:lnTo>
                  <a:lnTo>
                    <a:pt x="10913" y="1412"/>
                  </a:lnTo>
                  <a:lnTo>
                    <a:pt x="10922" y="1403"/>
                  </a:lnTo>
                  <a:lnTo>
                    <a:pt x="10931" y="1394"/>
                  </a:lnTo>
                  <a:lnTo>
                    <a:pt x="10931" y="1386"/>
                  </a:lnTo>
                  <a:lnTo>
                    <a:pt x="10931" y="1377"/>
                  </a:lnTo>
                  <a:lnTo>
                    <a:pt x="10931" y="1359"/>
                  </a:lnTo>
                  <a:lnTo>
                    <a:pt x="10931" y="1350"/>
                  </a:lnTo>
                  <a:lnTo>
                    <a:pt x="10931" y="1341"/>
                  </a:lnTo>
                  <a:lnTo>
                    <a:pt x="10922" y="1333"/>
                  </a:lnTo>
                  <a:lnTo>
                    <a:pt x="10922" y="1324"/>
                  </a:lnTo>
                  <a:lnTo>
                    <a:pt x="10922" y="1315"/>
                  </a:lnTo>
                  <a:lnTo>
                    <a:pt x="10904" y="1297"/>
                  </a:lnTo>
                  <a:lnTo>
                    <a:pt x="10887" y="1280"/>
                  </a:lnTo>
                  <a:lnTo>
                    <a:pt x="10896" y="1262"/>
                  </a:lnTo>
                  <a:lnTo>
                    <a:pt x="10878" y="1244"/>
                  </a:lnTo>
                  <a:lnTo>
                    <a:pt x="10869" y="1244"/>
                  </a:lnTo>
                  <a:lnTo>
                    <a:pt x="10852" y="1244"/>
                  </a:lnTo>
                  <a:lnTo>
                    <a:pt x="10843" y="1244"/>
                  </a:lnTo>
                  <a:lnTo>
                    <a:pt x="10834" y="1236"/>
                  </a:lnTo>
                  <a:lnTo>
                    <a:pt x="10825" y="1236"/>
                  </a:lnTo>
                  <a:lnTo>
                    <a:pt x="10799" y="1244"/>
                  </a:lnTo>
                  <a:lnTo>
                    <a:pt x="10781" y="1244"/>
                  </a:lnTo>
                  <a:lnTo>
                    <a:pt x="10781" y="1236"/>
                  </a:lnTo>
                  <a:lnTo>
                    <a:pt x="10772" y="1236"/>
                  </a:lnTo>
                  <a:lnTo>
                    <a:pt x="10754" y="1218"/>
                  </a:lnTo>
                  <a:lnTo>
                    <a:pt x="10746" y="1191"/>
                  </a:lnTo>
                  <a:lnTo>
                    <a:pt x="10737" y="1191"/>
                  </a:lnTo>
                  <a:lnTo>
                    <a:pt x="10719" y="1191"/>
                  </a:lnTo>
                  <a:lnTo>
                    <a:pt x="10710" y="1191"/>
                  </a:lnTo>
                  <a:lnTo>
                    <a:pt x="10710" y="1183"/>
                  </a:lnTo>
                  <a:lnTo>
                    <a:pt x="10693" y="1174"/>
                  </a:lnTo>
                  <a:lnTo>
                    <a:pt x="10702" y="1174"/>
                  </a:lnTo>
                  <a:lnTo>
                    <a:pt x="10719" y="1156"/>
                  </a:lnTo>
                  <a:lnTo>
                    <a:pt x="10728" y="1156"/>
                  </a:lnTo>
                  <a:lnTo>
                    <a:pt x="10746" y="1165"/>
                  </a:lnTo>
                  <a:lnTo>
                    <a:pt x="10763" y="1174"/>
                  </a:lnTo>
                  <a:lnTo>
                    <a:pt x="10772" y="1174"/>
                  </a:lnTo>
                  <a:lnTo>
                    <a:pt x="10816" y="1156"/>
                  </a:lnTo>
                  <a:lnTo>
                    <a:pt x="10816" y="1147"/>
                  </a:lnTo>
                  <a:lnTo>
                    <a:pt x="10852" y="1139"/>
                  </a:lnTo>
                  <a:lnTo>
                    <a:pt x="10887" y="1139"/>
                  </a:lnTo>
                  <a:lnTo>
                    <a:pt x="10896" y="1139"/>
                  </a:lnTo>
                  <a:lnTo>
                    <a:pt x="10922" y="1147"/>
                  </a:lnTo>
                  <a:lnTo>
                    <a:pt x="10949" y="1156"/>
                  </a:lnTo>
                  <a:lnTo>
                    <a:pt x="10966" y="1156"/>
                  </a:lnTo>
                  <a:lnTo>
                    <a:pt x="10975" y="1165"/>
                  </a:lnTo>
                  <a:lnTo>
                    <a:pt x="10984" y="1165"/>
                  </a:lnTo>
                  <a:lnTo>
                    <a:pt x="10993" y="1165"/>
                  </a:lnTo>
                  <a:lnTo>
                    <a:pt x="11001" y="1165"/>
                  </a:lnTo>
                  <a:lnTo>
                    <a:pt x="11001" y="1147"/>
                  </a:lnTo>
                  <a:lnTo>
                    <a:pt x="11010" y="1139"/>
                  </a:lnTo>
                  <a:lnTo>
                    <a:pt x="11010" y="1130"/>
                  </a:lnTo>
                  <a:lnTo>
                    <a:pt x="11010" y="1103"/>
                  </a:lnTo>
                  <a:lnTo>
                    <a:pt x="11010" y="1094"/>
                  </a:lnTo>
                  <a:lnTo>
                    <a:pt x="11001" y="1086"/>
                  </a:lnTo>
                  <a:lnTo>
                    <a:pt x="10993" y="1086"/>
                  </a:lnTo>
                  <a:lnTo>
                    <a:pt x="10966" y="1086"/>
                  </a:lnTo>
                  <a:lnTo>
                    <a:pt x="10949" y="1094"/>
                  </a:lnTo>
                  <a:lnTo>
                    <a:pt x="10940" y="1094"/>
                  </a:lnTo>
                  <a:lnTo>
                    <a:pt x="10931" y="1086"/>
                  </a:lnTo>
                  <a:lnTo>
                    <a:pt x="10922" y="1086"/>
                  </a:lnTo>
                  <a:lnTo>
                    <a:pt x="10904" y="1077"/>
                  </a:lnTo>
                  <a:lnTo>
                    <a:pt x="10869" y="1068"/>
                  </a:lnTo>
                  <a:lnTo>
                    <a:pt x="10852" y="1059"/>
                  </a:lnTo>
                  <a:lnTo>
                    <a:pt x="10834" y="1033"/>
                  </a:lnTo>
                  <a:lnTo>
                    <a:pt x="10852" y="1024"/>
                  </a:lnTo>
                  <a:lnTo>
                    <a:pt x="10878" y="1024"/>
                  </a:lnTo>
                  <a:lnTo>
                    <a:pt x="10887" y="1024"/>
                  </a:lnTo>
                  <a:lnTo>
                    <a:pt x="10922" y="1041"/>
                  </a:lnTo>
                  <a:lnTo>
                    <a:pt x="10931" y="1041"/>
                  </a:lnTo>
                  <a:lnTo>
                    <a:pt x="10940" y="1033"/>
                  </a:lnTo>
                  <a:lnTo>
                    <a:pt x="10931" y="1024"/>
                  </a:lnTo>
                  <a:lnTo>
                    <a:pt x="10922" y="1015"/>
                  </a:lnTo>
                  <a:lnTo>
                    <a:pt x="10904" y="1006"/>
                  </a:lnTo>
                  <a:lnTo>
                    <a:pt x="10887" y="997"/>
                  </a:lnTo>
                  <a:lnTo>
                    <a:pt x="10860" y="988"/>
                  </a:lnTo>
                  <a:lnTo>
                    <a:pt x="10843" y="988"/>
                  </a:lnTo>
                  <a:lnTo>
                    <a:pt x="10825" y="988"/>
                  </a:lnTo>
                  <a:lnTo>
                    <a:pt x="10807" y="997"/>
                  </a:lnTo>
                  <a:lnTo>
                    <a:pt x="10790" y="1015"/>
                  </a:lnTo>
                  <a:lnTo>
                    <a:pt x="10772" y="1024"/>
                  </a:lnTo>
                  <a:lnTo>
                    <a:pt x="10763" y="1015"/>
                  </a:lnTo>
                  <a:lnTo>
                    <a:pt x="10763" y="1006"/>
                  </a:lnTo>
                  <a:lnTo>
                    <a:pt x="10763" y="988"/>
                  </a:lnTo>
                  <a:lnTo>
                    <a:pt x="10772" y="971"/>
                  </a:lnTo>
                  <a:lnTo>
                    <a:pt x="10781" y="962"/>
                  </a:lnTo>
                  <a:lnTo>
                    <a:pt x="10790" y="944"/>
                  </a:lnTo>
                  <a:lnTo>
                    <a:pt x="10799" y="927"/>
                  </a:lnTo>
                  <a:lnTo>
                    <a:pt x="10799" y="909"/>
                  </a:lnTo>
                  <a:lnTo>
                    <a:pt x="10816" y="883"/>
                  </a:lnTo>
                  <a:lnTo>
                    <a:pt x="10816" y="874"/>
                  </a:lnTo>
                  <a:lnTo>
                    <a:pt x="10807" y="865"/>
                  </a:lnTo>
                  <a:lnTo>
                    <a:pt x="10843" y="838"/>
                  </a:lnTo>
                  <a:lnTo>
                    <a:pt x="10860" y="838"/>
                  </a:lnTo>
                  <a:lnTo>
                    <a:pt x="10869" y="838"/>
                  </a:lnTo>
                  <a:lnTo>
                    <a:pt x="10887" y="838"/>
                  </a:lnTo>
                  <a:lnTo>
                    <a:pt x="10887" y="830"/>
                  </a:lnTo>
                  <a:lnTo>
                    <a:pt x="10896" y="821"/>
                  </a:lnTo>
                  <a:lnTo>
                    <a:pt x="10896" y="812"/>
                  </a:lnTo>
                  <a:lnTo>
                    <a:pt x="10904" y="803"/>
                  </a:lnTo>
                  <a:lnTo>
                    <a:pt x="10904" y="794"/>
                  </a:lnTo>
                  <a:lnTo>
                    <a:pt x="10940" y="785"/>
                  </a:lnTo>
                  <a:lnTo>
                    <a:pt x="10957" y="785"/>
                  </a:lnTo>
                  <a:lnTo>
                    <a:pt x="10957" y="777"/>
                  </a:lnTo>
                  <a:lnTo>
                    <a:pt x="10966" y="777"/>
                  </a:lnTo>
                  <a:lnTo>
                    <a:pt x="10957" y="768"/>
                  </a:lnTo>
                  <a:lnTo>
                    <a:pt x="10957" y="759"/>
                  </a:lnTo>
                  <a:lnTo>
                    <a:pt x="10949" y="759"/>
                  </a:lnTo>
                  <a:lnTo>
                    <a:pt x="10949" y="750"/>
                  </a:lnTo>
                  <a:lnTo>
                    <a:pt x="10940" y="750"/>
                  </a:lnTo>
                  <a:lnTo>
                    <a:pt x="10931" y="750"/>
                  </a:lnTo>
                  <a:lnTo>
                    <a:pt x="10931" y="741"/>
                  </a:lnTo>
                  <a:lnTo>
                    <a:pt x="10931" y="733"/>
                  </a:lnTo>
                  <a:lnTo>
                    <a:pt x="10931" y="715"/>
                  </a:lnTo>
                  <a:lnTo>
                    <a:pt x="10940" y="706"/>
                  </a:lnTo>
                  <a:lnTo>
                    <a:pt x="10940" y="697"/>
                  </a:lnTo>
                  <a:lnTo>
                    <a:pt x="10931" y="688"/>
                  </a:lnTo>
                  <a:lnTo>
                    <a:pt x="10922" y="680"/>
                  </a:lnTo>
                  <a:lnTo>
                    <a:pt x="10896" y="688"/>
                  </a:lnTo>
                  <a:lnTo>
                    <a:pt x="10887" y="680"/>
                  </a:lnTo>
                  <a:lnTo>
                    <a:pt x="10878" y="680"/>
                  </a:lnTo>
                  <a:lnTo>
                    <a:pt x="10878" y="671"/>
                  </a:lnTo>
                  <a:lnTo>
                    <a:pt x="10869" y="653"/>
                  </a:lnTo>
                  <a:lnTo>
                    <a:pt x="10878" y="644"/>
                  </a:lnTo>
                  <a:lnTo>
                    <a:pt x="10887" y="627"/>
                  </a:lnTo>
                  <a:lnTo>
                    <a:pt x="10896" y="618"/>
                  </a:lnTo>
                  <a:lnTo>
                    <a:pt x="10922" y="600"/>
                  </a:lnTo>
                  <a:lnTo>
                    <a:pt x="10931" y="600"/>
                  </a:lnTo>
                  <a:lnTo>
                    <a:pt x="10949" y="600"/>
                  </a:lnTo>
                  <a:lnTo>
                    <a:pt x="10957" y="600"/>
                  </a:lnTo>
                  <a:lnTo>
                    <a:pt x="10984" y="609"/>
                  </a:lnTo>
                  <a:lnTo>
                    <a:pt x="11028" y="618"/>
                  </a:lnTo>
                  <a:lnTo>
                    <a:pt x="11054" y="609"/>
                  </a:lnTo>
                  <a:lnTo>
                    <a:pt x="11081" y="609"/>
                  </a:lnTo>
                  <a:lnTo>
                    <a:pt x="11090" y="609"/>
                  </a:lnTo>
                  <a:lnTo>
                    <a:pt x="11107" y="609"/>
                  </a:lnTo>
                  <a:lnTo>
                    <a:pt x="11116" y="609"/>
                  </a:lnTo>
                  <a:lnTo>
                    <a:pt x="11143" y="600"/>
                  </a:lnTo>
                  <a:lnTo>
                    <a:pt x="11169" y="591"/>
                  </a:lnTo>
                  <a:lnTo>
                    <a:pt x="11187" y="574"/>
                  </a:lnTo>
                  <a:lnTo>
                    <a:pt x="11151" y="565"/>
                  </a:lnTo>
                  <a:lnTo>
                    <a:pt x="11143" y="556"/>
                  </a:lnTo>
                  <a:lnTo>
                    <a:pt x="11125" y="547"/>
                  </a:lnTo>
                  <a:lnTo>
                    <a:pt x="11160" y="530"/>
                  </a:lnTo>
                  <a:lnTo>
                    <a:pt x="11178" y="530"/>
                  </a:lnTo>
                  <a:lnTo>
                    <a:pt x="11213" y="530"/>
                  </a:lnTo>
                  <a:lnTo>
                    <a:pt x="11240" y="521"/>
                  </a:lnTo>
                  <a:lnTo>
                    <a:pt x="11293" y="512"/>
                  </a:lnTo>
                  <a:lnTo>
                    <a:pt x="11310" y="503"/>
                  </a:lnTo>
                  <a:lnTo>
                    <a:pt x="11310" y="494"/>
                  </a:lnTo>
                  <a:lnTo>
                    <a:pt x="11310" y="485"/>
                  </a:lnTo>
                  <a:lnTo>
                    <a:pt x="11293" y="477"/>
                  </a:lnTo>
                  <a:lnTo>
                    <a:pt x="11310" y="468"/>
                  </a:lnTo>
                  <a:lnTo>
                    <a:pt x="11346" y="468"/>
                  </a:lnTo>
                  <a:lnTo>
                    <a:pt x="11372" y="468"/>
                  </a:lnTo>
                  <a:lnTo>
                    <a:pt x="11390" y="459"/>
                  </a:lnTo>
                  <a:lnTo>
                    <a:pt x="11443" y="432"/>
                  </a:lnTo>
                  <a:lnTo>
                    <a:pt x="11460" y="415"/>
                  </a:lnTo>
                  <a:lnTo>
                    <a:pt x="11513" y="397"/>
                  </a:lnTo>
                  <a:lnTo>
                    <a:pt x="11513" y="388"/>
                  </a:lnTo>
                  <a:lnTo>
                    <a:pt x="11522" y="388"/>
                  </a:lnTo>
                  <a:lnTo>
                    <a:pt x="11504" y="380"/>
                  </a:lnTo>
                  <a:lnTo>
                    <a:pt x="11487" y="371"/>
                  </a:lnTo>
                  <a:lnTo>
                    <a:pt x="11460" y="362"/>
                  </a:lnTo>
                  <a:lnTo>
                    <a:pt x="11443" y="353"/>
                  </a:lnTo>
                  <a:lnTo>
                    <a:pt x="11407" y="344"/>
                  </a:lnTo>
                  <a:lnTo>
                    <a:pt x="11354" y="335"/>
                  </a:lnTo>
                  <a:lnTo>
                    <a:pt x="11310" y="327"/>
                  </a:lnTo>
                  <a:lnTo>
                    <a:pt x="11240" y="327"/>
                  </a:lnTo>
                  <a:lnTo>
                    <a:pt x="11222" y="327"/>
                  </a:lnTo>
                  <a:lnTo>
                    <a:pt x="11213" y="327"/>
                  </a:lnTo>
                  <a:lnTo>
                    <a:pt x="11187" y="335"/>
                  </a:lnTo>
                  <a:lnTo>
                    <a:pt x="11169" y="335"/>
                  </a:lnTo>
                  <a:lnTo>
                    <a:pt x="11160" y="335"/>
                  </a:lnTo>
                  <a:lnTo>
                    <a:pt x="11151" y="344"/>
                  </a:lnTo>
                  <a:lnTo>
                    <a:pt x="11134" y="362"/>
                  </a:lnTo>
                  <a:lnTo>
                    <a:pt x="11116" y="380"/>
                  </a:lnTo>
                  <a:lnTo>
                    <a:pt x="11099" y="397"/>
                  </a:lnTo>
                  <a:lnTo>
                    <a:pt x="11090" y="397"/>
                  </a:lnTo>
                  <a:lnTo>
                    <a:pt x="11072" y="406"/>
                  </a:lnTo>
                  <a:lnTo>
                    <a:pt x="11054" y="397"/>
                  </a:lnTo>
                  <a:lnTo>
                    <a:pt x="11037" y="397"/>
                  </a:lnTo>
                  <a:lnTo>
                    <a:pt x="11028" y="388"/>
                  </a:lnTo>
                  <a:lnTo>
                    <a:pt x="11001" y="388"/>
                  </a:lnTo>
                  <a:lnTo>
                    <a:pt x="10984" y="388"/>
                  </a:lnTo>
                  <a:lnTo>
                    <a:pt x="10949" y="380"/>
                  </a:lnTo>
                  <a:lnTo>
                    <a:pt x="10949" y="362"/>
                  </a:lnTo>
                  <a:lnTo>
                    <a:pt x="10913" y="362"/>
                  </a:lnTo>
                  <a:lnTo>
                    <a:pt x="10887" y="371"/>
                  </a:lnTo>
                  <a:lnTo>
                    <a:pt x="10834" y="415"/>
                  </a:lnTo>
                  <a:lnTo>
                    <a:pt x="10825" y="424"/>
                  </a:lnTo>
                  <a:lnTo>
                    <a:pt x="10807" y="432"/>
                  </a:lnTo>
                  <a:lnTo>
                    <a:pt x="10781" y="441"/>
                  </a:lnTo>
                  <a:lnTo>
                    <a:pt x="10746" y="459"/>
                  </a:lnTo>
                  <a:lnTo>
                    <a:pt x="10737" y="468"/>
                  </a:lnTo>
                  <a:lnTo>
                    <a:pt x="10684" y="485"/>
                  </a:lnTo>
                  <a:lnTo>
                    <a:pt x="10675" y="494"/>
                  </a:lnTo>
                  <a:lnTo>
                    <a:pt x="10666" y="503"/>
                  </a:lnTo>
                  <a:lnTo>
                    <a:pt x="10657" y="512"/>
                  </a:lnTo>
                  <a:lnTo>
                    <a:pt x="10649" y="512"/>
                  </a:lnTo>
                  <a:lnTo>
                    <a:pt x="10649" y="494"/>
                  </a:lnTo>
                  <a:lnTo>
                    <a:pt x="10657" y="485"/>
                  </a:lnTo>
                  <a:lnTo>
                    <a:pt x="10702" y="459"/>
                  </a:lnTo>
                  <a:lnTo>
                    <a:pt x="10710" y="450"/>
                  </a:lnTo>
                  <a:lnTo>
                    <a:pt x="10746" y="424"/>
                  </a:lnTo>
                  <a:lnTo>
                    <a:pt x="10763" y="415"/>
                  </a:lnTo>
                  <a:lnTo>
                    <a:pt x="10781" y="397"/>
                  </a:lnTo>
                  <a:lnTo>
                    <a:pt x="10799" y="371"/>
                  </a:lnTo>
                  <a:lnTo>
                    <a:pt x="10807" y="353"/>
                  </a:lnTo>
                  <a:lnTo>
                    <a:pt x="10807" y="335"/>
                  </a:lnTo>
                  <a:lnTo>
                    <a:pt x="10807" y="318"/>
                  </a:lnTo>
                  <a:lnTo>
                    <a:pt x="10807" y="309"/>
                  </a:lnTo>
                  <a:lnTo>
                    <a:pt x="10799" y="300"/>
                  </a:lnTo>
                  <a:lnTo>
                    <a:pt x="10790" y="282"/>
                  </a:lnTo>
                  <a:lnTo>
                    <a:pt x="10772" y="282"/>
                  </a:lnTo>
                  <a:lnTo>
                    <a:pt x="10702" y="282"/>
                  </a:lnTo>
                  <a:lnTo>
                    <a:pt x="10675" y="291"/>
                  </a:lnTo>
                  <a:lnTo>
                    <a:pt x="10657" y="291"/>
                  </a:lnTo>
                  <a:lnTo>
                    <a:pt x="10657" y="300"/>
                  </a:lnTo>
                  <a:lnTo>
                    <a:pt x="10649" y="309"/>
                  </a:lnTo>
                  <a:lnTo>
                    <a:pt x="10649" y="318"/>
                  </a:lnTo>
                  <a:lnTo>
                    <a:pt x="10640" y="327"/>
                  </a:lnTo>
                  <a:lnTo>
                    <a:pt x="10631" y="335"/>
                  </a:lnTo>
                  <a:lnTo>
                    <a:pt x="10622" y="344"/>
                  </a:lnTo>
                  <a:lnTo>
                    <a:pt x="10569" y="353"/>
                  </a:lnTo>
                  <a:lnTo>
                    <a:pt x="10552" y="318"/>
                  </a:lnTo>
                  <a:lnTo>
                    <a:pt x="10507" y="291"/>
                  </a:lnTo>
                  <a:lnTo>
                    <a:pt x="10366" y="291"/>
                  </a:lnTo>
                  <a:lnTo>
                    <a:pt x="10313" y="291"/>
                  </a:lnTo>
                  <a:lnTo>
                    <a:pt x="10234" y="300"/>
                  </a:lnTo>
                  <a:lnTo>
                    <a:pt x="10190" y="309"/>
                  </a:lnTo>
                  <a:lnTo>
                    <a:pt x="10163" y="300"/>
                  </a:lnTo>
                  <a:lnTo>
                    <a:pt x="10163" y="282"/>
                  </a:lnTo>
                  <a:lnTo>
                    <a:pt x="10172" y="274"/>
                  </a:lnTo>
                  <a:lnTo>
                    <a:pt x="10181" y="265"/>
                  </a:lnTo>
                  <a:lnTo>
                    <a:pt x="10604" y="247"/>
                  </a:lnTo>
                  <a:lnTo>
                    <a:pt x="10657" y="238"/>
                  </a:lnTo>
                  <a:lnTo>
                    <a:pt x="10702" y="229"/>
                  </a:lnTo>
                  <a:lnTo>
                    <a:pt x="10737" y="212"/>
                  </a:lnTo>
                  <a:lnTo>
                    <a:pt x="10772" y="194"/>
                  </a:lnTo>
                  <a:lnTo>
                    <a:pt x="10772" y="185"/>
                  </a:lnTo>
                  <a:lnTo>
                    <a:pt x="10763" y="177"/>
                  </a:lnTo>
                  <a:lnTo>
                    <a:pt x="10746" y="168"/>
                  </a:lnTo>
                  <a:lnTo>
                    <a:pt x="10702" y="150"/>
                  </a:lnTo>
                  <a:lnTo>
                    <a:pt x="10640" y="141"/>
                  </a:lnTo>
                  <a:lnTo>
                    <a:pt x="10613" y="150"/>
                  </a:lnTo>
                  <a:lnTo>
                    <a:pt x="10604" y="141"/>
                  </a:lnTo>
                  <a:lnTo>
                    <a:pt x="10596" y="132"/>
                  </a:lnTo>
                  <a:lnTo>
                    <a:pt x="10578" y="132"/>
                  </a:lnTo>
                  <a:lnTo>
                    <a:pt x="10560" y="132"/>
                  </a:lnTo>
                  <a:lnTo>
                    <a:pt x="10534" y="115"/>
                  </a:lnTo>
                  <a:lnTo>
                    <a:pt x="10507" y="88"/>
                  </a:lnTo>
                  <a:lnTo>
                    <a:pt x="10437" y="97"/>
                  </a:lnTo>
                  <a:lnTo>
                    <a:pt x="10375" y="106"/>
                  </a:lnTo>
                  <a:lnTo>
                    <a:pt x="10322" y="97"/>
                  </a:lnTo>
                  <a:lnTo>
                    <a:pt x="10287" y="106"/>
                  </a:lnTo>
                  <a:lnTo>
                    <a:pt x="10216" y="97"/>
                  </a:lnTo>
                  <a:lnTo>
                    <a:pt x="10155" y="97"/>
                  </a:lnTo>
                  <a:lnTo>
                    <a:pt x="10128" y="97"/>
                  </a:lnTo>
                  <a:lnTo>
                    <a:pt x="10040" y="115"/>
                  </a:lnTo>
                  <a:lnTo>
                    <a:pt x="10013" y="115"/>
                  </a:lnTo>
                  <a:lnTo>
                    <a:pt x="10005" y="115"/>
                  </a:lnTo>
                  <a:lnTo>
                    <a:pt x="10005" y="97"/>
                  </a:lnTo>
                  <a:lnTo>
                    <a:pt x="10040" y="97"/>
                  </a:lnTo>
                  <a:lnTo>
                    <a:pt x="10146" y="88"/>
                  </a:lnTo>
                  <a:lnTo>
                    <a:pt x="10331" y="79"/>
                  </a:lnTo>
                  <a:lnTo>
                    <a:pt x="10437" y="71"/>
                  </a:lnTo>
                  <a:lnTo>
                    <a:pt x="10455" y="71"/>
                  </a:lnTo>
                  <a:lnTo>
                    <a:pt x="10463" y="62"/>
                  </a:lnTo>
                  <a:lnTo>
                    <a:pt x="10455" y="62"/>
                  </a:lnTo>
                  <a:lnTo>
                    <a:pt x="10366" y="44"/>
                  </a:lnTo>
                  <a:lnTo>
                    <a:pt x="10322" y="35"/>
                  </a:lnTo>
                  <a:lnTo>
                    <a:pt x="10269" y="35"/>
                  </a:lnTo>
                  <a:lnTo>
                    <a:pt x="10260" y="35"/>
                  </a:lnTo>
                  <a:lnTo>
                    <a:pt x="10225" y="18"/>
                  </a:lnTo>
                  <a:lnTo>
                    <a:pt x="10155" y="9"/>
                  </a:lnTo>
                  <a:lnTo>
                    <a:pt x="10102" y="0"/>
                  </a:lnTo>
                  <a:lnTo>
                    <a:pt x="9934" y="0"/>
                  </a:lnTo>
                  <a:lnTo>
                    <a:pt x="9899" y="9"/>
                  </a:lnTo>
                  <a:lnTo>
                    <a:pt x="9872" y="18"/>
                  </a:lnTo>
                  <a:lnTo>
                    <a:pt x="9846" y="18"/>
                  </a:lnTo>
                  <a:lnTo>
                    <a:pt x="9828" y="9"/>
                  </a:lnTo>
                  <a:lnTo>
                    <a:pt x="9810" y="9"/>
                  </a:lnTo>
                  <a:lnTo>
                    <a:pt x="9793" y="9"/>
                  </a:lnTo>
                  <a:lnTo>
                    <a:pt x="9775" y="9"/>
                  </a:lnTo>
                  <a:lnTo>
                    <a:pt x="9749" y="18"/>
                  </a:lnTo>
                  <a:lnTo>
                    <a:pt x="9669" y="18"/>
                  </a:lnTo>
                  <a:lnTo>
                    <a:pt x="9660" y="18"/>
                  </a:lnTo>
                  <a:lnTo>
                    <a:pt x="9660" y="26"/>
                  </a:lnTo>
                  <a:lnTo>
                    <a:pt x="9652" y="26"/>
                  </a:lnTo>
                  <a:lnTo>
                    <a:pt x="9625" y="26"/>
                  </a:lnTo>
                  <a:lnTo>
                    <a:pt x="9599" y="18"/>
                  </a:lnTo>
                  <a:lnTo>
                    <a:pt x="9581" y="18"/>
                  </a:lnTo>
                  <a:lnTo>
                    <a:pt x="9581" y="26"/>
                  </a:lnTo>
                  <a:lnTo>
                    <a:pt x="9563" y="35"/>
                  </a:lnTo>
                  <a:lnTo>
                    <a:pt x="9555" y="35"/>
                  </a:lnTo>
                  <a:lnTo>
                    <a:pt x="9528" y="35"/>
                  </a:lnTo>
                  <a:lnTo>
                    <a:pt x="9519" y="35"/>
                  </a:lnTo>
                  <a:lnTo>
                    <a:pt x="9511" y="44"/>
                  </a:lnTo>
                  <a:lnTo>
                    <a:pt x="9511" y="53"/>
                  </a:lnTo>
                  <a:lnTo>
                    <a:pt x="9519" y="62"/>
                  </a:lnTo>
                  <a:lnTo>
                    <a:pt x="9528" y="62"/>
                  </a:lnTo>
                  <a:lnTo>
                    <a:pt x="9563" y="79"/>
                  </a:lnTo>
                  <a:lnTo>
                    <a:pt x="9572" y="88"/>
                  </a:lnTo>
                  <a:lnTo>
                    <a:pt x="9563" y="97"/>
                  </a:lnTo>
                  <a:lnTo>
                    <a:pt x="9563" y="106"/>
                  </a:lnTo>
                  <a:lnTo>
                    <a:pt x="9555" y="115"/>
                  </a:lnTo>
                  <a:lnTo>
                    <a:pt x="9546" y="115"/>
                  </a:lnTo>
                  <a:lnTo>
                    <a:pt x="9493" y="79"/>
                  </a:lnTo>
                  <a:lnTo>
                    <a:pt x="9466" y="79"/>
                  </a:lnTo>
                  <a:lnTo>
                    <a:pt x="9449" y="71"/>
                  </a:lnTo>
                  <a:lnTo>
                    <a:pt x="9422" y="62"/>
                  </a:lnTo>
                  <a:lnTo>
                    <a:pt x="9387" y="53"/>
                  </a:lnTo>
                  <a:lnTo>
                    <a:pt x="9369" y="62"/>
                  </a:lnTo>
                  <a:lnTo>
                    <a:pt x="9343" y="79"/>
                  </a:lnTo>
                  <a:lnTo>
                    <a:pt x="9325" y="97"/>
                  </a:lnTo>
                  <a:lnTo>
                    <a:pt x="9308" y="88"/>
                  </a:lnTo>
                  <a:lnTo>
                    <a:pt x="9290" y="88"/>
                  </a:lnTo>
                  <a:lnTo>
                    <a:pt x="9281" y="88"/>
                  </a:lnTo>
                  <a:lnTo>
                    <a:pt x="9263" y="79"/>
                  </a:lnTo>
                  <a:lnTo>
                    <a:pt x="9255" y="71"/>
                  </a:lnTo>
                  <a:lnTo>
                    <a:pt x="9211" y="62"/>
                  </a:lnTo>
                  <a:lnTo>
                    <a:pt x="9193" y="62"/>
                  </a:lnTo>
                  <a:lnTo>
                    <a:pt x="9184" y="71"/>
                  </a:lnTo>
                  <a:lnTo>
                    <a:pt x="9105" y="88"/>
                  </a:lnTo>
                  <a:lnTo>
                    <a:pt x="9078" y="88"/>
                  </a:lnTo>
                  <a:lnTo>
                    <a:pt x="9043" y="97"/>
                  </a:lnTo>
                  <a:lnTo>
                    <a:pt x="9016" y="115"/>
                  </a:lnTo>
                  <a:lnTo>
                    <a:pt x="8981" y="106"/>
                  </a:lnTo>
                  <a:lnTo>
                    <a:pt x="8964" y="106"/>
                  </a:lnTo>
                  <a:lnTo>
                    <a:pt x="8937" y="124"/>
                  </a:lnTo>
                  <a:lnTo>
                    <a:pt x="8964" y="141"/>
                  </a:lnTo>
                  <a:lnTo>
                    <a:pt x="8990" y="141"/>
                  </a:lnTo>
                  <a:lnTo>
                    <a:pt x="9025" y="141"/>
                  </a:lnTo>
                  <a:lnTo>
                    <a:pt x="9052" y="132"/>
                  </a:lnTo>
                  <a:lnTo>
                    <a:pt x="9069" y="132"/>
                  </a:lnTo>
                  <a:lnTo>
                    <a:pt x="9105" y="141"/>
                  </a:lnTo>
                  <a:lnTo>
                    <a:pt x="9308" y="159"/>
                  </a:lnTo>
                  <a:lnTo>
                    <a:pt x="9316" y="159"/>
                  </a:lnTo>
                  <a:lnTo>
                    <a:pt x="9316" y="168"/>
                  </a:lnTo>
                  <a:lnTo>
                    <a:pt x="9281" y="177"/>
                  </a:lnTo>
                  <a:lnTo>
                    <a:pt x="9272" y="168"/>
                  </a:lnTo>
                  <a:lnTo>
                    <a:pt x="9263" y="168"/>
                  </a:lnTo>
                  <a:lnTo>
                    <a:pt x="9255" y="168"/>
                  </a:lnTo>
                  <a:lnTo>
                    <a:pt x="9219" y="159"/>
                  </a:lnTo>
                  <a:lnTo>
                    <a:pt x="9043" y="150"/>
                  </a:lnTo>
                  <a:lnTo>
                    <a:pt x="9025" y="159"/>
                  </a:lnTo>
                  <a:lnTo>
                    <a:pt x="9008" y="159"/>
                  </a:lnTo>
                  <a:lnTo>
                    <a:pt x="9008" y="168"/>
                  </a:lnTo>
                  <a:lnTo>
                    <a:pt x="9078" y="194"/>
                  </a:lnTo>
                  <a:lnTo>
                    <a:pt x="9096" y="212"/>
                  </a:lnTo>
                  <a:lnTo>
                    <a:pt x="9105" y="229"/>
                  </a:lnTo>
                  <a:lnTo>
                    <a:pt x="9096" y="238"/>
                  </a:lnTo>
                  <a:lnTo>
                    <a:pt x="9087" y="247"/>
                  </a:lnTo>
                  <a:lnTo>
                    <a:pt x="9078" y="274"/>
                  </a:lnTo>
                  <a:lnTo>
                    <a:pt x="9078" y="291"/>
                  </a:lnTo>
                  <a:lnTo>
                    <a:pt x="9078" y="300"/>
                  </a:lnTo>
                  <a:lnTo>
                    <a:pt x="9087" y="318"/>
                  </a:lnTo>
                  <a:lnTo>
                    <a:pt x="9087" y="327"/>
                  </a:lnTo>
                  <a:lnTo>
                    <a:pt x="9078" y="327"/>
                  </a:lnTo>
                  <a:lnTo>
                    <a:pt x="9069" y="335"/>
                  </a:lnTo>
                  <a:lnTo>
                    <a:pt x="9061" y="335"/>
                  </a:lnTo>
                  <a:lnTo>
                    <a:pt x="9025" y="327"/>
                  </a:lnTo>
                  <a:lnTo>
                    <a:pt x="8928" y="282"/>
                  </a:lnTo>
                  <a:lnTo>
                    <a:pt x="8875" y="265"/>
                  </a:lnTo>
                  <a:lnTo>
                    <a:pt x="8769" y="221"/>
                  </a:lnTo>
                  <a:lnTo>
                    <a:pt x="8681" y="212"/>
                  </a:lnTo>
                  <a:lnTo>
                    <a:pt x="8619" y="212"/>
                  </a:lnTo>
                  <a:lnTo>
                    <a:pt x="8611" y="212"/>
                  </a:lnTo>
                  <a:lnTo>
                    <a:pt x="8611" y="229"/>
                  </a:lnTo>
                  <a:lnTo>
                    <a:pt x="8628" y="256"/>
                  </a:lnTo>
                  <a:lnTo>
                    <a:pt x="8655" y="274"/>
                  </a:lnTo>
                  <a:lnTo>
                    <a:pt x="8708" y="300"/>
                  </a:lnTo>
                  <a:lnTo>
                    <a:pt x="8717" y="309"/>
                  </a:lnTo>
                  <a:lnTo>
                    <a:pt x="8708" y="318"/>
                  </a:lnTo>
                  <a:lnTo>
                    <a:pt x="8690" y="318"/>
                  </a:lnTo>
                  <a:lnTo>
                    <a:pt x="8655" y="309"/>
                  </a:lnTo>
                  <a:lnTo>
                    <a:pt x="8619" y="318"/>
                  </a:lnTo>
                  <a:lnTo>
                    <a:pt x="8584" y="291"/>
                  </a:lnTo>
                  <a:lnTo>
                    <a:pt x="8558" y="282"/>
                  </a:lnTo>
                  <a:lnTo>
                    <a:pt x="8478" y="238"/>
                  </a:lnTo>
                  <a:lnTo>
                    <a:pt x="8461" y="238"/>
                  </a:lnTo>
                  <a:lnTo>
                    <a:pt x="8452" y="247"/>
                  </a:lnTo>
                  <a:lnTo>
                    <a:pt x="8452" y="274"/>
                  </a:lnTo>
                  <a:lnTo>
                    <a:pt x="8469" y="291"/>
                  </a:lnTo>
                  <a:lnTo>
                    <a:pt x="8461" y="300"/>
                  </a:lnTo>
                  <a:lnTo>
                    <a:pt x="8461" y="318"/>
                  </a:lnTo>
                  <a:lnTo>
                    <a:pt x="8452" y="335"/>
                  </a:lnTo>
                  <a:lnTo>
                    <a:pt x="8443" y="335"/>
                  </a:lnTo>
                  <a:lnTo>
                    <a:pt x="8434" y="353"/>
                  </a:lnTo>
                  <a:lnTo>
                    <a:pt x="8417" y="353"/>
                  </a:lnTo>
                  <a:lnTo>
                    <a:pt x="8417" y="344"/>
                  </a:lnTo>
                  <a:lnTo>
                    <a:pt x="8417" y="282"/>
                  </a:lnTo>
                  <a:lnTo>
                    <a:pt x="8417" y="265"/>
                  </a:lnTo>
                  <a:lnTo>
                    <a:pt x="8399" y="256"/>
                  </a:lnTo>
                  <a:lnTo>
                    <a:pt x="8390" y="247"/>
                  </a:lnTo>
                  <a:lnTo>
                    <a:pt x="8364" y="238"/>
                  </a:lnTo>
                  <a:lnTo>
                    <a:pt x="8346" y="229"/>
                  </a:lnTo>
                  <a:lnTo>
                    <a:pt x="8337" y="229"/>
                  </a:lnTo>
                  <a:lnTo>
                    <a:pt x="8293" y="238"/>
                  </a:lnTo>
                  <a:lnTo>
                    <a:pt x="8275" y="247"/>
                  </a:lnTo>
                  <a:lnTo>
                    <a:pt x="8222" y="256"/>
                  </a:lnTo>
                  <a:lnTo>
                    <a:pt x="8196" y="256"/>
                  </a:lnTo>
                  <a:lnTo>
                    <a:pt x="8117" y="265"/>
                  </a:lnTo>
                  <a:lnTo>
                    <a:pt x="8037" y="282"/>
                  </a:lnTo>
                  <a:lnTo>
                    <a:pt x="8002" y="291"/>
                  </a:lnTo>
                  <a:lnTo>
                    <a:pt x="8002" y="300"/>
                  </a:lnTo>
                  <a:lnTo>
                    <a:pt x="8037" y="309"/>
                  </a:lnTo>
                  <a:lnTo>
                    <a:pt x="8055" y="318"/>
                  </a:lnTo>
                  <a:lnTo>
                    <a:pt x="8081" y="335"/>
                  </a:lnTo>
                  <a:lnTo>
                    <a:pt x="8108" y="353"/>
                  </a:lnTo>
                  <a:lnTo>
                    <a:pt x="8152" y="380"/>
                  </a:lnTo>
                  <a:lnTo>
                    <a:pt x="8178" y="388"/>
                  </a:lnTo>
                  <a:lnTo>
                    <a:pt x="8196" y="406"/>
                  </a:lnTo>
                  <a:lnTo>
                    <a:pt x="8187" y="406"/>
                  </a:lnTo>
                  <a:lnTo>
                    <a:pt x="8178" y="406"/>
                  </a:lnTo>
                  <a:lnTo>
                    <a:pt x="8161" y="397"/>
                  </a:lnTo>
                  <a:lnTo>
                    <a:pt x="8134" y="380"/>
                  </a:lnTo>
                  <a:lnTo>
                    <a:pt x="8108" y="371"/>
                  </a:lnTo>
                  <a:lnTo>
                    <a:pt x="8090" y="362"/>
                  </a:lnTo>
                  <a:lnTo>
                    <a:pt x="8064" y="353"/>
                  </a:lnTo>
                  <a:lnTo>
                    <a:pt x="8020" y="327"/>
                  </a:lnTo>
                  <a:lnTo>
                    <a:pt x="8002" y="318"/>
                  </a:lnTo>
                  <a:lnTo>
                    <a:pt x="7975" y="309"/>
                  </a:lnTo>
                  <a:lnTo>
                    <a:pt x="7958" y="309"/>
                  </a:lnTo>
                  <a:lnTo>
                    <a:pt x="7940" y="309"/>
                  </a:lnTo>
                  <a:lnTo>
                    <a:pt x="7914" y="309"/>
                  </a:lnTo>
                  <a:lnTo>
                    <a:pt x="7887" y="318"/>
                  </a:lnTo>
                  <a:lnTo>
                    <a:pt x="7870" y="327"/>
                  </a:lnTo>
                  <a:lnTo>
                    <a:pt x="7861" y="344"/>
                  </a:lnTo>
                  <a:lnTo>
                    <a:pt x="7861" y="353"/>
                  </a:lnTo>
                  <a:lnTo>
                    <a:pt x="7861" y="362"/>
                  </a:lnTo>
                  <a:lnTo>
                    <a:pt x="7861" y="380"/>
                  </a:lnTo>
                  <a:lnTo>
                    <a:pt x="7870" y="406"/>
                  </a:lnTo>
                  <a:lnTo>
                    <a:pt x="7861" y="424"/>
                  </a:lnTo>
                  <a:lnTo>
                    <a:pt x="7852" y="441"/>
                  </a:lnTo>
                  <a:lnTo>
                    <a:pt x="7843" y="450"/>
                  </a:lnTo>
                  <a:lnTo>
                    <a:pt x="7834" y="450"/>
                  </a:lnTo>
                  <a:lnTo>
                    <a:pt x="7825" y="450"/>
                  </a:lnTo>
                  <a:lnTo>
                    <a:pt x="7808" y="450"/>
                  </a:lnTo>
                  <a:lnTo>
                    <a:pt x="7799" y="441"/>
                  </a:lnTo>
                  <a:lnTo>
                    <a:pt x="7781" y="441"/>
                  </a:lnTo>
                  <a:lnTo>
                    <a:pt x="7755" y="432"/>
                  </a:lnTo>
                  <a:lnTo>
                    <a:pt x="7737" y="432"/>
                  </a:lnTo>
                  <a:lnTo>
                    <a:pt x="7728" y="432"/>
                  </a:lnTo>
                  <a:lnTo>
                    <a:pt x="7711" y="450"/>
                  </a:lnTo>
                  <a:lnTo>
                    <a:pt x="7711" y="459"/>
                  </a:lnTo>
                  <a:lnTo>
                    <a:pt x="7720" y="485"/>
                  </a:lnTo>
                  <a:lnTo>
                    <a:pt x="7728" y="494"/>
                  </a:lnTo>
                  <a:lnTo>
                    <a:pt x="7720" y="494"/>
                  </a:lnTo>
                  <a:lnTo>
                    <a:pt x="7693" y="468"/>
                  </a:lnTo>
                  <a:lnTo>
                    <a:pt x="7684" y="468"/>
                  </a:lnTo>
                  <a:lnTo>
                    <a:pt x="7675" y="459"/>
                  </a:lnTo>
                  <a:lnTo>
                    <a:pt x="7658" y="459"/>
                  </a:lnTo>
                  <a:lnTo>
                    <a:pt x="7614" y="468"/>
                  </a:lnTo>
                  <a:lnTo>
                    <a:pt x="7605" y="477"/>
                  </a:lnTo>
                  <a:lnTo>
                    <a:pt x="7578" y="503"/>
                  </a:lnTo>
                  <a:lnTo>
                    <a:pt x="7552" y="512"/>
                  </a:lnTo>
                  <a:lnTo>
                    <a:pt x="7534" y="530"/>
                  </a:lnTo>
                  <a:lnTo>
                    <a:pt x="7517" y="530"/>
                  </a:lnTo>
                  <a:lnTo>
                    <a:pt x="7508" y="530"/>
                  </a:lnTo>
                  <a:lnTo>
                    <a:pt x="7499" y="538"/>
                  </a:lnTo>
                  <a:lnTo>
                    <a:pt x="7481" y="547"/>
                  </a:lnTo>
                  <a:lnTo>
                    <a:pt x="7464" y="556"/>
                  </a:lnTo>
                  <a:lnTo>
                    <a:pt x="7437" y="574"/>
                  </a:lnTo>
                  <a:lnTo>
                    <a:pt x="7428" y="574"/>
                  </a:lnTo>
                  <a:lnTo>
                    <a:pt x="7420" y="591"/>
                  </a:lnTo>
                  <a:lnTo>
                    <a:pt x="7420" y="609"/>
                  </a:lnTo>
                  <a:lnTo>
                    <a:pt x="7420" y="618"/>
                  </a:lnTo>
                  <a:lnTo>
                    <a:pt x="7428" y="618"/>
                  </a:lnTo>
                  <a:lnTo>
                    <a:pt x="7437" y="627"/>
                  </a:lnTo>
                  <a:lnTo>
                    <a:pt x="7446" y="627"/>
                  </a:lnTo>
                  <a:lnTo>
                    <a:pt x="7473" y="627"/>
                  </a:lnTo>
                  <a:lnTo>
                    <a:pt x="7481" y="627"/>
                  </a:lnTo>
                  <a:lnTo>
                    <a:pt x="7508" y="635"/>
                  </a:lnTo>
                  <a:lnTo>
                    <a:pt x="7517" y="635"/>
                  </a:lnTo>
                  <a:lnTo>
                    <a:pt x="7543" y="635"/>
                  </a:lnTo>
                  <a:lnTo>
                    <a:pt x="7552" y="627"/>
                  </a:lnTo>
                  <a:lnTo>
                    <a:pt x="7561" y="627"/>
                  </a:lnTo>
                  <a:lnTo>
                    <a:pt x="7578" y="627"/>
                  </a:lnTo>
                  <a:lnTo>
                    <a:pt x="7596" y="627"/>
                  </a:lnTo>
                  <a:lnTo>
                    <a:pt x="7614" y="618"/>
                  </a:lnTo>
                  <a:lnTo>
                    <a:pt x="7623" y="618"/>
                  </a:lnTo>
                  <a:lnTo>
                    <a:pt x="7631" y="618"/>
                  </a:lnTo>
                  <a:lnTo>
                    <a:pt x="7640" y="627"/>
                  </a:lnTo>
                  <a:lnTo>
                    <a:pt x="7623" y="627"/>
                  </a:lnTo>
                  <a:lnTo>
                    <a:pt x="7605" y="635"/>
                  </a:lnTo>
                  <a:lnTo>
                    <a:pt x="7596" y="644"/>
                  </a:lnTo>
                  <a:lnTo>
                    <a:pt x="7587" y="644"/>
                  </a:lnTo>
                  <a:lnTo>
                    <a:pt x="7587" y="662"/>
                  </a:lnTo>
                  <a:lnTo>
                    <a:pt x="7578" y="688"/>
                  </a:lnTo>
                  <a:lnTo>
                    <a:pt x="7570" y="715"/>
                  </a:lnTo>
                  <a:lnTo>
                    <a:pt x="7561" y="733"/>
                  </a:lnTo>
                  <a:lnTo>
                    <a:pt x="7552" y="750"/>
                  </a:lnTo>
                  <a:lnTo>
                    <a:pt x="7534" y="768"/>
                  </a:lnTo>
                  <a:lnTo>
                    <a:pt x="7517" y="777"/>
                  </a:lnTo>
                  <a:lnTo>
                    <a:pt x="7508" y="785"/>
                  </a:lnTo>
                  <a:lnTo>
                    <a:pt x="7499" y="785"/>
                  </a:lnTo>
                  <a:lnTo>
                    <a:pt x="7490" y="785"/>
                  </a:lnTo>
                  <a:lnTo>
                    <a:pt x="7464" y="785"/>
                  </a:lnTo>
                  <a:lnTo>
                    <a:pt x="7411" y="785"/>
                  </a:lnTo>
                  <a:lnTo>
                    <a:pt x="7393" y="785"/>
                  </a:lnTo>
                  <a:lnTo>
                    <a:pt x="7384" y="794"/>
                  </a:lnTo>
                  <a:lnTo>
                    <a:pt x="7367" y="794"/>
                  </a:lnTo>
                  <a:lnTo>
                    <a:pt x="7358" y="794"/>
                  </a:lnTo>
                  <a:lnTo>
                    <a:pt x="7331" y="803"/>
                  </a:lnTo>
                  <a:lnTo>
                    <a:pt x="7296" y="812"/>
                  </a:lnTo>
                  <a:lnTo>
                    <a:pt x="7287" y="821"/>
                  </a:lnTo>
                  <a:lnTo>
                    <a:pt x="7287" y="830"/>
                  </a:lnTo>
                  <a:lnTo>
                    <a:pt x="7217" y="847"/>
                  </a:lnTo>
                  <a:lnTo>
                    <a:pt x="7181" y="856"/>
                  </a:lnTo>
                  <a:lnTo>
                    <a:pt x="7164" y="856"/>
                  </a:lnTo>
                  <a:lnTo>
                    <a:pt x="7155" y="865"/>
                  </a:lnTo>
                  <a:lnTo>
                    <a:pt x="7146" y="865"/>
                  </a:lnTo>
                  <a:lnTo>
                    <a:pt x="7111" y="865"/>
                  </a:lnTo>
                  <a:lnTo>
                    <a:pt x="7102" y="865"/>
                  </a:lnTo>
                  <a:lnTo>
                    <a:pt x="7093" y="874"/>
                  </a:lnTo>
                  <a:lnTo>
                    <a:pt x="7067" y="883"/>
                  </a:lnTo>
                  <a:lnTo>
                    <a:pt x="7040" y="891"/>
                  </a:lnTo>
                  <a:lnTo>
                    <a:pt x="7031" y="891"/>
                  </a:lnTo>
                  <a:lnTo>
                    <a:pt x="7014" y="909"/>
                  </a:lnTo>
                  <a:lnTo>
                    <a:pt x="7014" y="918"/>
                  </a:lnTo>
                  <a:lnTo>
                    <a:pt x="7023" y="927"/>
                  </a:lnTo>
                  <a:lnTo>
                    <a:pt x="7005" y="936"/>
                  </a:lnTo>
                  <a:lnTo>
                    <a:pt x="7005" y="944"/>
                  </a:lnTo>
                  <a:lnTo>
                    <a:pt x="7023" y="953"/>
                  </a:lnTo>
                  <a:lnTo>
                    <a:pt x="7049" y="971"/>
                  </a:lnTo>
                  <a:lnTo>
                    <a:pt x="7049" y="980"/>
                  </a:lnTo>
                  <a:lnTo>
                    <a:pt x="7058" y="980"/>
                  </a:lnTo>
                  <a:lnTo>
                    <a:pt x="7093" y="988"/>
                  </a:lnTo>
                  <a:lnTo>
                    <a:pt x="7102" y="988"/>
                  </a:lnTo>
                  <a:lnTo>
                    <a:pt x="7111" y="997"/>
                  </a:lnTo>
                  <a:lnTo>
                    <a:pt x="7120" y="997"/>
                  </a:lnTo>
                  <a:lnTo>
                    <a:pt x="7137" y="1006"/>
                  </a:lnTo>
                  <a:lnTo>
                    <a:pt x="7155" y="1006"/>
                  </a:lnTo>
                  <a:lnTo>
                    <a:pt x="7164" y="1006"/>
                  </a:lnTo>
                  <a:lnTo>
                    <a:pt x="7181" y="997"/>
                  </a:lnTo>
                  <a:lnTo>
                    <a:pt x="7208" y="997"/>
                  </a:lnTo>
                  <a:lnTo>
                    <a:pt x="7190" y="1006"/>
                  </a:lnTo>
                  <a:lnTo>
                    <a:pt x="7173" y="1015"/>
                  </a:lnTo>
                  <a:lnTo>
                    <a:pt x="7190" y="1024"/>
                  </a:lnTo>
                  <a:lnTo>
                    <a:pt x="7199" y="1024"/>
                  </a:lnTo>
                  <a:lnTo>
                    <a:pt x="7199" y="1033"/>
                  </a:lnTo>
                  <a:lnTo>
                    <a:pt x="7217" y="1041"/>
                  </a:lnTo>
                  <a:lnTo>
                    <a:pt x="7261" y="1059"/>
                  </a:lnTo>
                  <a:lnTo>
                    <a:pt x="7270" y="1059"/>
                  </a:lnTo>
                  <a:lnTo>
                    <a:pt x="7278" y="1050"/>
                  </a:lnTo>
                  <a:lnTo>
                    <a:pt x="7287" y="1050"/>
                  </a:lnTo>
                  <a:lnTo>
                    <a:pt x="7296" y="1041"/>
                  </a:lnTo>
                  <a:lnTo>
                    <a:pt x="7305" y="1033"/>
                  </a:lnTo>
                  <a:lnTo>
                    <a:pt x="7314" y="1033"/>
                  </a:lnTo>
                  <a:lnTo>
                    <a:pt x="7323" y="1033"/>
                  </a:lnTo>
                  <a:lnTo>
                    <a:pt x="7340" y="1041"/>
                  </a:lnTo>
                  <a:lnTo>
                    <a:pt x="7349" y="1041"/>
                  </a:lnTo>
                  <a:lnTo>
                    <a:pt x="7358" y="1050"/>
                  </a:lnTo>
                  <a:lnTo>
                    <a:pt x="7384" y="1050"/>
                  </a:lnTo>
                  <a:lnTo>
                    <a:pt x="7393" y="1041"/>
                  </a:lnTo>
                  <a:lnTo>
                    <a:pt x="7420" y="1033"/>
                  </a:lnTo>
                  <a:lnTo>
                    <a:pt x="7437" y="1024"/>
                  </a:lnTo>
                  <a:lnTo>
                    <a:pt x="7446" y="1024"/>
                  </a:lnTo>
                  <a:lnTo>
                    <a:pt x="7455" y="1024"/>
                  </a:lnTo>
                  <a:lnTo>
                    <a:pt x="7473" y="1033"/>
                  </a:lnTo>
                  <a:lnTo>
                    <a:pt x="7481" y="1041"/>
                  </a:lnTo>
                  <a:lnTo>
                    <a:pt x="7490" y="1050"/>
                  </a:lnTo>
                  <a:lnTo>
                    <a:pt x="7481" y="1050"/>
                  </a:lnTo>
                  <a:lnTo>
                    <a:pt x="7473" y="1068"/>
                  </a:lnTo>
                  <a:lnTo>
                    <a:pt x="7473" y="1077"/>
                  </a:lnTo>
                  <a:lnTo>
                    <a:pt x="7481" y="1086"/>
                  </a:lnTo>
                  <a:lnTo>
                    <a:pt x="7455" y="1077"/>
                  </a:lnTo>
                  <a:lnTo>
                    <a:pt x="7437" y="1068"/>
                  </a:lnTo>
                  <a:lnTo>
                    <a:pt x="7402" y="1068"/>
                  </a:lnTo>
                  <a:lnTo>
                    <a:pt x="7349" y="1068"/>
                  </a:lnTo>
                  <a:lnTo>
                    <a:pt x="7314" y="1077"/>
                  </a:lnTo>
                  <a:lnTo>
                    <a:pt x="7305" y="1077"/>
                  </a:lnTo>
                  <a:lnTo>
                    <a:pt x="7287" y="1094"/>
                  </a:lnTo>
                  <a:lnTo>
                    <a:pt x="7234" y="1094"/>
                  </a:lnTo>
                  <a:lnTo>
                    <a:pt x="7164" y="1094"/>
                  </a:lnTo>
                  <a:lnTo>
                    <a:pt x="7146" y="1103"/>
                  </a:lnTo>
                  <a:lnTo>
                    <a:pt x="7137" y="1103"/>
                  </a:lnTo>
                  <a:lnTo>
                    <a:pt x="7137" y="1112"/>
                  </a:lnTo>
                  <a:lnTo>
                    <a:pt x="7128" y="1112"/>
                  </a:lnTo>
                  <a:lnTo>
                    <a:pt x="7128" y="1121"/>
                  </a:lnTo>
                  <a:lnTo>
                    <a:pt x="7137" y="1130"/>
                  </a:lnTo>
                  <a:lnTo>
                    <a:pt x="7155" y="1139"/>
                  </a:lnTo>
                  <a:lnTo>
                    <a:pt x="7155" y="1147"/>
                  </a:lnTo>
                  <a:lnTo>
                    <a:pt x="7155" y="1156"/>
                  </a:lnTo>
                  <a:lnTo>
                    <a:pt x="7164" y="1156"/>
                  </a:lnTo>
                  <a:lnTo>
                    <a:pt x="7181" y="1156"/>
                  </a:lnTo>
                  <a:lnTo>
                    <a:pt x="7199" y="1147"/>
                  </a:lnTo>
                  <a:lnTo>
                    <a:pt x="7234" y="1130"/>
                  </a:lnTo>
                  <a:lnTo>
                    <a:pt x="7226" y="1139"/>
                  </a:lnTo>
                  <a:lnTo>
                    <a:pt x="7226" y="1147"/>
                  </a:lnTo>
                  <a:lnTo>
                    <a:pt x="7217" y="1156"/>
                  </a:lnTo>
                  <a:lnTo>
                    <a:pt x="7226" y="1165"/>
                  </a:lnTo>
                  <a:lnTo>
                    <a:pt x="7234" y="1165"/>
                  </a:lnTo>
                  <a:lnTo>
                    <a:pt x="7270" y="1174"/>
                  </a:lnTo>
                  <a:lnTo>
                    <a:pt x="7305" y="1183"/>
                  </a:lnTo>
                  <a:lnTo>
                    <a:pt x="7340" y="1174"/>
                  </a:lnTo>
                  <a:lnTo>
                    <a:pt x="7349" y="1183"/>
                  </a:lnTo>
                  <a:lnTo>
                    <a:pt x="7340" y="1183"/>
                  </a:lnTo>
                  <a:lnTo>
                    <a:pt x="7314" y="1191"/>
                  </a:lnTo>
                  <a:lnTo>
                    <a:pt x="7296" y="1191"/>
                  </a:lnTo>
                  <a:lnTo>
                    <a:pt x="7252" y="1218"/>
                  </a:lnTo>
                  <a:lnTo>
                    <a:pt x="7252" y="1227"/>
                  </a:lnTo>
                  <a:lnTo>
                    <a:pt x="7261" y="1227"/>
                  </a:lnTo>
                  <a:lnTo>
                    <a:pt x="7278" y="1236"/>
                  </a:lnTo>
                  <a:lnTo>
                    <a:pt x="7305" y="1253"/>
                  </a:lnTo>
                  <a:lnTo>
                    <a:pt x="7314" y="1262"/>
                  </a:lnTo>
                  <a:lnTo>
                    <a:pt x="7340" y="1271"/>
                  </a:lnTo>
                  <a:lnTo>
                    <a:pt x="7349" y="1271"/>
                  </a:lnTo>
                  <a:lnTo>
                    <a:pt x="7446" y="1289"/>
                  </a:lnTo>
                  <a:lnTo>
                    <a:pt x="7455" y="1289"/>
                  </a:lnTo>
                  <a:lnTo>
                    <a:pt x="7446" y="1271"/>
                  </a:lnTo>
                  <a:lnTo>
                    <a:pt x="7428" y="1262"/>
                  </a:lnTo>
                  <a:lnTo>
                    <a:pt x="7428" y="1253"/>
                  </a:lnTo>
                  <a:lnTo>
                    <a:pt x="7437" y="1244"/>
                  </a:lnTo>
                  <a:lnTo>
                    <a:pt x="7446" y="1244"/>
                  </a:lnTo>
                  <a:lnTo>
                    <a:pt x="7455" y="1253"/>
                  </a:lnTo>
                  <a:lnTo>
                    <a:pt x="7464" y="1262"/>
                  </a:lnTo>
                  <a:lnTo>
                    <a:pt x="7473" y="1262"/>
                  </a:lnTo>
                  <a:lnTo>
                    <a:pt x="7481" y="1253"/>
                  </a:lnTo>
                  <a:lnTo>
                    <a:pt x="7499" y="1244"/>
                  </a:lnTo>
                  <a:lnTo>
                    <a:pt x="7508" y="1244"/>
                  </a:lnTo>
                  <a:lnTo>
                    <a:pt x="7517" y="1244"/>
                  </a:lnTo>
                  <a:lnTo>
                    <a:pt x="7525" y="1244"/>
                  </a:lnTo>
                  <a:lnTo>
                    <a:pt x="7525" y="1253"/>
                  </a:lnTo>
                  <a:lnTo>
                    <a:pt x="7534" y="1262"/>
                  </a:lnTo>
                  <a:lnTo>
                    <a:pt x="7543" y="1262"/>
                  </a:lnTo>
                  <a:lnTo>
                    <a:pt x="7552" y="1262"/>
                  </a:lnTo>
                  <a:lnTo>
                    <a:pt x="7561" y="1262"/>
                  </a:lnTo>
                  <a:lnTo>
                    <a:pt x="7570" y="1262"/>
                  </a:lnTo>
                  <a:lnTo>
                    <a:pt x="7587" y="1253"/>
                  </a:lnTo>
                  <a:lnTo>
                    <a:pt x="7605" y="1244"/>
                  </a:lnTo>
                  <a:lnTo>
                    <a:pt x="7614" y="1244"/>
                  </a:lnTo>
                  <a:lnTo>
                    <a:pt x="7623" y="1236"/>
                  </a:lnTo>
                  <a:lnTo>
                    <a:pt x="7631" y="1236"/>
                  </a:lnTo>
                  <a:lnTo>
                    <a:pt x="7640" y="1236"/>
                  </a:lnTo>
                  <a:lnTo>
                    <a:pt x="7640" y="1244"/>
                  </a:lnTo>
                  <a:lnTo>
                    <a:pt x="7658" y="1253"/>
                  </a:lnTo>
                  <a:lnTo>
                    <a:pt x="7667" y="1244"/>
                  </a:lnTo>
                  <a:lnTo>
                    <a:pt x="7684" y="1236"/>
                  </a:lnTo>
                  <a:lnTo>
                    <a:pt x="7693" y="1227"/>
                  </a:lnTo>
                  <a:lnTo>
                    <a:pt x="7702" y="1227"/>
                  </a:lnTo>
                  <a:lnTo>
                    <a:pt x="7728" y="1236"/>
                  </a:lnTo>
                  <a:lnTo>
                    <a:pt x="7737" y="1244"/>
                  </a:lnTo>
                  <a:lnTo>
                    <a:pt x="7746" y="1244"/>
                  </a:lnTo>
                  <a:lnTo>
                    <a:pt x="7764" y="1244"/>
                  </a:lnTo>
                  <a:lnTo>
                    <a:pt x="7790" y="1244"/>
                  </a:lnTo>
                  <a:lnTo>
                    <a:pt x="7825" y="1253"/>
                  </a:lnTo>
                  <a:lnTo>
                    <a:pt x="7843" y="1253"/>
                  </a:lnTo>
                  <a:lnTo>
                    <a:pt x="7861" y="1253"/>
                  </a:lnTo>
                  <a:lnTo>
                    <a:pt x="7887" y="1262"/>
                  </a:lnTo>
                  <a:lnTo>
                    <a:pt x="7931" y="1280"/>
                  </a:lnTo>
                  <a:lnTo>
                    <a:pt x="7967" y="1297"/>
                  </a:lnTo>
                  <a:lnTo>
                    <a:pt x="7984" y="1306"/>
                  </a:lnTo>
                  <a:lnTo>
                    <a:pt x="8002" y="1306"/>
                  </a:lnTo>
                  <a:lnTo>
                    <a:pt x="8011" y="1315"/>
                  </a:lnTo>
                  <a:lnTo>
                    <a:pt x="8028" y="1324"/>
                  </a:lnTo>
                  <a:lnTo>
                    <a:pt x="8046" y="1324"/>
                  </a:lnTo>
                  <a:lnTo>
                    <a:pt x="8055" y="1324"/>
                  </a:lnTo>
                  <a:lnTo>
                    <a:pt x="8064" y="1341"/>
                  </a:lnTo>
                  <a:lnTo>
                    <a:pt x="8072" y="1359"/>
                  </a:lnTo>
                  <a:lnTo>
                    <a:pt x="8046" y="1377"/>
                  </a:lnTo>
                  <a:lnTo>
                    <a:pt x="8055" y="1377"/>
                  </a:lnTo>
                  <a:lnTo>
                    <a:pt x="8072" y="1386"/>
                  </a:lnTo>
                  <a:lnTo>
                    <a:pt x="8081" y="1394"/>
                  </a:lnTo>
                  <a:lnTo>
                    <a:pt x="8090" y="1403"/>
                  </a:lnTo>
                  <a:lnTo>
                    <a:pt x="8099" y="1412"/>
                  </a:lnTo>
                  <a:lnTo>
                    <a:pt x="8108" y="1421"/>
                  </a:lnTo>
                  <a:lnTo>
                    <a:pt x="8143" y="1439"/>
                  </a:lnTo>
                  <a:lnTo>
                    <a:pt x="8152" y="1447"/>
                  </a:lnTo>
                  <a:lnTo>
                    <a:pt x="8161" y="1456"/>
                  </a:lnTo>
                  <a:lnTo>
                    <a:pt x="8170" y="1465"/>
                  </a:lnTo>
                  <a:lnTo>
                    <a:pt x="8170" y="1474"/>
                  </a:lnTo>
                  <a:lnTo>
                    <a:pt x="8178" y="1474"/>
                  </a:lnTo>
                  <a:lnTo>
                    <a:pt x="8178" y="1483"/>
                  </a:lnTo>
                  <a:lnTo>
                    <a:pt x="8205" y="1483"/>
                  </a:lnTo>
                  <a:lnTo>
                    <a:pt x="8222" y="1500"/>
                  </a:lnTo>
                  <a:lnTo>
                    <a:pt x="8214" y="1509"/>
                  </a:lnTo>
                  <a:lnTo>
                    <a:pt x="8205" y="1509"/>
                  </a:lnTo>
                  <a:lnTo>
                    <a:pt x="8196" y="1509"/>
                  </a:lnTo>
                  <a:lnTo>
                    <a:pt x="8187" y="1518"/>
                  </a:lnTo>
                  <a:lnTo>
                    <a:pt x="8196" y="1518"/>
                  </a:lnTo>
                  <a:lnTo>
                    <a:pt x="8196" y="1527"/>
                  </a:lnTo>
                  <a:lnTo>
                    <a:pt x="8196" y="1536"/>
                  </a:lnTo>
                  <a:lnTo>
                    <a:pt x="8187" y="1544"/>
                  </a:lnTo>
                  <a:lnTo>
                    <a:pt x="8170" y="1544"/>
                  </a:lnTo>
                  <a:lnTo>
                    <a:pt x="8161" y="1553"/>
                  </a:lnTo>
                  <a:lnTo>
                    <a:pt x="8152" y="1562"/>
                  </a:lnTo>
                  <a:lnTo>
                    <a:pt x="8170" y="1553"/>
                  </a:lnTo>
                  <a:lnTo>
                    <a:pt x="8196" y="1553"/>
                  </a:lnTo>
                  <a:lnTo>
                    <a:pt x="8205" y="1553"/>
                  </a:lnTo>
                  <a:lnTo>
                    <a:pt x="8214" y="1553"/>
                  </a:lnTo>
                  <a:lnTo>
                    <a:pt x="8222" y="1553"/>
                  </a:lnTo>
                  <a:lnTo>
                    <a:pt x="8231" y="1571"/>
                  </a:lnTo>
                  <a:lnTo>
                    <a:pt x="8240" y="1571"/>
                  </a:lnTo>
                  <a:lnTo>
                    <a:pt x="8240" y="1580"/>
                  </a:lnTo>
                  <a:lnTo>
                    <a:pt x="8240" y="1589"/>
                  </a:lnTo>
                  <a:lnTo>
                    <a:pt x="8249" y="1589"/>
                  </a:lnTo>
                  <a:lnTo>
                    <a:pt x="8249" y="1597"/>
                  </a:lnTo>
                  <a:lnTo>
                    <a:pt x="8249" y="1615"/>
                  </a:lnTo>
                  <a:lnTo>
                    <a:pt x="8240" y="1615"/>
                  </a:lnTo>
                  <a:lnTo>
                    <a:pt x="8240" y="1624"/>
                  </a:lnTo>
                  <a:lnTo>
                    <a:pt x="8231" y="1633"/>
                  </a:lnTo>
                  <a:lnTo>
                    <a:pt x="8231" y="1642"/>
                  </a:lnTo>
                  <a:lnTo>
                    <a:pt x="8240" y="1642"/>
                  </a:lnTo>
                  <a:lnTo>
                    <a:pt x="8249" y="1650"/>
                  </a:lnTo>
                  <a:lnTo>
                    <a:pt x="8258" y="1650"/>
                  </a:lnTo>
                  <a:lnTo>
                    <a:pt x="8258" y="1659"/>
                  </a:lnTo>
                  <a:lnTo>
                    <a:pt x="8258" y="1668"/>
                  </a:lnTo>
                  <a:lnTo>
                    <a:pt x="8267" y="1659"/>
                  </a:lnTo>
                  <a:lnTo>
                    <a:pt x="8284" y="1650"/>
                  </a:lnTo>
                  <a:lnTo>
                    <a:pt x="8293" y="1659"/>
                  </a:lnTo>
                  <a:lnTo>
                    <a:pt x="8293" y="1668"/>
                  </a:lnTo>
                  <a:lnTo>
                    <a:pt x="8293" y="1686"/>
                  </a:lnTo>
                  <a:lnTo>
                    <a:pt x="8284" y="1686"/>
                  </a:lnTo>
                  <a:lnTo>
                    <a:pt x="8284" y="1695"/>
                  </a:lnTo>
                  <a:lnTo>
                    <a:pt x="8275" y="1695"/>
                  </a:lnTo>
                  <a:lnTo>
                    <a:pt x="8267" y="1703"/>
                  </a:lnTo>
                  <a:lnTo>
                    <a:pt x="8267" y="1712"/>
                  </a:lnTo>
                  <a:lnTo>
                    <a:pt x="8267" y="1721"/>
                  </a:lnTo>
                  <a:lnTo>
                    <a:pt x="8275" y="1721"/>
                  </a:lnTo>
                  <a:lnTo>
                    <a:pt x="8284" y="1721"/>
                  </a:lnTo>
                  <a:lnTo>
                    <a:pt x="8293" y="1730"/>
                  </a:lnTo>
                  <a:lnTo>
                    <a:pt x="8302" y="1730"/>
                  </a:lnTo>
                  <a:lnTo>
                    <a:pt x="8302" y="1721"/>
                  </a:lnTo>
                  <a:lnTo>
                    <a:pt x="8311" y="1712"/>
                  </a:lnTo>
                  <a:lnTo>
                    <a:pt x="8328" y="1721"/>
                  </a:lnTo>
                  <a:lnTo>
                    <a:pt x="8328" y="1730"/>
                  </a:lnTo>
                  <a:lnTo>
                    <a:pt x="8337" y="1739"/>
                  </a:lnTo>
                  <a:lnTo>
                    <a:pt x="8328" y="1739"/>
                  </a:lnTo>
                  <a:lnTo>
                    <a:pt x="8328" y="1747"/>
                  </a:lnTo>
                  <a:lnTo>
                    <a:pt x="8337" y="1756"/>
                  </a:lnTo>
                  <a:lnTo>
                    <a:pt x="8328" y="1765"/>
                  </a:lnTo>
                  <a:lnTo>
                    <a:pt x="8319" y="1783"/>
                  </a:lnTo>
                  <a:lnTo>
                    <a:pt x="8311" y="1783"/>
                  </a:lnTo>
                  <a:lnTo>
                    <a:pt x="8302" y="1792"/>
                  </a:lnTo>
                  <a:lnTo>
                    <a:pt x="8284" y="1792"/>
                  </a:lnTo>
                  <a:lnTo>
                    <a:pt x="8267" y="1792"/>
                  </a:lnTo>
                  <a:lnTo>
                    <a:pt x="8275" y="1800"/>
                  </a:lnTo>
                  <a:lnTo>
                    <a:pt x="8284" y="1800"/>
                  </a:lnTo>
                  <a:lnTo>
                    <a:pt x="8293" y="1809"/>
                  </a:lnTo>
                  <a:lnTo>
                    <a:pt x="8284" y="1818"/>
                  </a:lnTo>
                  <a:lnTo>
                    <a:pt x="8275" y="1818"/>
                  </a:lnTo>
                  <a:lnTo>
                    <a:pt x="8267" y="1818"/>
                  </a:lnTo>
                  <a:lnTo>
                    <a:pt x="8267" y="1827"/>
                  </a:lnTo>
                  <a:lnTo>
                    <a:pt x="8275" y="1836"/>
                  </a:lnTo>
                  <a:lnTo>
                    <a:pt x="8293" y="1827"/>
                  </a:lnTo>
                  <a:lnTo>
                    <a:pt x="8319" y="1800"/>
                  </a:lnTo>
                  <a:lnTo>
                    <a:pt x="8328" y="1809"/>
                  </a:lnTo>
                  <a:lnTo>
                    <a:pt x="8319" y="1818"/>
                  </a:lnTo>
                  <a:lnTo>
                    <a:pt x="8293" y="1845"/>
                  </a:lnTo>
                  <a:lnTo>
                    <a:pt x="8284" y="1862"/>
                  </a:lnTo>
                  <a:lnTo>
                    <a:pt x="8275" y="1889"/>
                  </a:lnTo>
                  <a:lnTo>
                    <a:pt x="8267" y="1898"/>
                  </a:lnTo>
                  <a:lnTo>
                    <a:pt x="8267" y="1906"/>
                  </a:lnTo>
                  <a:lnTo>
                    <a:pt x="8275" y="1915"/>
                  </a:lnTo>
                  <a:lnTo>
                    <a:pt x="8284" y="1933"/>
                  </a:lnTo>
                  <a:lnTo>
                    <a:pt x="8293" y="1933"/>
                  </a:lnTo>
                  <a:lnTo>
                    <a:pt x="8311" y="1942"/>
                  </a:lnTo>
                  <a:lnTo>
                    <a:pt x="8328" y="1942"/>
                  </a:lnTo>
                  <a:lnTo>
                    <a:pt x="8337" y="1942"/>
                  </a:lnTo>
                  <a:lnTo>
                    <a:pt x="8364" y="1942"/>
                  </a:lnTo>
                  <a:lnTo>
                    <a:pt x="8372" y="1942"/>
                  </a:lnTo>
                  <a:lnTo>
                    <a:pt x="8381" y="1942"/>
                  </a:lnTo>
                  <a:lnTo>
                    <a:pt x="8390" y="1933"/>
                  </a:lnTo>
                  <a:lnTo>
                    <a:pt x="8399" y="1924"/>
                  </a:lnTo>
                  <a:lnTo>
                    <a:pt x="8390" y="1915"/>
                  </a:lnTo>
                  <a:lnTo>
                    <a:pt x="8390" y="1906"/>
                  </a:lnTo>
                  <a:lnTo>
                    <a:pt x="8399" y="1906"/>
                  </a:lnTo>
                  <a:lnTo>
                    <a:pt x="8408" y="1898"/>
                  </a:lnTo>
                  <a:lnTo>
                    <a:pt x="8408" y="1889"/>
                  </a:lnTo>
                  <a:lnTo>
                    <a:pt x="8417" y="1889"/>
                  </a:lnTo>
                  <a:lnTo>
                    <a:pt x="8425" y="1880"/>
                  </a:lnTo>
                  <a:lnTo>
                    <a:pt x="8425" y="1871"/>
                  </a:lnTo>
                  <a:lnTo>
                    <a:pt x="8425" y="1862"/>
                  </a:lnTo>
                  <a:lnTo>
                    <a:pt x="8417" y="1853"/>
                  </a:lnTo>
                  <a:lnTo>
                    <a:pt x="8408" y="1845"/>
                  </a:lnTo>
                  <a:lnTo>
                    <a:pt x="8408" y="1836"/>
                  </a:lnTo>
                  <a:lnTo>
                    <a:pt x="8399" y="1836"/>
                  </a:lnTo>
                  <a:lnTo>
                    <a:pt x="8399" y="1827"/>
                  </a:lnTo>
                  <a:lnTo>
                    <a:pt x="8399" y="1818"/>
                  </a:lnTo>
                  <a:lnTo>
                    <a:pt x="8390" y="1818"/>
                  </a:lnTo>
                  <a:lnTo>
                    <a:pt x="8399" y="1809"/>
                  </a:lnTo>
                  <a:lnTo>
                    <a:pt x="8417" y="1809"/>
                  </a:lnTo>
                  <a:lnTo>
                    <a:pt x="8408" y="1809"/>
                  </a:lnTo>
                  <a:lnTo>
                    <a:pt x="8399" y="1818"/>
                  </a:lnTo>
                  <a:lnTo>
                    <a:pt x="8408" y="1836"/>
                  </a:lnTo>
                  <a:lnTo>
                    <a:pt x="8417" y="1845"/>
                  </a:lnTo>
                  <a:lnTo>
                    <a:pt x="8434" y="1862"/>
                  </a:lnTo>
                  <a:lnTo>
                    <a:pt x="8434" y="1871"/>
                  </a:lnTo>
                  <a:lnTo>
                    <a:pt x="8434" y="1880"/>
                  </a:lnTo>
                  <a:lnTo>
                    <a:pt x="8434" y="1889"/>
                  </a:lnTo>
                  <a:lnTo>
                    <a:pt x="8452" y="1880"/>
                  </a:lnTo>
                  <a:lnTo>
                    <a:pt x="8452" y="1889"/>
                  </a:lnTo>
                  <a:lnTo>
                    <a:pt x="8443" y="1898"/>
                  </a:lnTo>
                  <a:lnTo>
                    <a:pt x="8425" y="1906"/>
                  </a:lnTo>
                  <a:lnTo>
                    <a:pt x="8425" y="1915"/>
                  </a:lnTo>
                  <a:lnTo>
                    <a:pt x="8443" y="1924"/>
                  </a:lnTo>
                  <a:lnTo>
                    <a:pt x="8452" y="1924"/>
                  </a:lnTo>
                  <a:lnTo>
                    <a:pt x="8469" y="1915"/>
                  </a:lnTo>
                  <a:lnTo>
                    <a:pt x="8478" y="1906"/>
                  </a:lnTo>
                  <a:lnTo>
                    <a:pt x="8487" y="1906"/>
                  </a:lnTo>
                  <a:lnTo>
                    <a:pt x="8522" y="1906"/>
                  </a:lnTo>
                  <a:lnTo>
                    <a:pt x="8531" y="1906"/>
                  </a:lnTo>
                  <a:lnTo>
                    <a:pt x="8540" y="1906"/>
                  </a:lnTo>
                  <a:lnTo>
                    <a:pt x="8549" y="1898"/>
                  </a:lnTo>
                  <a:lnTo>
                    <a:pt x="8549" y="1906"/>
                  </a:lnTo>
                  <a:lnTo>
                    <a:pt x="8540" y="1915"/>
                  </a:lnTo>
                  <a:lnTo>
                    <a:pt x="8478" y="1924"/>
                  </a:lnTo>
                  <a:lnTo>
                    <a:pt x="8469" y="1933"/>
                  </a:lnTo>
                  <a:lnTo>
                    <a:pt x="8469" y="1942"/>
                  </a:lnTo>
                  <a:lnTo>
                    <a:pt x="8461" y="1942"/>
                  </a:lnTo>
                  <a:lnTo>
                    <a:pt x="8452" y="1950"/>
                  </a:lnTo>
                  <a:lnTo>
                    <a:pt x="8461" y="1968"/>
                  </a:lnTo>
                  <a:lnTo>
                    <a:pt x="8469" y="1968"/>
                  </a:lnTo>
                  <a:lnTo>
                    <a:pt x="8478" y="1968"/>
                  </a:lnTo>
                  <a:lnTo>
                    <a:pt x="8496" y="1968"/>
                  </a:lnTo>
                  <a:lnTo>
                    <a:pt x="8505" y="1968"/>
                  </a:lnTo>
                  <a:lnTo>
                    <a:pt x="8522" y="1977"/>
                  </a:lnTo>
                  <a:lnTo>
                    <a:pt x="8531" y="1977"/>
                  </a:lnTo>
                  <a:lnTo>
                    <a:pt x="8549" y="1977"/>
                  </a:lnTo>
                  <a:lnTo>
                    <a:pt x="8584" y="1977"/>
                  </a:lnTo>
                  <a:lnTo>
                    <a:pt x="8593" y="1986"/>
                  </a:lnTo>
                  <a:lnTo>
                    <a:pt x="8611" y="1995"/>
                  </a:lnTo>
                  <a:lnTo>
                    <a:pt x="8602" y="1995"/>
                  </a:lnTo>
                  <a:lnTo>
                    <a:pt x="8593" y="1995"/>
                  </a:lnTo>
                  <a:lnTo>
                    <a:pt x="8567" y="1995"/>
                  </a:lnTo>
                  <a:lnTo>
                    <a:pt x="8558" y="1995"/>
                  </a:lnTo>
                  <a:lnTo>
                    <a:pt x="8549" y="1995"/>
                  </a:lnTo>
                  <a:lnTo>
                    <a:pt x="8558" y="1995"/>
                  </a:lnTo>
                  <a:lnTo>
                    <a:pt x="8575" y="2003"/>
                  </a:lnTo>
                  <a:lnTo>
                    <a:pt x="8593" y="2012"/>
                  </a:lnTo>
                  <a:lnTo>
                    <a:pt x="8584" y="2021"/>
                  </a:lnTo>
                  <a:lnTo>
                    <a:pt x="8584" y="2030"/>
                  </a:lnTo>
                  <a:lnTo>
                    <a:pt x="8584" y="2039"/>
                  </a:lnTo>
                  <a:lnTo>
                    <a:pt x="8584" y="2048"/>
                  </a:lnTo>
                  <a:lnTo>
                    <a:pt x="8593" y="2056"/>
                  </a:lnTo>
                  <a:lnTo>
                    <a:pt x="8611" y="2065"/>
                  </a:lnTo>
                  <a:lnTo>
                    <a:pt x="8628" y="2065"/>
                  </a:lnTo>
                  <a:lnTo>
                    <a:pt x="8637" y="2074"/>
                  </a:lnTo>
                  <a:lnTo>
                    <a:pt x="8628" y="2074"/>
                  </a:lnTo>
                  <a:lnTo>
                    <a:pt x="8619" y="2083"/>
                  </a:lnTo>
                  <a:lnTo>
                    <a:pt x="8611" y="2083"/>
                  </a:lnTo>
                  <a:lnTo>
                    <a:pt x="8575" y="2074"/>
                  </a:lnTo>
                  <a:lnTo>
                    <a:pt x="8567" y="2065"/>
                  </a:lnTo>
                  <a:lnTo>
                    <a:pt x="8549" y="2056"/>
                  </a:lnTo>
                  <a:lnTo>
                    <a:pt x="8505" y="2039"/>
                  </a:lnTo>
                  <a:lnTo>
                    <a:pt x="8487" y="2030"/>
                  </a:lnTo>
                  <a:lnTo>
                    <a:pt x="8478" y="2030"/>
                  </a:lnTo>
                  <a:lnTo>
                    <a:pt x="8452" y="2021"/>
                  </a:lnTo>
                  <a:lnTo>
                    <a:pt x="8434" y="2030"/>
                  </a:lnTo>
                  <a:lnTo>
                    <a:pt x="8425" y="2021"/>
                  </a:lnTo>
                  <a:lnTo>
                    <a:pt x="8408" y="2021"/>
                  </a:lnTo>
                  <a:lnTo>
                    <a:pt x="8399" y="2021"/>
                  </a:lnTo>
                  <a:lnTo>
                    <a:pt x="8372" y="2021"/>
                  </a:lnTo>
                  <a:lnTo>
                    <a:pt x="8364" y="2021"/>
                  </a:lnTo>
                  <a:lnTo>
                    <a:pt x="8355" y="2030"/>
                  </a:lnTo>
                  <a:lnTo>
                    <a:pt x="8346" y="2030"/>
                  </a:lnTo>
                  <a:lnTo>
                    <a:pt x="8355" y="2039"/>
                  </a:lnTo>
                  <a:lnTo>
                    <a:pt x="8364" y="2048"/>
                  </a:lnTo>
                  <a:lnTo>
                    <a:pt x="8381" y="2065"/>
                  </a:lnTo>
                  <a:lnTo>
                    <a:pt x="8390" y="2074"/>
                  </a:lnTo>
                  <a:lnTo>
                    <a:pt x="8408" y="2074"/>
                  </a:lnTo>
                  <a:lnTo>
                    <a:pt x="8434" y="2083"/>
                  </a:lnTo>
                  <a:lnTo>
                    <a:pt x="8461" y="2083"/>
                  </a:lnTo>
                  <a:lnTo>
                    <a:pt x="8478" y="2101"/>
                  </a:lnTo>
                  <a:lnTo>
                    <a:pt x="8496" y="2101"/>
                  </a:lnTo>
                  <a:lnTo>
                    <a:pt x="8514" y="2118"/>
                  </a:lnTo>
                  <a:lnTo>
                    <a:pt x="8567" y="2127"/>
                  </a:lnTo>
                  <a:lnTo>
                    <a:pt x="8575" y="2127"/>
                  </a:lnTo>
                  <a:lnTo>
                    <a:pt x="8593" y="2118"/>
                  </a:lnTo>
                  <a:lnTo>
                    <a:pt x="8602" y="2118"/>
                  </a:lnTo>
                  <a:lnTo>
                    <a:pt x="8611" y="2118"/>
                  </a:lnTo>
                  <a:lnTo>
                    <a:pt x="8619" y="2127"/>
                  </a:lnTo>
                  <a:lnTo>
                    <a:pt x="8637" y="2127"/>
                  </a:lnTo>
                  <a:lnTo>
                    <a:pt x="8646" y="2118"/>
                  </a:lnTo>
                  <a:lnTo>
                    <a:pt x="8655" y="2127"/>
                  </a:lnTo>
                  <a:lnTo>
                    <a:pt x="8664" y="2127"/>
                  </a:lnTo>
                  <a:lnTo>
                    <a:pt x="8655" y="2127"/>
                  </a:lnTo>
                  <a:lnTo>
                    <a:pt x="8646" y="2136"/>
                  </a:lnTo>
                  <a:lnTo>
                    <a:pt x="8655" y="2153"/>
                  </a:lnTo>
                  <a:lnTo>
                    <a:pt x="8646" y="2153"/>
                  </a:lnTo>
                  <a:lnTo>
                    <a:pt x="8628" y="2162"/>
                  </a:lnTo>
                  <a:lnTo>
                    <a:pt x="8619" y="2171"/>
                  </a:lnTo>
                  <a:lnTo>
                    <a:pt x="8619" y="2180"/>
                  </a:lnTo>
                  <a:lnTo>
                    <a:pt x="8619" y="2198"/>
                  </a:lnTo>
                  <a:lnTo>
                    <a:pt x="8619" y="2206"/>
                  </a:lnTo>
                  <a:lnTo>
                    <a:pt x="8602" y="2224"/>
                  </a:lnTo>
                  <a:lnTo>
                    <a:pt x="8602" y="2233"/>
                  </a:lnTo>
                  <a:lnTo>
                    <a:pt x="8619" y="2233"/>
                  </a:lnTo>
                  <a:lnTo>
                    <a:pt x="8637" y="2224"/>
                  </a:lnTo>
                  <a:lnTo>
                    <a:pt x="8646" y="2224"/>
                  </a:lnTo>
                  <a:lnTo>
                    <a:pt x="8646" y="2233"/>
                  </a:lnTo>
                  <a:lnTo>
                    <a:pt x="8664" y="2233"/>
                  </a:lnTo>
                  <a:lnTo>
                    <a:pt x="8655" y="2242"/>
                  </a:lnTo>
                  <a:lnTo>
                    <a:pt x="8628" y="2242"/>
                  </a:lnTo>
                  <a:lnTo>
                    <a:pt x="8602" y="2242"/>
                  </a:lnTo>
                  <a:lnTo>
                    <a:pt x="8593" y="2268"/>
                  </a:lnTo>
                  <a:lnTo>
                    <a:pt x="8593" y="2295"/>
                  </a:lnTo>
                  <a:lnTo>
                    <a:pt x="8602" y="2295"/>
                  </a:lnTo>
                  <a:lnTo>
                    <a:pt x="8611" y="2286"/>
                  </a:lnTo>
                  <a:lnTo>
                    <a:pt x="8619" y="2277"/>
                  </a:lnTo>
                  <a:lnTo>
                    <a:pt x="8619" y="2286"/>
                  </a:lnTo>
                  <a:lnTo>
                    <a:pt x="8611" y="2295"/>
                  </a:lnTo>
                  <a:lnTo>
                    <a:pt x="8602" y="2303"/>
                  </a:lnTo>
                  <a:lnTo>
                    <a:pt x="8602" y="2312"/>
                  </a:lnTo>
                  <a:lnTo>
                    <a:pt x="8575" y="2312"/>
                  </a:lnTo>
                  <a:lnTo>
                    <a:pt x="8567" y="2321"/>
                  </a:lnTo>
                  <a:lnTo>
                    <a:pt x="8549" y="2312"/>
                  </a:lnTo>
                  <a:lnTo>
                    <a:pt x="8514" y="2295"/>
                  </a:lnTo>
                  <a:lnTo>
                    <a:pt x="8487" y="2295"/>
                  </a:lnTo>
                  <a:lnTo>
                    <a:pt x="8469" y="2303"/>
                  </a:lnTo>
                  <a:lnTo>
                    <a:pt x="8461" y="2303"/>
                  </a:lnTo>
                  <a:lnTo>
                    <a:pt x="8443" y="2330"/>
                  </a:lnTo>
                  <a:lnTo>
                    <a:pt x="8434" y="2339"/>
                  </a:lnTo>
                  <a:lnTo>
                    <a:pt x="8434" y="2348"/>
                  </a:lnTo>
                  <a:lnTo>
                    <a:pt x="8443" y="2348"/>
                  </a:lnTo>
                  <a:lnTo>
                    <a:pt x="8452" y="2348"/>
                  </a:lnTo>
                  <a:lnTo>
                    <a:pt x="8478" y="2348"/>
                  </a:lnTo>
                  <a:lnTo>
                    <a:pt x="8487" y="2356"/>
                  </a:lnTo>
                  <a:lnTo>
                    <a:pt x="8505" y="2356"/>
                  </a:lnTo>
                  <a:lnTo>
                    <a:pt x="8522" y="2356"/>
                  </a:lnTo>
                  <a:lnTo>
                    <a:pt x="8549" y="2356"/>
                  </a:lnTo>
                  <a:lnTo>
                    <a:pt x="8567" y="2348"/>
                  </a:lnTo>
                  <a:lnTo>
                    <a:pt x="8575" y="2339"/>
                  </a:lnTo>
                  <a:lnTo>
                    <a:pt x="8584" y="2330"/>
                  </a:lnTo>
                  <a:lnTo>
                    <a:pt x="8593" y="2330"/>
                  </a:lnTo>
                  <a:lnTo>
                    <a:pt x="8593" y="2339"/>
                  </a:lnTo>
                  <a:lnTo>
                    <a:pt x="8593" y="2348"/>
                  </a:lnTo>
                  <a:lnTo>
                    <a:pt x="8584" y="2356"/>
                  </a:lnTo>
                  <a:lnTo>
                    <a:pt x="8575" y="2356"/>
                  </a:lnTo>
                  <a:lnTo>
                    <a:pt x="8575" y="2365"/>
                  </a:lnTo>
                  <a:lnTo>
                    <a:pt x="8575" y="2374"/>
                  </a:lnTo>
                  <a:lnTo>
                    <a:pt x="8567" y="2374"/>
                  </a:lnTo>
                  <a:lnTo>
                    <a:pt x="8567" y="2383"/>
                  </a:lnTo>
                  <a:lnTo>
                    <a:pt x="8549" y="2374"/>
                  </a:lnTo>
                  <a:lnTo>
                    <a:pt x="8531" y="2374"/>
                  </a:lnTo>
                  <a:lnTo>
                    <a:pt x="8505" y="2365"/>
                  </a:lnTo>
                  <a:lnTo>
                    <a:pt x="8469" y="2356"/>
                  </a:lnTo>
                  <a:lnTo>
                    <a:pt x="8461" y="2356"/>
                  </a:lnTo>
                  <a:lnTo>
                    <a:pt x="8452" y="2356"/>
                  </a:lnTo>
                  <a:lnTo>
                    <a:pt x="8443" y="2374"/>
                  </a:lnTo>
                  <a:lnTo>
                    <a:pt x="8434" y="2392"/>
                  </a:lnTo>
                  <a:lnTo>
                    <a:pt x="8417" y="2409"/>
                  </a:lnTo>
                  <a:lnTo>
                    <a:pt x="8417" y="2418"/>
                  </a:lnTo>
                  <a:lnTo>
                    <a:pt x="8417" y="2427"/>
                  </a:lnTo>
                  <a:lnTo>
                    <a:pt x="8408" y="2445"/>
                  </a:lnTo>
                  <a:lnTo>
                    <a:pt x="8417" y="2445"/>
                  </a:lnTo>
                  <a:lnTo>
                    <a:pt x="8434" y="2436"/>
                  </a:lnTo>
                  <a:lnTo>
                    <a:pt x="8461" y="2418"/>
                  </a:lnTo>
                  <a:lnTo>
                    <a:pt x="8469" y="2418"/>
                  </a:lnTo>
                  <a:lnTo>
                    <a:pt x="8487" y="2409"/>
                  </a:lnTo>
                  <a:lnTo>
                    <a:pt x="8496" y="2409"/>
                  </a:lnTo>
                  <a:lnTo>
                    <a:pt x="8514" y="2409"/>
                  </a:lnTo>
                  <a:lnTo>
                    <a:pt x="8531" y="2409"/>
                  </a:lnTo>
                  <a:lnTo>
                    <a:pt x="8540" y="2418"/>
                  </a:lnTo>
                  <a:lnTo>
                    <a:pt x="8549" y="2418"/>
                  </a:lnTo>
                  <a:lnTo>
                    <a:pt x="8575" y="2418"/>
                  </a:lnTo>
                  <a:lnTo>
                    <a:pt x="8584" y="2409"/>
                  </a:lnTo>
                  <a:lnTo>
                    <a:pt x="8611" y="2409"/>
                  </a:lnTo>
                  <a:lnTo>
                    <a:pt x="8619" y="2409"/>
                  </a:lnTo>
                  <a:lnTo>
                    <a:pt x="8611" y="2418"/>
                  </a:lnTo>
                  <a:lnTo>
                    <a:pt x="8593" y="2418"/>
                  </a:lnTo>
                  <a:lnTo>
                    <a:pt x="8593" y="2427"/>
                  </a:lnTo>
                  <a:lnTo>
                    <a:pt x="8637" y="2445"/>
                  </a:lnTo>
                  <a:lnTo>
                    <a:pt x="8628" y="2445"/>
                  </a:lnTo>
                  <a:lnTo>
                    <a:pt x="8593" y="2427"/>
                  </a:lnTo>
                  <a:lnTo>
                    <a:pt x="8575" y="2427"/>
                  </a:lnTo>
                  <a:lnTo>
                    <a:pt x="8558" y="2427"/>
                  </a:lnTo>
                  <a:lnTo>
                    <a:pt x="8540" y="2427"/>
                  </a:lnTo>
                  <a:lnTo>
                    <a:pt x="8505" y="2418"/>
                  </a:lnTo>
                  <a:lnTo>
                    <a:pt x="8496" y="2418"/>
                  </a:lnTo>
                  <a:lnTo>
                    <a:pt x="8487" y="2418"/>
                  </a:lnTo>
                  <a:lnTo>
                    <a:pt x="8461" y="2427"/>
                  </a:lnTo>
                  <a:lnTo>
                    <a:pt x="8443" y="2436"/>
                  </a:lnTo>
                  <a:lnTo>
                    <a:pt x="8434" y="2445"/>
                  </a:lnTo>
                  <a:lnTo>
                    <a:pt x="8425" y="2445"/>
                  </a:lnTo>
                  <a:lnTo>
                    <a:pt x="8399" y="2462"/>
                  </a:lnTo>
                  <a:lnTo>
                    <a:pt x="8399" y="2471"/>
                  </a:lnTo>
                  <a:lnTo>
                    <a:pt x="8399" y="2498"/>
                  </a:lnTo>
                  <a:lnTo>
                    <a:pt x="8408" y="2515"/>
                  </a:lnTo>
                  <a:lnTo>
                    <a:pt x="8417" y="2515"/>
                  </a:lnTo>
                  <a:lnTo>
                    <a:pt x="8425" y="2524"/>
                  </a:lnTo>
                  <a:lnTo>
                    <a:pt x="8434" y="2515"/>
                  </a:lnTo>
                  <a:lnTo>
                    <a:pt x="8443" y="2524"/>
                  </a:lnTo>
                  <a:lnTo>
                    <a:pt x="8469" y="2524"/>
                  </a:lnTo>
                  <a:lnTo>
                    <a:pt x="8496" y="2524"/>
                  </a:lnTo>
                  <a:lnTo>
                    <a:pt x="8505" y="2524"/>
                  </a:lnTo>
                  <a:lnTo>
                    <a:pt x="8496" y="2533"/>
                  </a:lnTo>
                  <a:lnTo>
                    <a:pt x="8487" y="2533"/>
                  </a:lnTo>
                  <a:lnTo>
                    <a:pt x="8461" y="2533"/>
                  </a:lnTo>
                  <a:lnTo>
                    <a:pt x="8452" y="2542"/>
                  </a:lnTo>
                  <a:lnTo>
                    <a:pt x="8443" y="2542"/>
                  </a:lnTo>
                  <a:lnTo>
                    <a:pt x="8434" y="2551"/>
                  </a:lnTo>
                  <a:lnTo>
                    <a:pt x="8425" y="2559"/>
                  </a:lnTo>
                  <a:lnTo>
                    <a:pt x="8417" y="2568"/>
                  </a:lnTo>
                  <a:lnTo>
                    <a:pt x="8417" y="2586"/>
                  </a:lnTo>
                  <a:lnTo>
                    <a:pt x="8417" y="2595"/>
                  </a:lnTo>
                  <a:lnTo>
                    <a:pt x="8417" y="2604"/>
                  </a:lnTo>
                  <a:lnTo>
                    <a:pt x="8417" y="2612"/>
                  </a:lnTo>
                  <a:lnTo>
                    <a:pt x="8425" y="2621"/>
                  </a:lnTo>
                  <a:lnTo>
                    <a:pt x="8434" y="2612"/>
                  </a:lnTo>
                  <a:lnTo>
                    <a:pt x="8452" y="2612"/>
                  </a:lnTo>
                  <a:lnTo>
                    <a:pt x="8461" y="2612"/>
                  </a:lnTo>
                  <a:lnTo>
                    <a:pt x="8469" y="2604"/>
                  </a:lnTo>
                  <a:lnTo>
                    <a:pt x="8478" y="2595"/>
                  </a:lnTo>
                  <a:lnTo>
                    <a:pt x="8487" y="2595"/>
                  </a:lnTo>
                  <a:lnTo>
                    <a:pt x="8505" y="2577"/>
                  </a:lnTo>
                  <a:lnTo>
                    <a:pt x="8549" y="2551"/>
                  </a:lnTo>
                  <a:lnTo>
                    <a:pt x="8558" y="2542"/>
                  </a:lnTo>
                  <a:lnTo>
                    <a:pt x="8575" y="2533"/>
                  </a:lnTo>
                  <a:lnTo>
                    <a:pt x="8584" y="2524"/>
                  </a:lnTo>
                  <a:lnTo>
                    <a:pt x="8593" y="2524"/>
                  </a:lnTo>
                  <a:lnTo>
                    <a:pt x="8593" y="2533"/>
                  </a:lnTo>
                  <a:lnTo>
                    <a:pt x="8567" y="2542"/>
                  </a:lnTo>
                  <a:lnTo>
                    <a:pt x="8558" y="2551"/>
                  </a:lnTo>
                  <a:lnTo>
                    <a:pt x="8549" y="2551"/>
                  </a:lnTo>
                  <a:lnTo>
                    <a:pt x="8540" y="2559"/>
                  </a:lnTo>
                  <a:lnTo>
                    <a:pt x="8531" y="2568"/>
                  </a:lnTo>
                  <a:lnTo>
                    <a:pt x="8522" y="2577"/>
                  </a:lnTo>
                  <a:lnTo>
                    <a:pt x="8514" y="2577"/>
                  </a:lnTo>
                  <a:lnTo>
                    <a:pt x="8496" y="2586"/>
                  </a:lnTo>
                  <a:lnTo>
                    <a:pt x="8461" y="2612"/>
                  </a:lnTo>
                  <a:lnTo>
                    <a:pt x="8434" y="2621"/>
                  </a:lnTo>
                  <a:lnTo>
                    <a:pt x="8434" y="2630"/>
                  </a:lnTo>
                  <a:lnTo>
                    <a:pt x="8443" y="2639"/>
                  </a:lnTo>
                  <a:lnTo>
                    <a:pt x="8452" y="2639"/>
                  </a:lnTo>
                  <a:lnTo>
                    <a:pt x="8443" y="2665"/>
                  </a:lnTo>
                  <a:lnTo>
                    <a:pt x="8443" y="2683"/>
                  </a:lnTo>
                  <a:lnTo>
                    <a:pt x="8452" y="2683"/>
                  </a:lnTo>
                  <a:lnTo>
                    <a:pt x="8461" y="2683"/>
                  </a:lnTo>
                  <a:lnTo>
                    <a:pt x="8478" y="2683"/>
                  </a:lnTo>
                  <a:lnTo>
                    <a:pt x="8496" y="2701"/>
                  </a:lnTo>
                  <a:lnTo>
                    <a:pt x="8514" y="2701"/>
                  </a:lnTo>
                  <a:lnTo>
                    <a:pt x="8531" y="2683"/>
                  </a:lnTo>
                  <a:lnTo>
                    <a:pt x="8540" y="2683"/>
                  </a:lnTo>
                  <a:lnTo>
                    <a:pt x="8549" y="2674"/>
                  </a:lnTo>
                  <a:lnTo>
                    <a:pt x="8558" y="2665"/>
                  </a:lnTo>
                  <a:lnTo>
                    <a:pt x="8584" y="2657"/>
                  </a:lnTo>
                  <a:lnTo>
                    <a:pt x="8602" y="2657"/>
                  </a:lnTo>
                  <a:lnTo>
                    <a:pt x="8602" y="2665"/>
                  </a:lnTo>
                  <a:lnTo>
                    <a:pt x="8593" y="2665"/>
                  </a:lnTo>
                  <a:lnTo>
                    <a:pt x="8567" y="2665"/>
                  </a:lnTo>
                  <a:lnTo>
                    <a:pt x="8558" y="2674"/>
                  </a:lnTo>
                  <a:lnTo>
                    <a:pt x="8540" y="2692"/>
                  </a:lnTo>
                  <a:lnTo>
                    <a:pt x="8522" y="2701"/>
                  </a:lnTo>
                  <a:lnTo>
                    <a:pt x="8505" y="2709"/>
                  </a:lnTo>
                  <a:lnTo>
                    <a:pt x="8496" y="2709"/>
                  </a:lnTo>
                  <a:lnTo>
                    <a:pt x="8496" y="2718"/>
                  </a:lnTo>
                  <a:lnTo>
                    <a:pt x="8505" y="2727"/>
                  </a:lnTo>
                  <a:lnTo>
                    <a:pt x="8514" y="2736"/>
                  </a:lnTo>
                  <a:lnTo>
                    <a:pt x="8514" y="2745"/>
                  </a:lnTo>
                  <a:lnTo>
                    <a:pt x="8522" y="2780"/>
                  </a:lnTo>
                  <a:lnTo>
                    <a:pt x="8531" y="2789"/>
                  </a:lnTo>
                  <a:lnTo>
                    <a:pt x="8531" y="2807"/>
                  </a:lnTo>
                  <a:lnTo>
                    <a:pt x="8531" y="2824"/>
                  </a:lnTo>
                  <a:lnTo>
                    <a:pt x="8531" y="2833"/>
                  </a:lnTo>
                  <a:lnTo>
                    <a:pt x="8531" y="2842"/>
                  </a:lnTo>
                  <a:lnTo>
                    <a:pt x="8540" y="2851"/>
                  </a:lnTo>
                  <a:lnTo>
                    <a:pt x="8549" y="2842"/>
                  </a:lnTo>
                  <a:lnTo>
                    <a:pt x="8558" y="2833"/>
                  </a:lnTo>
                  <a:lnTo>
                    <a:pt x="8575" y="2807"/>
                  </a:lnTo>
                  <a:lnTo>
                    <a:pt x="8575" y="2798"/>
                  </a:lnTo>
                  <a:lnTo>
                    <a:pt x="8584" y="2789"/>
                  </a:lnTo>
                  <a:lnTo>
                    <a:pt x="8593" y="2780"/>
                  </a:lnTo>
                  <a:lnTo>
                    <a:pt x="8602" y="2780"/>
                  </a:lnTo>
                  <a:lnTo>
                    <a:pt x="8593" y="2789"/>
                  </a:lnTo>
                  <a:lnTo>
                    <a:pt x="8593" y="2798"/>
                  </a:lnTo>
                  <a:lnTo>
                    <a:pt x="8611" y="2798"/>
                  </a:lnTo>
                  <a:lnTo>
                    <a:pt x="8619" y="2789"/>
                  </a:lnTo>
                  <a:lnTo>
                    <a:pt x="8628" y="2789"/>
                  </a:lnTo>
                  <a:lnTo>
                    <a:pt x="8628" y="2780"/>
                  </a:lnTo>
                  <a:lnTo>
                    <a:pt x="8628" y="2771"/>
                  </a:lnTo>
                  <a:lnTo>
                    <a:pt x="8619" y="2754"/>
                  </a:lnTo>
                  <a:lnTo>
                    <a:pt x="8619" y="2745"/>
                  </a:lnTo>
                  <a:lnTo>
                    <a:pt x="8611" y="2727"/>
                  </a:lnTo>
                  <a:lnTo>
                    <a:pt x="8619" y="2745"/>
                  </a:lnTo>
                  <a:lnTo>
                    <a:pt x="8628" y="2762"/>
                  </a:lnTo>
                  <a:lnTo>
                    <a:pt x="8628" y="2771"/>
                  </a:lnTo>
                  <a:lnTo>
                    <a:pt x="8637" y="2771"/>
                  </a:lnTo>
                  <a:lnTo>
                    <a:pt x="8646" y="2780"/>
                  </a:lnTo>
                  <a:lnTo>
                    <a:pt x="8664" y="2780"/>
                  </a:lnTo>
                  <a:lnTo>
                    <a:pt x="8672" y="2789"/>
                  </a:lnTo>
                  <a:lnTo>
                    <a:pt x="8672" y="2807"/>
                  </a:lnTo>
                  <a:lnTo>
                    <a:pt x="8681" y="2815"/>
                  </a:lnTo>
                  <a:lnTo>
                    <a:pt x="8681" y="2824"/>
                  </a:lnTo>
                  <a:lnTo>
                    <a:pt x="8672" y="2815"/>
                  </a:lnTo>
                  <a:lnTo>
                    <a:pt x="8664" y="2798"/>
                  </a:lnTo>
                  <a:lnTo>
                    <a:pt x="8655" y="2789"/>
                  </a:lnTo>
                  <a:lnTo>
                    <a:pt x="8646" y="2789"/>
                  </a:lnTo>
                  <a:lnTo>
                    <a:pt x="8628" y="2789"/>
                  </a:lnTo>
                  <a:lnTo>
                    <a:pt x="8619" y="2798"/>
                  </a:lnTo>
                  <a:lnTo>
                    <a:pt x="8619" y="2807"/>
                  </a:lnTo>
                  <a:lnTo>
                    <a:pt x="8602" y="2807"/>
                  </a:lnTo>
                  <a:lnTo>
                    <a:pt x="8593" y="2807"/>
                  </a:lnTo>
                  <a:lnTo>
                    <a:pt x="8575" y="2815"/>
                  </a:lnTo>
                  <a:lnTo>
                    <a:pt x="8567" y="2833"/>
                  </a:lnTo>
                  <a:lnTo>
                    <a:pt x="8558" y="2851"/>
                  </a:lnTo>
                  <a:lnTo>
                    <a:pt x="8567" y="2860"/>
                  </a:lnTo>
                  <a:lnTo>
                    <a:pt x="8575" y="2860"/>
                  </a:lnTo>
                  <a:lnTo>
                    <a:pt x="8584" y="2860"/>
                  </a:lnTo>
                  <a:lnTo>
                    <a:pt x="8602" y="2851"/>
                  </a:lnTo>
                  <a:lnTo>
                    <a:pt x="8628" y="2851"/>
                  </a:lnTo>
                  <a:lnTo>
                    <a:pt x="8646" y="2833"/>
                  </a:lnTo>
                  <a:lnTo>
                    <a:pt x="8646" y="2842"/>
                  </a:lnTo>
                  <a:lnTo>
                    <a:pt x="8646" y="2851"/>
                  </a:lnTo>
                  <a:lnTo>
                    <a:pt x="8655" y="2851"/>
                  </a:lnTo>
                  <a:lnTo>
                    <a:pt x="8664" y="2851"/>
                  </a:lnTo>
                  <a:lnTo>
                    <a:pt x="8655" y="2851"/>
                  </a:lnTo>
                  <a:lnTo>
                    <a:pt x="8637" y="2851"/>
                  </a:lnTo>
                  <a:lnTo>
                    <a:pt x="8628" y="2860"/>
                  </a:lnTo>
                  <a:lnTo>
                    <a:pt x="8619" y="2860"/>
                  </a:lnTo>
                  <a:lnTo>
                    <a:pt x="8584" y="2868"/>
                  </a:lnTo>
                  <a:lnTo>
                    <a:pt x="8567" y="2868"/>
                  </a:lnTo>
                  <a:lnTo>
                    <a:pt x="8575" y="2886"/>
                  </a:lnTo>
                  <a:lnTo>
                    <a:pt x="8567" y="2904"/>
                  </a:lnTo>
                  <a:lnTo>
                    <a:pt x="8575" y="2912"/>
                  </a:lnTo>
                  <a:lnTo>
                    <a:pt x="8593" y="2939"/>
                  </a:lnTo>
                  <a:lnTo>
                    <a:pt x="8611" y="2957"/>
                  </a:lnTo>
                  <a:lnTo>
                    <a:pt x="8619" y="2974"/>
                  </a:lnTo>
                  <a:lnTo>
                    <a:pt x="8619" y="2983"/>
                  </a:lnTo>
                  <a:lnTo>
                    <a:pt x="8628" y="2983"/>
                  </a:lnTo>
                  <a:lnTo>
                    <a:pt x="8637" y="2992"/>
                  </a:lnTo>
                  <a:lnTo>
                    <a:pt x="8646" y="2992"/>
                  </a:lnTo>
                  <a:lnTo>
                    <a:pt x="8655" y="3010"/>
                  </a:lnTo>
                  <a:lnTo>
                    <a:pt x="8672" y="2992"/>
                  </a:lnTo>
                  <a:lnTo>
                    <a:pt x="8699" y="2983"/>
                  </a:lnTo>
                  <a:lnTo>
                    <a:pt x="8672" y="3001"/>
                  </a:lnTo>
                  <a:lnTo>
                    <a:pt x="8664" y="3010"/>
                  </a:lnTo>
                  <a:lnTo>
                    <a:pt x="8664" y="3018"/>
                  </a:lnTo>
                  <a:lnTo>
                    <a:pt x="8664" y="3027"/>
                  </a:lnTo>
                  <a:lnTo>
                    <a:pt x="8664" y="3036"/>
                  </a:lnTo>
                  <a:lnTo>
                    <a:pt x="8664" y="3045"/>
                  </a:lnTo>
                  <a:lnTo>
                    <a:pt x="8655" y="3054"/>
                  </a:lnTo>
                  <a:lnTo>
                    <a:pt x="8664" y="3054"/>
                  </a:lnTo>
                  <a:lnTo>
                    <a:pt x="8672" y="3054"/>
                  </a:lnTo>
                  <a:lnTo>
                    <a:pt x="8681" y="3063"/>
                  </a:lnTo>
                  <a:lnTo>
                    <a:pt x="8690" y="3071"/>
                  </a:lnTo>
                  <a:lnTo>
                    <a:pt x="8699" y="3071"/>
                  </a:lnTo>
                  <a:lnTo>
                    <a:pt x="8708" y="3071"/>
                  </a:lnTo>
                  <a:lnTo>
                    <a:pt x="8717" y="3080"/>
                  </a:lnTo>
                  <a:lnTo>
                    <a:pt x="8708" y="3089"/>
                  </a:lnTo>
                  <a:lnTo>
                    <a:pt x="8708" y="3098"/>
                  </a:lnTo>
                  <a:lnTo>
                    <a:pt x="8708" y="3107"/>
                  </a:lnTo>
                  <a:lnTo>
                    <a:pt x="8734" y="3107"/>
                  </a:lnTo>
                  <a:lnTo>
                    <a:pt x="8734" y="3098"/>
                  </a:lnTo>
                  <a:lnTo>
                    <a:pt x="8743" y="3089"/>
                  </a:lnTo>
                  <a:lnTo>
                    <a:pt x="8752" y="3089"/>
                  </a:lnTo>
                  <a:lnTo>
                    <a:pt x="8769" y="3098"/>
                  </a:lnTo>
                  <a:lnTo>
                    <a:pt x="8752" y="3098"/>
                  </a:lnTo>
                  <a:lnTo>
                    <a:pt x="8752" y="3107"/>
                  </a:lnTo>
                  <a:lnTo>
                    <a:pt x="8743" y="3107"/>
                  </a:lnTo>
                  <a:lnTo>
                    <a:pt x="8734" y="3115"/>
                  </a:lnTo>
                  <a:lnTo>
                    <a:pt x="8725" y="3115"/>
                  </a:lnTo>
                  <a:lnTo>
                    <a:pt x="8725" y="3124"/>
                  </a:lnTo>
                  <a:lnTo>
                    <a:pt x="8734" y="3133"/>
                  </a:lnTo>
                  <a:lnTo>
                    <a:pt x="8743" y="3142"/>
                  </a:lnTo>
                  <a:lnTo>
                    <a:pt x="8734" y="3151"/>
                  </a:lnTo>
                  <a:lnTo>
                    <a:pt x="8743" y="3160"/>
                  </a:lnTo>
                  <a:lnTo>
                    <a:pt x="8752" y="3160"/>
                  </a:lnTo>
                  <a:lnTo>
                    <a:pt x="8761" y="3168"/>
                  </a:lnTo>
                  <a:lnTo>
                    <a:pt x="8761" y="3177"/>
                  </a:lnTo>
                  <a:lnTo>
                    <a:pt x="8761" y="3186"/>
                  </a:lnTo>
                  <a:lnTo>
                    <a:pt x="8787" y="3186"/>
                  </a:lnTo>
                  <a:lnTo>
                    <a:pt x="8787" y="3195"/>
                  </a:lnTo>
                  <a:lnTo>
                    <a:pt x="8796" y="3195"/>
                  </a:lnTo>
                  <a:lnTo>
                    <a:pt x="8805" y="3204"/>
                  </a:lnTo>
                  <a:lnTo>
                    <a:pt x="8805" y="3213"/>
                  </a:lnTo>
                  <a:lnTo>
                    <a:pt x="8814" y="3213"/>
                  </a:lnTo>
                  <a:lnTo>
                    <a:pt x="8822" y="3221"/>
                  </a:lnTo>
                  <a:lnTo>
                    <a:pt x="8840" y="3213"/>
                  </a:lnTo>
                  <a:lnTo>
                    <a:pt x="8849" y="3221"/>
                  </a:lnTo>
                  <a:lnTo>
                    <a:pt x="8840" y="3221"/>
                  </a:lnTo>
                  <a:lnTo>
                    <a:pt x="8814" y="3230"/>
                  </a:lnTo>
                  <a:lnTo>
                    <a:pt x="8814" y="3239"/>
                  </a:lnTo>
                  <a:lnTo>
                    <a:pt x="8822" y="3248"/>
                  </a:lnTo>
                  <a:lnTo>
                    <a:pt x="8831" y="3248"/>
                  </a:lnTo>
                  <a:lnTo>
                    <a:pt x="8840" y="3248"/>
                  </a:lnTo>
                  <a:lnTo>
                    <a:pt x="8849" y="3248"/>
                  </a:lnTo>
                  <a:lnTo>
                    <a:pt x="8849" y="3239"/>
                  </a:lnTo>
                  <a:lnTo>
                    <a:pt x="8840" y="3239"/>
                  </a:lnTo>
                  <a:lnTo>
                    <a:pt x="8849" y="3239"/>
                  </a:lnTo>
                  <a:lnTo>
                    <a:pt x="8858" y="3230"/>
                  </a:lnTo>
                  <a:lnTo>
                    <a:pt x="8866" y="3230"/>
                  </a:lnTo>
                  <a:lnTo>
                    <a:pt x="8875" y="3239"/>
                  </a:lnTo>
                  <a:lnTo>
                    <a:pt x="8884" y="3239"/>
                  </a:lnTo>
                  <a:lnTo>
                    <a:pt x="8893" y="3239"/>
                  </a:lnTo>
                  <a:lnTo>
                    <a:pt x="8902" y="3239"/>
                  </a:lnTo>
                  <a:lnTo>
                    <a:pt x="8911" y="3239"/>
                  </a:lnTo>
                  <a:lnTo>
                    <a:pt x="8919" y="3230"/>
                  </a:lnTo>
                  <a:lnTo>
                    <a:pt x="8937" y="3221"/>
                  </a:lnTo>
                  <a:lnTo>
                    <a:pt x="8955" y="3213"/>
                  </a:lnTo>
                  <a:lnTo>
                    <a:pt x="8972" y="3204"/>
                  </a:lnTo>
                  <a:lnTo>
                    <a:pt x="8981" y="3204"/>
                  </a:lnTo>
                  <a:lnTo>
                    <a:pt x="8981" y="3195"/>
                  </a:lnTo>
                  <a:lnTo>
                    <a:pt x="8990" y="3195"/>
                  </a:lnTo>
                  <a:lnTo>
                    <a:pt x="8981" y="3204"/>
                  </a:lnTo>
                  <a:lnTo>
                    <a:pt x="8981" y="3213"/>
                  </a:lnTo>
                  <a:lnTo>
                    <a:pt x="8972" y="3221"/>
                  </a:lnTo>
                  <a:lnTo>
                    <a:pt x="8964" y="3239"/>
                  </a:lnTo>
                  <a:lnTo>
                    <a:pt x="8972" y="3257"/>
                  </a:lnTo>
                  <a:lnTo>
                    <a:pt x="8981" y="3265"/>
                  </a:lnTo>
                  <a:lnTo>
                    <a:pt x="8999" y="3265"/>
                  </a:lnTo>
                  <a:lnTo>
                    <a:pt x="9008" y="3274"/>
                  </a:lnTo>
                  <a:lnTo>
                    <a:pt x="9016" y="3274"/>
                  </a:lnTo>
                  <a:lnTo>
                    <a:pt x="9025" y="3274"/>
                  </a:lnTo>
                  <a:lnTo>
                    <a:pt x="9043" y="3274"/>
                  </a:lnTo>
                  <a:lnTo>
                    <a:pt x="9069" y="3257"/>
                  </a:lnTo>
                  <a:lnTo>
                    <a:pt x="9061" y="3265"/>
                  </a:lnTo>
                  <a:lnTo>
                    <a:pt x="9052" y="3274"/>
                  </a:lnTo>
                  <a:lnTo>
                    <a:pt x="9043" y="3283"/>
                  </a:lnTo>
                  <a:lnTo>
                    <a:pt x="9034" y="3283"/>
                  </a:lnTo>
                  <a:lnTo>
                    <a:pt x="9025" y="3283"/>
                  </a:lnTo>
                  <a:lnTo>
                    <a:pt x="9025" y="3292"/>
                  </a:lnTo>
                  <a:lnTo>
                    <a:pt x="9025" y="3310"/>
                  </a:lnTo>
                  <a:lnTo>
                    <a:pt x="9061" y="3318"/>
                  </a:lnTo>
                  <a:lnTo>
                    <a:pt x="9078" y="3327"/>
                  </a:lnTo>
                  <a:lnTo>
                    <a:pt x="9087" y="3327"/>
                  </a:lnTo>
                  <a:lnTo>
                    <a:pt x="9087" y="3318"/>
                  </a:lnTo>
                  <a:lnTo>
                    <a:pt x="9096" y="3310"/>
                  </a:lnTo>
                  <a:lnTo>
                    <a:pt x="9105" y="3301"/>
                  </a:lnTo>
                  <a:lnTo>
                    <a:pt x="9114" y="3301"/>
                  </a:lnTo>
                  <a:lnTo>
                    <a:pt x="9105" y="3310"/>
                  </a:lnTo>
                  <a:lnTo>
                    <a:pt x="9096" y="3318"/>
                  </a:lnTo>
                  <a:lnTo>
                    <a:pt x="9087" y="3327"/>
                  </a:lnTo>
                  <a:lnTo>
                    <a:pt x="9096" y="3336"/>
                  </a:lnTo>
                  <a:lnTo>
                    <a:pt x="9105" y="3336"/>
                  </a:lnTo>
                  <a:lnTo>
                    <a:pt x="9114" y="3336"/>
                  </a:lnTo>
                  <a:lnTo>
                    <a:pt x="9122" y="3336"/>
                  </a:lnTo>
                  <a:lnTo>
                    <a:pt x="9114" y="3345"/>
                  </a:lnTo>
                  <a:lnTo>
                    <a:pt x="9131" y="3345"/>
                  </a:lnTo>
                  <a:lnTo>
                    <a:pt x="9140" y="3345"/>
                  </a:lnTo>
                  <a:lnTo>
                    <a:pt x="9149" y="3345"/>
                  </a:lnTo>
                  <a:lnTo>
                    <a:pt x="9140" y="3336"/>
                  </a:lnTo>
                  <a:lnTo>
                    <a:pt x="9131" y="3327"/>
                  </a:lnTo>
                  <a:lnTo>
                    <a:pt x="9122" y="3327"/>
                  </a:lnTo>
                  <a:lnTo>
                    <a:pt x="9149" y="3336"/>
                  </a:lnTo>
                  <a:lnTo>
                    <a:pt x="9175" y="3336"/>
                  </a:lnTo>
                  <a:lnTo>
                    <a:pt x="9175" y="3327"/>
                  </a:lnTo>
                  <a:lnTo>
                    <a:pt x="9184" y="3318"/>
                  </a:lnTo>
                  <a:lnTo>
                    <a:pt x="9184" y="3301"/>
                  </a:lnTo>
                  <a:lnTo>
                    <a:pt x="9184" y="3292"/>
                  </a:lnTo>
                  <a:lnTo>
                    <a:pt x="9184" y="3283"/>
                  </a:lnTo>
                  <a:lnTo>
                    <a:pt x="9175" y="3274"/>
                  </a:lnTo>
                  <a:lnTo>
                    <a:pt x="9158" y="3274"/>
                  </a:lnTo>
                  <a:lnTo>
                    <a:pt x="9149" y="3274"/>
                  </a:lnTo>
                  <a:lnTo>
                    <a:pt x="9140" y="3274"/>
                  </a:lnTo>
                  <a:lnTo>
                    <a:pt x="9131" y="3265"/>
                  </a:lnTo>
                  <a:lnTo>
                    <a:pt x="9140" y="3265"/>
                  </a:lnTo>
                  <a:lnTo>
                    <a:pt x="9149" y="3265"/>
                  </a:lnTo>
                  <a:lnTo>
                    <a:pt x="9175" y="3274"/>
                  </a:lnTo>
                  <a:lnTo>
                    <a:pt x="9184" y="3274"/>
                  </a:lnTo>
                  <a:lnTo>
                    <a:pt x="9193" y="3274"/>
                  </a:lnTo>
                  <a:lnTo>
                    <a:pt x="9219" y="3239"/>
                  </a:lnTo>
                  <a:lnTo>
                    <a:pt x="9219" y="3213"/>
                  </a:lnTo>
                  <a:lnTo>
                    <a:pt x="9237" y="3177"/>
                  </a:lnTo>
                  <a:lnTo>
                    <a:pt x="9237" y="3160"/>
                  </a:lnTo>
                  <a:lnTo>
                    <a:pt x="9246" y="3151"/>
                  </a:lnTo>
                  <a:lnTo>
                    <a:pt x="9246" y="3142"/>
                  </a:lnTo>
                  <a:lnTo>
                    <a:pt x="9228" y="3133"/>
                  </a:lnTo>
                  <a:lnTo>
                    <a:pt x="9246" y="3133"/>
                  </a:lnTo>
                  <a:lnTo>
                    <a:pt x="9255" y="3133"/>
                  </a:lnTo>
                  <a:lnTo>
                    <a:pt x="9263" y="3124"/>
                  </a:lnTo>
                  <a:lnTo>
                    <a:pt x="9255" y="3107"/>
                  </a:lnTo>
                  <a:lnTo>
                    <a:pt x="9263" y="3107"/>
                  </a:lnTo>
                  <a:lnTo>
                    <a:pt x="9255" y="3098"/>
                  </a:lnTo>
                  <a:lnTo>
                    <a:pt x="9246" y="3089"/>
                  </a:lnTo>
                  <a:lnTo>
                    <a:pt x="9255" y="3071"/>
                  </a:lnTo>
                  <a:lnTo>
                    <a:pt x="9255" y="3063"/>
                  </a:lnTo>
                  <a:lnTo>
                    <a:pt x="9255" y="3054"/>
                  </a:lnTo>
                  <a:lnTo>
                    <a:pt x="9255" y="3045"/>
                  </a:lnTo>
                  <a:lnTo>
                    <a:pt x="9263" y="3036"/>
                  </a:lnTo>
                  <a:lnTo>
                    <a:pt x="9237" y="3036"/>
                  </a:lnTo>
                  <a:lnTo>
                    <a:pt x="9219" y="3027"/>
                  </a:lnTo>
                  <a:lnTo>
                    <a:pt x="9211" y="3027"/>
                  </a:lnTo>
                  <a:lnTo>
                    <a:pt x="9202" y="3018"/>
                  </a:lnTo>
                  <a:lnTo>
                    <a:pt x="9211" y="3018"/>
                  </a:lnTo>
                  <a:lnTo>
                    <a:pt x="9219" y="3027"/>
                  </a:lnTo>
                  <a:lnTo>
                    <a:pt x="9237" y="3018"/>
                  </a:lnTo>
                  <a:lnTo>
                    <a:pt x="9246" y="3027"/>
                  </a:lnTo>
                  <a:lnTo>
                    <a:pt x="9263" y="3027"/>
                  </a:lnTo>
                  <a:lnTo>
                    <a:pt x="9272" y="3018"/>
                  </a:lnTo>
                  <a:lnTo>
                    <a:pt x="9281" y="3018"/>
                  </a:lnTo>
                  <a:lnTo>
                    <a:pt x="9290" y="3001"/>
                  </a:lnTo>
                  <a:lnTo>
                    <a:pt x="9299" y="3001"/>
                  </a:lnTo>
                  <a:lnTo>
                    <a:pt x="9299" y="2992"/>
                  </a:lnTo>
                  <a:lnTo>
                    <a:pt x="9272" y="2983"/>
                  </a:lnTo>
                  <a:lnTo>
                    <a:pt x="9263" y="2974"/>
                  </a:lnTo>
                  <a:lnTo>
                    <a:pt x="9255" y="2965"/>
                  </a:lnTo>
                  <a:lnTo>
                    <a:pt x="9263" y="2965"/>
                  </a:lnTo>
                  <a:lnTo>
                    <a:pt x="9272" y="2974"/>
                  </a:lnTo>
                  <a:lnTo>
                    <a:pt x="9281" y="2983"/>
                  </a:lnTo>
                  <a:lnTo>
                    <a:pt x="9299" y="2983"/>
                  </a:lnTo>
                  <a:lnTo>
                    <a:pt x="9308" y="2983"/>
                  </a:lnTo>
                  <a:lnTo>
                    <a:pt x="9316" y="2983"/>
                  </a:lnTo>
                  <a:lnTo>
                    <a:pt x="9325" y="2974"/>
                  </a:lnTo>
                  <a:lnTo>
                    <a:pt x="9325" y="2965"/>
                  </a:lnTo>
                  <a:lnTo>
                    <a:pt x="9334" y="2957"/>
                  </a:lnTo>
                  <a:lnTo>
                    <a:pt x="9334" y="2948"/>
                  </a:lnTo>
                  <a:lnTo>
                    <a:pt x="9343" y="2939"/>
                  </a:lnTo>
                  <a:lnTo>
                    <a:pt x="9343" y="2930"/>
                  </a:lnTo>
                  <a:lnTo>
                    <a:pt x="9352" y="2930"/>
                  </a:lnTo>
                  <a:lnTo>
                    <a:pt x="9361" y="2930"/>
                  </a:lnTo>
                  <a:lnTo>
                    <a:pt x="9361" y="2921"/>
                  </a:lnTo>
                  <a:lnTo>
                    <a:pt x="9378" y="2904"/>
                  </a:lnTo>
                  <a:lnTo>
                    <a:pt x="9369" y="2886"/>
                  </a:lnTo>
                  <a:lnTo>
                    <a:pt x="9369" y="2860"/>
                  </a:lnTo>
                  <a:lnTo>
                    <a:pt x="9361" y="2851"/>
                  </a:lnTo>
                  <a:lnTo>
                    <a:pt x="9343" y="2851"/>
                  </a:lnTo>
                  <a:lnTo>
                    <a:pt x="9343" y="2860"/>
                  </a:lnTo>
                  <a:lnTo>
                    <a:pt x="9334" y="2851"/>
                  </a:lnTo>
                  <a:lnTo>
                    <a:pt x="9299" y="2842"/>
                  </a:lnTo>
                  <a:lnTo>
                    <a:pt x="9334" y="2842"/>
                  </a:lnTo>
                  <a:lnTo>
                    <a:pt x="9343" y="2842"/>
                  </a:lnTo>
                  <a:lnTo>
                    <a:pt x="9361" y="2851"/>
                  </a:lnTo>
                  <a:lnTo>
                    <a:pt x="9369" y="2842"/>
                  </a:lnTo>
                  <a:lnTo>
                    <a:pt x="9369" y="2833"/>
                  </a:lnTo>
                  <a:lnTo>
                    <a:pt x="9378" y="2833"/>
                  </a:lnTo>
                  <a:lnTo>
                    <a:pt x="9396" y="2824"/>
                  </a:lnTo>
                  <a:lnTo>
                    <a:pt x="9405" y="2815"/>
                  </a:lnTo>
                  <a:lnTo>
                    <a:pt x="9405" y="2807"/>
                  </a:lnTo>
                  <a:lnTo>
                    <a:pt x="9396" y="2807"/>
                  </a:lnTo>
                  <a:lnTo>
                    <a:pt x="9387" y="2798"/>
                  </a:lnTo>
                  <a:lnTo>
                    <a:pt x="9378" y="2771"/>
                  </a:lnTo>
                  <a:lnTo>
                    <a:pt x="9369" y="2762"/>
                  </a:lnTo>
                  <a:lnTo>
                    <a:pt x="9361" y="2771"/>
                  </a:lnTo>
                  <a:lnTo>
                    <a:pt x="9343" y="2771"/>
                  </a:lnTo>
                  <a:lnTo>
                    <a:pt x="9343" y="2754"/>
                  </a:lnTo>
                  <a:lnTo>
                    <a:pt x="9334" y="2754"/>
                  </a:lnTo>
                  <a:lnTo>
                    <a:pt x="9334" y="2745"/>
                  </a:lnTo>
                  <a:lnTo>
                    <a:pt x="9352" y="2745"/>
                  </a:lnTo>
                  <a:lnTo>
                    <a:pt x="9369" y="2745"/>
                  </a:lnTo>
                  <a:lnTo>
                    <a:pt x="9396" y="2745"/>
                  </a:lnTo>
                  <a:lnTo>
                    <a:pt x="9413" y="2745"/>
                  </a:lnTo>
                  <a:lnTo>
                    <a:pt x="9422" y="2736"/>
                  </a:lnTo>
                  <a:lnTo>
                    <a:pt x="9431" y="2727"/>
                  </a:lnTo>
                  <a:lnTo>
                    <a:pt x="9440" y="2718"/>
                  </a:lnTo>
                  <a:lnTo>
                    <a:pt x="9449" y="2709"/>
                  </a:lnTo>
                  <a:lnTo>
                    <a:pt x="9440" y="2709"/>
                  </a:lnTo>
                  <a:lnTo>
                    <a:pt x="9405" y="2692"/>
                  </a:lnTo>
                  <a:lnTo>
                    <a:pt x="9422" y="2692"/>
                  </a:lnTo>
                  <a:lnTo>
                    <a:pt x="9458" y="2683"/>
                  </a:lnTo>
                  <a:lnTo>
                    <a:pt x="9484" y="2683"/>
                  </a:lnTo>
                  <a:lnTo>
                    <a:pt x="9519" y="2683"/>
                  </a:lnTo>
                  <a:lnTo>
                    <a:pt x="9546" y="2665"/>
                  </a:lnTo>
                  <a:lnTo>
                    <a:pt x="9546" y="2657"/>
                  </a:lnTo>
                  <a:lnTo>
                    <a:pt x="9528" y="2648"/>
                  </a:lnTo>
                  <a:lnTo>
                    <a:pt x="9528" y="2630"/>
                  </a:lnTo>
                  <a:lnTo>
                    <a:pt x="9537" y="2639"/>
                  </a:lnTo>
                  <a:lnTo>
                    <a:pt x="9555" y="2648"/>
                  </a:lnTo>
                  <a:lnTo>
                    <a:pt x="9555" y="2639"/>
                  </a:lnTo>
                  <a:lnTo>
                    <a:pt x="9563" y="2612"/>
                  </a:lnTo>
                  <a:lnTo>
                    <a:pt x="9572" y="2612"/>
                  </a:lnTo>
                  <a:lnTo>
                    <a:pt x="9581" y="2604"/>
                  </a:lnTo>
                  <a:lnTo>
                    <a:pt x="9563" y="2595"/>
                  </a:lnTo>
                  <a:lnTo>
                    <a:pt x="9555" y="2586"/>
                  </a:lnTo>
                  <a:lnTo>
                    <a:pt x="9563" y="2586"/>
                  </a:lnTo>
                  <a:lnTo>
                    <a:pt x="9581" y="2586"/>
                  </a:lnTo>
                  <a:lnTo>
                    <a:pt x="9599" y="2595"/>
                  </a:lnTo>
                  <a:lnTo>
                    <a:pt x="9616" y="2595"/>
                  </a:lnTo>
                  <a:lnTo>
                    <a:pt x="9599" y="2612"/>
                  </a:lnTo>
                  <a:lnTo>
                    <a:pt x="9581" y="2639"/>
                  </a:lnTo>
                  <a:lnTo>
                    <a:pt x="9581" y="2648"/>
                  </a:lnTo>
                  <a:lnTo>
                    <a:pt x="9572" y="2657"/>
                  </a:lnTo>
                  <a:lnTo>
                    <a:pt x="9563" y="2665"/>
                  </a:lnTo>
                  <a:lnTo>
                    <a:pt x="9563" y="2674"/>
                  </a:lnTo>
                  <a:lnTo>
                    <a:pt x="9581" y="2683"/>
                  </a:lnTo>
                  <a:lnTo>
                    <a:pt x="9590" y="2683"/>
                  </a:lnTo>
                  <a:lnTo>
                    <a:pt x="9599" y="2683"/>
                  </a:lnTo>
                  <a:lnTo>
                    <a:pt x="9608" y="2674"/>
                  </a:lnTo>
                  <a:lnTo>
                    <a:pt x="9616" y="2665"/>
                  </a:lnTo>
                  <a:lnTo>
                    <a:pt x="9616" y="2657"/>
                  </a:lnTo>
                  <a:lnTo>
                    <a:pt x="9634" y="2648"/>
                  </a:lnTo>
                  <a:lnTo>
                    <a:pt x="9634" y="2657"/>
                  </a:lnTo>
                  <a:lnTo>
                    <a:pt x="9643" y="2657"/>
                  </a:lnTo>
                  <a:lnTo>
                    <a:pt x="9652" y="2665"/>
                  </a:lnTo>
                  <a:lnTo>
                    <a:pt x="9660" y="2657"/>
                  </a:lnTo>
                  <a:lnTo>
                    <a:pt x="9669" y="2639"/>
                  </a:lnTo>
                  <a:lnTo>
                    <a:pt x="9669" y="2630"/>
                  </a:lnTo>
                  <a:lnTo>
                    <a:pt x="9687" y="2639"/>
                  </a:lnTo>
                  <a:lnTo>
                    <a:pt x="9678" y="2639"/>
                  </a:lnTo>
                  <a:lnTo>
                    <a:pt x="9687" y="2657"/>
                  </a:lnTo>
                  <a:lnTo>
                    <a:pt x="9687" y="2648"/>
                  </a:lnTo>
                  <a:lnTo>
                    <a:pt x="9705" y="2639"/>
                  </a:lnTo>
                  <a:lnTo>
                    <a:pt x="9722" y="2630"/>
                  </a:lnTo>
                  <a:lnTo>
                    <a:pt x="9731" y="2621"/>
                  </a:lnTo>
                  <a:lnTo>
                    <a:pt x="9740" y="2621"/>
                  </a:lnTo>
                  <a:lnTo>
                    <a:pt x="9731" y="2595"/>
                  </a:lnTo>
                  <a:lnTo>
                    <a:pt x="9722" y="2586"/>
                  </a:lnTo>
                  <a:lnTo>
                    <a:pt x="9722" y="2577"/>
                  </a:lnTo>
                  <a:lnTo>
                    <a:pt x="9731" y="2586"/>
                  </a:lnTo>
                  <a:lnTo>
                    <a:pt x="9740" y="2595"/>
                  </a:lnTo>
                  <a:lnTo>
                    <a:pt x="9758" y="2604"/>
                  </a:lnTo>
                  <a:lnTo>
                    <a:pt x="9766" y="2604"/>
                  </a:lnTo>
                  <a:lnTo>
                    <a:pt x="9775" y="2604"/>
                  </a:lnTo>
                  <a:lnTo>
                    <a:pt x="9810" y="2577"/>
                  </a:lnTo>
                  <a:lnTo>
                    <a:pt x="9819" y="2577"/>
                  </a:lnTo>
                  <a:lnTo>
                    <a:pt x="9819" y="2568"/>
                  </a:lnTo>
                  <a:lnTo>
                    <a:pt x="9819" y="2559"/>
                  </a:lnTo>
                  <a:lnTo>
                    <a:pt x="9828" y="2559"/>
                  </a:lnTo>
                  <a:lnTo>
                    <a:pt x="9837" y="2559"/>
                  </a:lnTo>
                  <a:lnTo>
                    <a:pt x="9846" y="2551"/>
                  </a:lnTo>
                  <a:lnTo>
                    <a:pt x="9855" y="2542"/>
                  </a:lnTo>
                  <a:lnTo>
                    <a:pt x="9863" y="2515"/>
                  </a:lnTo>
                  <a:lnTo>
                    <a:pt x="9890" y="2489"/>
                  </a:lnTo>
                  <a:lnTo>
                    <a:pt x="9890" y="2480"/>
                  </a:lnTo>
                  <a:lnTo>
                    <a:pt x="9899" y="2471"/>
                  </a:lnTo>
                  <a:lnTo>
                    <a:pt x="9890" y="2471"/>
                  </a:lnTo>
                  <a:lnTo>
                    <a:pt x="9899" y="2462"/>
                  </a:lnTo>
                  <a:lnTo>
                    <a:pt x="9908" y="2454"/>
                  </a:lnTo>
                  <a:lnTo>
                    <a:pt x="9916" y="2436"/>
                  </a:lnTo>
                  <a:lnTo>
                    <a:pt x="9925" y="2427"/>
                  </a:lnTo>
                  <a:lnTo>
                    <a:pt x="9934" y="2427"/>
                  </a:lnTo>
                  <a:lnTo>
                    <a:pt x="9969" y="2401"/>
                  </a:lnTo>
                  <a:lnTo>
                    <a:pt x="9978" y="2401"/>
                  </a:lnTo>
                  <a:lnTo>
                    <a:pt x="9987" y="2392"/>
                  </a:lnTo>
                  <a:lnTo>
                    <a:pt x="9996" y="2383"/>
                  </a:lnTo>
                  <a:lnTo>
                    <a:pt x="9996" y="2374"/>
                  </a:lnTo>
                  <a:lnTo>
                    <a:pt x="9987" y="2365"/>
                  </a:lnTo>
                  <a:lnTo>
                    <a:pt x="9978" y="2356"/>
                  </a:lnTo>
                  <a:lnTo>
                    <a:pt x="9987" y="2356"/>
                  </a:lnTo>
                  <a:lnTo>
                    <a:pt x="9996" y="2356"/>
                  </a:lnTo>
                  <a:lnTo>
                    <a:pt x="9987" y="2348"/>
                  </a:lnTo>
                  <a:lnTo>
                    <a:pt x="9987" y="2339"/>
                  </a:lnTo>
                  <a:lnTo>
                    <a:pt x="9978" y="2339"/>
                  </a:lnTo>
                  <a:lnTo>
                    <a:pt x="9978" y="2330"/>
                  </a:lnTo>
                  <a:lnTo>
                    <a:pt x="9996" y="2339"/>
                  </a:lnTo>
                  <a:lnTo>
                    <a:pt x="10022" y="2356"/>
                  </a:lnTo>
                  <a:lnTo>
                    <a:pt x="10049" y="2365"/>
                  </a:lnTo>
                  <a:lnTo>
                    <a:pt x="10066" y="2374"/>
                  </a:lnTo>
                  <a:lnTo>
                    <a:pt x="10084" y="2374"/>
                  </a:lnTo>
                  <a:lnTo>
                    <a:pt x="10093" y="2374"/>
                  </a:lnTo>
                  <a:lnTo>
                    <a:pt x="10110" y="2374"/>
                  </a:lnTo>
                  <a:lnTo>
                    <a:pt x="10110" y="2365"/>
                  </a:lnTo>
                  <a:lnTo>
                    <a:pt x="10102" y="2356"/>
                  </a:lnTo>
                  <a:lnTo>
                    <a:pt x="10128" y="2365"/>
                  </a:lnTo>
                  <a:lnTo>
                    <a:pt x="10137" y="2356"/>
                  </a:lnTo>
                  <a:lnTo>
                    <a:pt x="10146" y="2348"/>
                  </a:lnTo>
                  <a:lnTo>
                    <a:pt x="10155" y="2348"/>
                  </a:lnTo>
                  <a:lnTo>
                    <a:pt x="10163" y="2348"/>
                  </a:lnTo>
                  <a:lnTo>
                    <a:pt x="10172" y="2348"/>
                  </a:lnTo>
                  <a:lnTo>
                    <a:pt x="10199" y="2348"/>
                  </a:lnTo>
                  <a:lnTo>
                    <a:pt x="10207" y="2348"/>
                  </a:lnTo>
                  <a:lnTo>
                    <a:pt x="10216" y="2348"/>
                  </a:lnTo>
                  <a:lnTo>
                    <a:pt x="10234" y="2339"/>
                  </a:lnTo>
                  <a:lnTo>
                    <a:pt x="10269" y="2330"/>
                  </a:lnTo>
                  <a:lnTo>
                    <a:pt x="10287" y="2321"/>
                  </a:lnTo>
                  <a:lnTo>
                    <a:pt x="10313" y="2321"/>
                  </a:lnTo>
                  <a:lnTo>
                    <a:pt x="10357" y="2312"/>
                  </a:lnTo>
                  <a:lnTo>
                    <a:pt x="10366" y="2312"/>
                  </a:lnTo>
                  <a:lnTo>
                    <a:pt x="10384" y="2303"/>
                  </a:lnTo>
                  <a:lnTo>
                    <a:pt x="10402" y="2303"/>
                  </a:lnTo>
                  <a:lnTo>
                    <a:pt x="10410" y="2303"/>
                  </a:lnTo>
                  <a:lnTo>
                    <a:pt x="10419" y="2295"/>
                  </a:lnTo>
                  <a:lnTo>
                    <a:pt x="10428" y="2286"/>
                  </a:lnTo>
                  <a:lnTo>
                    <a:pt x="10437" y="2286"/>
                  </a:lnTo>
                  <a:lnTo>
                    <a:pt x="10446" y="2277"/>
                  </a:lnTo>
                  <a:lnTo>
                    <a:pt x="10472" y="2268"/>
                  </a:lnTo>
                  <a:lnTo>
                    <a:pt x="10472" y="2259"/>
                  </a:lnTo>
                  <a:lnTo>
                    <a:pt x="10481" y="2259"/>
                  </a:lnTo>
                  <a:lnTo>
                    <a:pt x="10481" y="2251"/>
                  </a:lnTo>
                  <a:lnTo>
                    <a:pt x="10499" y="2242"/>
                  </a:lnTo>
                  <a:lnTo>
                    <a:pt x="10516" y="2233"/>
                  </a:lnTo>
                  <a:lnTo>
                    <a:pt x="10507" y="2224"/>
                  </a:lnTo>
                  <a:lnTo>
                    <a:pt x="10534" y="2224"/>
                  </a:lnTo>
                  <a:lnTo>
                    <a:pt x="10543" y="2215"/>
                  </a:lnTo>
                  <a:lnTo>
                    <a:pt x="10560" y="2206"/>
                  </a:lnTo>
                  <a:close/>
                  <a:moveTo>
                    <a:pt x="10525" y="7104"/>
                  </a:moveTo>
                  <a:lnTo>
                    <a:pt x="10516" y="7104"/>
                  </a:lnTo>
                  <a:lnTo>
                    <a:pt x="10516" y="7112"/>
                  </a:lnTo>
                  <a:lnTo>
                    <a:pt x="10525" y="7112"/>
                  </a:lnTo>
                  <a:close/>
                  <a:moveTo>
                    <a:pt x="8619" y="2162"/>
                  </a:moveTo>
                  <a:lnTo>
                    <a:pt x="8628" y="2153"/>
                  </a:lnTo>
                  <a:lnTo>
                    <a:pt x="8628" y="2145"/>
                  </a:lnTo>
                  <a:lnTo>
                    <a:pt x="8611" y="2136"/>
                  </a:lnTo>
                  <a:lnTo>
                    <a:pt x="8602" y="2136"/>
                  </a:lnTo>
                  <a:lnTo>
                    <a:pt x="8593" y="2136"/>
                  </a:lnTo>
                  <a:lnTo>
                    <a:pt x="8584" y="2145"/>
                  </a:lnTo>
                  <a:lnTo>
                    <a:pt x="8584" y="2153"/>
                  </a:lnTo>
                  <a:lnTo>
                    <a:pt x="8584" y="2162"/>
                  </a:lnTo>
                  <a:lnTo>
                    <a:pt x="8584" y="2171"/>
                  </a:lnTo>
                  <a:lnTo>
                    <a:pt x="8593" y="2189"/>
                  </a:lnTo>
                  <a:lnTo>
                    <a:pt x="8611" y="2189"/>
                  </a:lnTo>
                  <a:lnTo>
                    <a:pt x="8611" y="2180"/>
                  </a:lnTo>
                  <a:lnTo>
                    <a:pt x="8611" y="2171"/>
                  </a:lnTo>
                  <a:close/>
                  <a:moveTo>
                    <a:pt x="10507" y="5525"/>
                  </a:moveTo>
                  <a:lnTo>
                    <a:pt x="10516" y="5525"/>
                  </a:lnTo>
                  <a:lnTo>
                    <a:pt x="10516" y="5516"/>
                  </a:lnTo>
                  <a:lnTo>
                    <a:pt x="10507" y="5516"/>
                  </a:lnTo>
                  <a:close/>
                  <a:moveTo>
                    <a:pt x="11346" y="6178"/>
                  </a:moveTo>
                  <a:lnTo>
                    <a:pt x="11363" y="6178"/>
                  </a:lnTo>
                  <a:lnTo>
                    <a:pt x="11363" y="6169"/>
                  </a:lnTo>
                  <a:lnTo>
                    <a:pt x="11372" y="6160"/>
                  </a:lnTo>
                  <a:lnTo>
                    <a:pt x="11372" y="6151"/>
                  </a:lnTo>
                  <a:lnTo>
                    <a:pt x="11363" y="6151"/>
                  </a:lnTo>
                  <a:lnTo>
                    <a:pt x="11363" y="6160"/>
                  </a:lnTo>
                  <a:lnTo>
                    <a:pt x="11354" y="6160"/>
                  </a:lnTo>
                  <a:lnTo>
                    <a:pt x="11346" y="6169"/>
                  </a:lnTo>
                  <a:lnTo>
                    <a:pt x="11337" y="6178"/>
                  </a:lnTo>
                  <a:lnTo>
                    <a:pt x="11346" y="6187"/>
                  </a:lnTo>
                  <a:close/>
                  <a:moveTo>
                    <a:pt x="10428" y="13202"/>
                  </a:moveTo>
                  <a:lnTo>
                    <a:pt x="10419" y="13202"/>
                  </a:lnTo>
                  <a:lnTo>
                    <a:pt x="10410" y="13202"/>
                  </a:lnTo>
                  <a:lnTo>
                    <a:pt x="10419" y="13202"/>
                  </a:lnTo>
                  <a:lnTo>
                    <a:pt x="10428" y="13211"/>
                  </a:lnTo>
                  <a:close/>
                  <a:moveTo>
                    <a:pt x="10507" y="5454"/>
                  </a:moveTo>
                  <a:lnTo>
                    <a:pt x="10507" y="5445"/>
                  </a:lnTo>
                  <a:lnTo>
                    <a:pt x="10499" y="5445"/>
                  </a:lnTo>
                  <a:lnTo>
                    <a:pt x="10481" y="5445"/>
                  </a:lnTo>
                  <a:lnTo>
                    <a:pt x="10472" y="5445"/>
                  </a:lnTo>
                  <a:lnTo>
                    <a:pt x="10463" y="5437"/>
                  </a:lnTo>
                  <a:lnTo>
                    <a:pt x="10455" y="5445"/>
                  </a:lnTo>
                  <a:lnTo>
                    <a:pt x="10463" y="5454"/>
                  </a:lnTo>
                  <a:lnTo>
                    <a:pt x="10490" y="5454"/>
                  </a:lnTo>
                  <a:lnTo>
                    <a:pt x="10499" y="5454"/>
                  </a:lnTo>
                  <a:close/>
                  <a:moveTo>
                    <a:pt x="11028" y="6266"/>
                  </a:moveTo>
                  <a:lnTo>
                    <a:pt x="11019" y="6266"/>
                  </a:lnTo>
                  <a:lnTo>
                    <a:pt x="11028" y="6275"/>
                  </a:lnTo>
                  <a:lnTo>
                    <a:pt x="11037" y="6275"/>
                  </a:lnTo>
                  <a:lnTo>
                    <a:pt x="11046" y="6266"/>
                  </a:lnTo>
                  <a:lnTo>
                    <a:pt x="11037" y="6266"/>
                  </a:lnTo>
                  <a:close/>
                  <a:moveTo>
                    <a:pt x="11328" y="6196"/>
                  </a:moveTo>
                  <a:lnTo>
                    <a:pt x="11328" y="6204"/>
                  </a:lnTo>
                  <a:lnTo>
                    <a:pt x="11319" y="6222"/>
                  </a:lnTo>
                  <a:lnTo>
                    <a:pt x="11310" y="6231"/>
                  </a:lnTo>
                  <a:lnTo>
                    <a:pt x="11301" y="6240"/>
                  </a:lnTo>
                  <a:lnTo>
                    <a:pt x="11293" y="6240"/>
                  </a:lnTo>
                  <a:lnTo>
                    <a:pt x="11293" y="6249"/>
                  </a:lnTo>
                  <a:lnTo>
                    <a:pt x="11301" y="6249"/>
                  </a:lnTo>
                  <a:lnTo>
                    <a:pt x="11310" y="6240"/>
                  </a:lnTo>
                  <a:lnTo>
                    <a:pt x="11337" y="6231"/>
                  </a:lnTo>
                  <a:lnTo>
                    <a:pt x="11337" y="6222"/>
                  </a:lnTo>
                  <a:lnTo>
                    <a:pt x="11346" y="6204"/>
                  </a:lnTo>
                  <a:lnTo>
                    <a:pt x="11346" y="6196"/>
                  </a:lnTo>
                  <a:lnTo>
                    <a:pt x="11337" y="6196"/>
                  </a:lnTo>
                  <a:close/>
                  <a:moveTo>
                    <a:pt x="10684" y="7157"/>
                  </a:moveTo>
                  <a:lnTo>
                    <a:pt x="10675" y="7157"/>
                  </a:lnTo>
                  <a:lnTo>
                    <a:pt x="10675" y="7165"/>
                  </a:lnTo>
                  <a:lnTo>
                    <a:pt x="10666" y="7165"/>
                  </a:lnTo>
                  <a:lnTo>
                    <a:pt x="10675" y="7174"/>
                  </a:lnTo>
                  <a:lnTo>
                    <a:pt x="10684" y="7174"/>
                  </a:lnTo>
                  <a:lnTo>
                    <a:pt x="10693" y="7165"/>
                  </a:lnTo>
                  <a:lnTo>
                    <a:pt x="10693" y="7157"/>
                  </a:lnTo>
                  <a:close/>
                  <a:moveTo>
                    <a:pt x="10675" y="7121"/>
                  </a:moveTo>
                  <a:lnTo>
                    <a:pt x="10675" y="7112"/>
                  </a:lnTo>
                  <a:lnTo>
                    <a:pt x="10666" y="7112"/>
                  </a:lnTo>
                  <a:lnTo>
                    <a:pt x="10666" y="7121"/>
                  </a:lnTo>
                  <a:lnTo>
                    <a:pt x="10675" y="7130"/>
                  </a:lnTo>
                  <a:close/>
                  <a:moveTo>
                    <a:pt x="10357" y="5366"/>
                  </a:moveTo>
                  <a:lnTo>
                    <a:pt x="10349" y="5366"/>
                  </a:lnTo>
                  <a:lnTo>
                    <a:pt x="10349" y="5375"/>
                  </a:lnTo>
                  <a:lnTo>
                    <a:pt x="10366" y="5375"/>
                  </a:lnTo>
                  <a:lnTo>
                    <a:pt x="10366" y="5366"/>
                  </a:lnTo>
                  <a:close/>
                  <a:moveTo>
                    <a:pt x="5196" y="6310"/>
                  </a:moveTo>
                  <a:lnTo>
                    <a:pt x="5196" y="6319"/>
                  </a:lnTo>
                  <a:lnTo>
                    <a:pt x="5196" y="6346"/>
                  </a:lnTo>
                  <a:lnTo>
                    <a:pt x="5205" y="6381"/>
                  </a:lnTo>
                  <a:lnTo>
                    <a:pt x="5214" y="6399"/>
                  </a:lnTo>
                  <a:lnTo>
                    <a:pt x="5214" y="6381"/>
                  </a:lnTo>
                  <a:lnTo>
                    <a:pt x="5205" y="6346"/>
                  </a:lnTo>
                  <a:close/>
                  <a:moveTo>
                    <a:pt x="10560" y="7245"/>
                  </a:moveTo>
                  <a:lnTo>
                    <a:pt x="10552" y="7254"/>
                  </a:lnTo>
                  <a:lnTo>
                    <a:pt x="10560" y="7254"/>
                  </a:lnTo>
                  <a:lnTo>
                    <a:pt x="10560" y="7263"/>
                  </a:lnTo>
                  <a:lnTo>
                    <a:pt x="10569" y="7263"/>
                  </a:lnTo>
                  <a:lnTo>
                    <a:pt x="10569" y="7254"/>
                  </a:lnTo>
                  <a:lnTo>
                    <a:pt x="10569" y="7245"/>
                  </a:lnTo>
                  <a:close/>
                  <a:moveTo>
                    <a:pt x="10587" y="7121"/>
                  </a:moveTo>
                  <a:lnTo>
                    <a:pt x="10578" y="7121"/>
                  </a:lnTo>
                  <a:lnTo>
                    <a:pt x="10569" y="7121"/>
                  </a:lnTo>
                  <a:lnTo>
                    <a:pt x="10560" y="7121"/>
                  </a:lnTo>
                  <a:lnTo>
                    <a:pt x="10560" y="7130"/>
                  </a:lnTo>
                  <a:lnTo>
                    <a:pt x="10569" y="7139"/>
                  </a:lnTo>
                  <a:lnTo>
                    <a:pt x="10569" y="7130"/>
                  </a:lnTo>
                  <a:lnTo>
                    <a:pt x="10578" y="7130"/>
                  </a:lnTo>
                  <a:lnTo>
                    <a:pt x="10587" y="7130"/>
                  </a:lnTo>
                  <a:close/>
                  <a:moveTo>
                    <a:pt x="10622" y="7236"/>
                  </a:moveTo>
                  <a:lnTo>
                    <a:pt x="10613" y="7227"/>
                  </a:lnTo>
                  <a:lnTo>
                    <a:pt x="10613" y="7218"/>
                  </a:lnTo>
                  <a:lnTo>
                    <a:pt x="10613" y="7227"/>
                  </a:lnTo>
                  <a:lnTo>
                    <a:pt x="10613" y="7236"/>
                  </a:lnTo>
                  <a:lnTo>
                    <a:pt x="10613" y="7245"/>
                  </a:lnTo>
                  <a:lnTo>
                    <a:pt x="10613" y="7254"/>
                  </a:lnTo>
                  <a:lnTo>
                    <a:pt x="10622" y="7254"/>
                  </a:lnTo>
                  <a:lnTo>
                    <a:pt x="10631" y="7254"/>
                  </a:lnTo>
                  <a:lnTo>
                    <a:pt x="10631" y="7245"/>
                  </a:lnTo>
                  <a:lnTo>
                    <a:pt x="10631" y="7236"/>
                  </a:lnTo>
                  <a:close/>
                  <a:moveTo>
                    <a:pt x="10525" y="7086"/>
                  </a:moveTo>
                  <a:lnTo>
                    <a:pt x="10516" y="7086"/>
                  </a:lnTo>
                  <a:lnTo>
                    <a:pt x="10507" y="7086"/>
                  </a:lnTo>
                  <a:lnTo>
                    <a:pt x="10499" y="7095"/>
                  </a:lnTo>
                  <a:lnTo>
                    <a:pt x="10499" y="7104"/>
                  </a:lnTo>
                  <a:lnTo>
                    <a:pt x="10507" y="7104"/>
                  </a:lnTo>
                  <a:lnTo>
                    <a:pt x="10516" y="7095"/>
                  </a:lnTo>
                  <a:close/>
                  <a:moveTo>
                    <a:pt x="8611" y="8375"/>
                  </a:moveTo>
                  <a:lnTo>
                    <a:pt x="8637" y="8357"/>
                  </a:lnTo>
                  <a:lnTo>
                    <a:pt x="8628" y="8357"/>
                  </a:lnTo>
                  <a:lnTo>
                    <a:pt x="8619" y="8357"/>
                  </a:lnTo>
                  <a:lnTo>
                    <a:pt x="8611" y="8357"/>
                  </a:lnTo>
                  <a:lnTo>
                    <a:pt x="8611" y="8366"/>
                  </a:lnTo>
                  <a:lnTo>
                    <a:pt x="8602" y="8366"/>
                  </a:lnTo>
                  <a:close/>
                  <a:moveTo>
                    <a:pt x="8655" y="8339"/>
                  </a:moveTo>
                  <a:lnTo>
                    <a:pt x="8655" y="8330"/>
                  </a:lnTo>
                  <a:lnTo>
                    <a:pt x="8655" y="8322"/>
                  </a:lnTo>
                  <a:lnTo>
                    <a:pt x="8655" y="8313"/>
                  </a:lnTo>
                  <a:lnTo>
                    <a:pt x="8655" y="8304"/>
                  </a:lnTo>
                  <a:lnTo>
                    <a:pt x="8655" y="8313"/>
                  </a:lnTo>
                  <a:lnTo>
                    <a:pt x="8655" y="8322"/>
                  </a:lnTo>
                  <a:lnTo>
                    <a:pt x="8646" y="8330"/>
                  </a:lnTo>
                  <a:lnTo>
                    <a:pt x="8637" y="8339"/>
                  </a:lnTo>
                  <a:lnTo>
                    <a:pt x="8637" y="8348"/>
                  </a:lnTo>
                  <a:lnTo>
                    <a:pt x="8646" y="8348"/>
                  </a:lnTo>
                  <a:close/>
                  <a:moveTo>
                    <a:pt x="8717" y="8348"/>
                  </a:moveTo>
                  <a:lnTo>
                    <a:pt x="8708" y="8348"/>
                  </a:lnTo>
                  <a:lnTo>
                    <a:pt x="8699" y="8357"/>
                  </a:lnTo>
                  <a:lnTo>
                    <a:pt x="8708" y="8366"/>
                  </a:lnTo>
                  <a:lnTo>
                    <a:pt x="8725" y="8357"/>
                  </a:lnTo>
                  <a:lnTo>
                    <a:pt x="8725" y="8348"/>
                  </a:lnTo>
                  <a:close/>
                  <a:moveTo>
                    <a:pt x="8690" y="8330"/>
                  </a:moveTo>
                  <a:lnTo>
                    <a:pt x="8672" y="8330"/>
                  </a:lnTo>
                  <a:lnTo>
                    <a:pt x="8664" y="8330"/>
                  </a:lnTo>
                  <a:lnTo>
                    <a:pt x="8655" y="8339"/>
                  </a:lnTo>
                  <a:lnTo>
                    <a:pt x="8655" y="8348"/>
                  </a:lnTo>
                  <a:lnTo>
                    <a:pt x="8664" y="8348"/>
                  </a:lnTo>
                  <a:lnTo>
                    <a:pt x="8672" y="8348"/>
                  </a:lnTo>
                  <a:lnTo>
                    <a:pt x="8681" y="8357"/>
                  </a:lnTo>
                  <a:lnTo>
                    <a:pt x="8690" y="8357"/>
                  </a:lnTo>
                  <a:lnTo>
                    <a:pt x="8690" y="8348"/>
                  </a:lnTo>
                  <a:lnTo>
                    <a:pt x="8708" y="8339"/>
                  </a:lnTo>
                  <a:lnTo>
                    <a:pt x="8699" y="8330"/>
                  </a:lnTo>
                  <a:close/>
                  <a:moveTo>
                    <a:pt x="5902" y="7007"/>
                  </a:moveTo>
                  <a:lnTo>
                    <a:pt x="5893" y="7007"/>
                  </a:lnTo>
                  <a:lnTo>
                    <a:pt x="5893" y="7024"/>
                  </a:lnTo>
                  <a:lnTo>
                    <a:pt x="5893" y="7033"/>
                  </a:lnTo>
                  <a:lnTo>
                    <a:pt x="5893" y="7024"/>
                  </a:lnTo>
                  <a:lnTo>
                    <a:pt x="5902" y="7015"/>
                  </a:lnTo>
                  <a:close/>
                  <a:moveTo>
                    <a:pt x="5902" y="7068"/>
                  </a:moveTo>
                  <a:lnTo>
                    <a:pt x="5902" y="7060"/>
                  </a:lnTo>
                  <a:lnTo>
                    <a:pt x="5893" y="7068"/>
                  </a:lnTo>
                  <a:lnTo>
                    <a:pt x="5893" y="7077"/>
                  </a:lnTo>
                  <a:close/>
                  <a:moveTo>
                    <a:pt x="8672" y="8322"/>
                  </a:moveTo>
                  <a:lnTo>
                    <a:pt x="8681" y="8313"/>
                  </a:lnTo>
                  <a:lnTo>
                    <a:pt x="8681" y="8304"/>
                  </a:lnTo>
                  <a:lnTo>
                    <a:pt x="8672" y="8304"/>
                  </a:lnTo>
                  <a:lnTo>
                    <a:pt x="8664" y="8313"/>
                  </a:lnTo>
                  <a:lnTo>
                    <a:pt x="8664" y="8322"/>
                  </a:lnTo>
                  <a:close/>
                  <a:moveTo>
                    <a:pt x="8796" y="8401"/>
                  </a:moveTo>
                  <a:lnTo>
                    <a:pt x="8796" y="8392"/>
                  </a:lnTo>
                  <a:lnTo>
                    <a:pt x="8796" y="8383"/>
                  </a:lnTo>
                  <a:lnTo>
                    <a:pt x="8805" y="8375"/>
                  </a:lnTo>
                  <a:lnTo>
                    <a:pt x="8796" y="8375"/>
                  </a:lnTo>
                  <a:lnTo>
                    <a:pt x="8787" y="8366"/>
                  </a:lnTo>
                  <a:lnTo>
                    <a:pt x="8769" y="8366"/>
                  </a:lnTo>
                  <a:lnTo>
                    <a:pt x="8743" y="8366"/>
                  </a:lnTo>
                  <a:lnTo>
                    <a:pt x="8734" y="8366"/>
                  </a:lnTo>
                  <a:lnTo>
                    <a:pt x="8725" y="8366"/>
                  </a:lnTo>
                  <a:lnTo>
                    <a:pt x="8717" y="8366"/>
                  </a:lnTo>
                  <a:lnTo>
                    <a:pt x="8708" y="8366"/>
                  </a:lnTo>
                  <a:lnTo>
                    <a:pt x="8664" y="8357"/>
                  </a:lnTo>
                  <a:lnTo>
                    <a:pt x="8646" y="8366"/>
                  </a:lnTo>
                  <a:lnTo>
                    <a:pt x="8637" y="8375"/>
                  </a:lnTo>
                  <a:lnTo>
                    <a:pt x="8628" y="8375"/>
                  </a:lnTo>
                  <a:lnTo>
                    <a:pt x="8628" y="8383"/>
                  </a:lnTo>
                  <a:lnTo>
                    <a:pt x="8628" y="8392"/>
                  </a:lnTo>
                  <a:lnTo>
                    <a:pt x="8628" y="8401"/>
                  </a:lnTo>
                  <a:lnTo>
                    <a:pt x="8619" y="8419"/>
                  </a:lnTo>
                  <a:lnTo>
                    <a:pt x="8628" y="8427"/>
                  </a:lnTo>
                  <a:lnTo>
                    <a:pt x="8637" y="8427"/>
                  </a:lnTo>
                  <a:lnTo>
                    <a:pt x="8637" y="8436"/>
                  </a:lnTo>
                  <a:lnTo>
                    <a:pt x="8628" y="8436"/>
                  </a:lnTo>
                  <a:lnTo>
                    <a:pt x="8628" y="8445"/>
                  </a:lnTo>
                  <a:lnTo>
                    <a:pt x="8628" y="8454"/>
                  </a:lnTo>
                  <a:lnTo>
                    <a:pt x="8637" y="8463"/>
                  </a:lnTo>
                  <a:lnTo>
                    <a:pt x="8637" y="8472"/>
                  </a:lnTo>
                  <a:lnTo>
                    <a:pt x="8646" y="8480"/>
                  </a:lnTo>
                  <a:lnTo>
                    <a:pt x="8655" y="8480"/>
                  </a:lnTo>
                  <a:lnTo>
                    <a:pt x="8672" y="8480"/>
                  </a:lnTo>
                  <a:lnTo>
                    <a:pt x="8681" y="8472"/>
                  </a:lnTo>
                  <a:lnTo>
                    <a:pt x="8690" y="8480"/>
                  </a:lnTo>
                  <a:lnTo>
                    <a:pt x="8699" y="8480"/>
                  </a:lnTo>
                  <a:lnTo>
                    <a:pt x="8708" y="8480"/>
                  </a:lnTo>
                  <a:lnTo>
                    <a:pt x="8717" y="8480"/>
                  </a:lnTo>
                  <a:lnTo>
                    <a:pt x="8717" y="8472"/>
                  </a:lnTo>
                  <a:lnTo>
                    <a:pt x="8717" y="8463"/>
                  </a:lnTo>
                  <a:lnTo>
                    <a:pt x="8725" y="8463"/>
                  </a:lnTo>
                  <a:lnTo>
                    <a:pt x="8734" y="8472"/>
                  </a:lnTo>
                  <a:lnTo>
                    <a:pt x="8743" y="8472"/>
                  </a:lnTo>
                  <a:lnTo>
                    <a:pt x="8743" y="8463"/>
                  </a:lnTo>
                  <a:lnTo>
                    <a:pt x="8743" y="8454"/>
                  </a:lnTo>
                  <a:lnTo>
                    <a:pt x="8752" y="8463"/>
                  </a:lnTo>
                  <a:lnTo>
                    <a:pt x="8761" y="8463"/>
                  </a:lnTo>
                  <a:lnTo>
                    <a:pt x="8769" y="8454"/>
                  </a:lnTo>
                  <a:lnTo>
                    <a:pt x="8769" y="8445"/>
                  </a:lnTo>
                  <a:lnTo>
                    <a:pt x="8769" y="8436"/>
                  </a:lnTo>
                  <a:lnTo>
                    <a:pt x="8778" y="8436"/>
                  </a:lnTo>
                  <a:lnTo>
                    <a:pt x="8787" y="8427"/>
                  </a:lnTo>
                  <a:lnTo>
                    <a:pt x="8787" y="8419"/>
                  </a:lnTo>
                  <a:lnTo>
                    <a:pt x="8787" y="8410"/>
                  </a:lnTo>
                  <a:lnTo>
                    <a:pt x="8787" y="8401"/>
                  </a:lnTo>
                  <a:close/>
                  <a:moveTo>
                    <a:pt x="10252" y="5384"/>
                  </a:moveTo>
                  <a:lnTo>
                    <a:pt x="10252" y="5375"/>
                  </a:lnTo>
                  <a:lnTo>
                    <a:pt x="10234" y="5384"/>
                  </a:lnTo>
                  <a:lnTo>
                    <a:pt x="10243" y="5384"/>
                  </a:lnTo>
                  <a:close/>
                  <a:moveTo>
                    <a:pt x="9643" y="2683"/>
                  </a:moveTo>
                  <a:lnTo>
                    <a:pt x="9643" y="2674"/>
                  </a:lnTo>
                  <a:lnTo>
                    <a:pt x="9634" y="2665"/>
                  </a:lnTo>
                  <a:lnTo>
                    <a:pt x="9625" y="2674"/>
                  </a:lnTo>
                  <a:lnTo>
                    <a:pt x="9616" y="2683"/>
                  </a:lnTo>
                  <a:lnTo>
                    <a:pt x="9625" y="2692"/>
                  </a:lnTo>
                  <a:lnTo>
                    <a:pt x="9634" y="2692"/>
                  </a:lnTo>
                  <a:close/>
                  <a:moveTo>
                    <a:pt x="10278" y="5366"/>
                  </a:moveTo>
                  <a:lnTo>
                    <a:pt x="10287" y="5375"/>
                  </a:lnTo>
                  <a:lnTo>
                    <a:pt x="10296" y="5384"/>
                  </a:lnTo>
                  <a:lnTo>
                    <a:pt x="10313" y="5384"/>
                  </a:lnTo>
                  <a:lnTo>
                    <a:pt x="10305" y="5375"/>
                  </a:lnTo>
                  <a:close/>
                  <a:moveTo>
                    <a:pt x="8567" y="8401"/>
                  </a:moveTo>
                  <a:lnTo>
                    <a:pt x="8558" y="8410"/>
                  </a:lnTo>
                  <a:lnTo>
                    <a:pt x="8558" y="8427"/>
                  </a:lnTo>
                  <a:lnTo>
                    <a:pt x="8549" y="8436"/>
                  </a:lnTo>
                  <a:lnTo>
                    <a:pt x="8540" y="8454"/>
                  </a:lnTo>
                  <a:lnTo>
                    <a:pt x="8549" y="8454"/>
                  </a:lnTo>
                  <a:lnTo>
                    <a:pt x="8558" y="8445"/>
                  </a:lnTo>
                  <a:lnTo>
                    <a:pt x="8575" y="8436"/>
                  </a:lnTo>
                  <a:lnTo>
                    <a:pt x="8584" y="8427"/>
                  </a:lnTo>
                  <a:lnTo>
                    <a:pt x="8593" y="8401"/>
                  </a:lnTo>
                  <a:lnTo>
                    <a:pt x="8593" y="8392"/>
                  </a:lnTo>
                  <a:lnTo>
                    <a:pt x="8575" y="8392"/>
                  </a:lnTo>
                  <a:close/>
                  <a:moveTo>
                    <a:pt x="10269" y="5384"/>
                  </a:moveTo>
                  <a:lnTo>
                    <a:pt x="10260" y="5384"/>
                  </a:lnTo>
                  <a:lnTo>
                    <a:pt x="10260" y="5392"/>
                  </a:lnTo>
                  <a:lnTo>
                    <a:pt x="10269" y="5401"/>
                  </a:lnTo>
                  <a:lnTo>
                    <a:pt x="10278" y="5401"/>
                  </a:lnTo>
                  <a:lnTo>
                    <a:pt x="10287" y="5401"/>
                  </a:lnTo>
                  <a:lnTo>
                    <a:pt x="10296" y="5401"/>
                  </a:lnTo>
                  <a:lnTo>
                    <a:pt x="10287" y="5392"/>
                  </a:lnTo>
                  <a:close/>
                  <a:moveTo>
                    <a:pt x="17441" y="12258"/>
                  </a:moveTo>
                  <a:lnTo>
                    <a:pt x="17450" y="12258"/>
                  </a:lnTo>
                  <a:lnTo>
                    <a:pt x="17458" y="12249"/>
                  </a:lnTo>
                  <a:lnTo>
                    <a:pt x="17450" y="12240"/>
                  </a:lnTo>
                  <a:lnTo>
                    <a:pt x="17441" y="12249"/>
                  </a:lnTo>
                  <a:close/>
                  <a:moveTo>
                    <a:pt x="8937" y="3248"/>
                  </a:moveTo>
                  <a:lnTo>
                    <a:pt x="8946" y="3257"/>
                  </a:lnTo>
                  <a:lnTo>
                    <a:pt x="8955" y="3239"/>
                  </a:lnTo>
                  <a:lnTo>
                    <a:pt x="8964" y="3230"/>
                  </a:lnTo>
                  <a:lnTo>
                    <a:pt x="8964" y="3221"/>
                  </a:lnTo>
                  <a:lnTo>
                    <a:pt x="8946" y="3230"/>
                  </a:lnTo>
                  <a:lnTo>
                    <a:pt x="8919" y="3239"/>
                  </a:lnTo>
                  <a:lnTo>
                    <a:pt x="8919" y="3248"/>
                  </a:lnTo>
                  <a:lnTo>
                    <a:pt x="8928" y="3239"/>
                  </a:lnTo>
                  <a:close/>
                  <a:moveTo>
                    <a:pt x="9061" y="8445"/>
                  </a:moveTo>
                  <a:lnTo>
                    <a:pt x="9052" y="8445"/>
                  </a:lnTo>
                  <a:lnTo>
                    <a:pt x="9052" y="8454"/>
                  </a:lnTo>
                  <a:lnTo>
                    <a:pt x="9052" y="8445"/>
                  </a:lnTo>
                  <a:lnTo>
                    <a:pt x="9052" y="8454"/>
                  </a:lnTo>
                  <a:close/>
                  <a:moveTo>
                    <a:pt x="9087" y="8551"/>
                  </a:moveTo>
                  <a:lnTo>
                    <a:pt x="9078" y="8551"/>
                  </a:lnTo>
                  <a:lnTo>
                    <a:pt x="9078" y="8560"/>
                  </a:lnTo>
                  <a:lnTo>
                    <a:pt x="9078" y="8569"/>
                  </a:lnTo>
                  <a:lnTo>
                    <a:pt x="9078" y="8578"/>
                  </a:lnTo>
                  <a:lnTo>
                    <a:pt x="9087" y="8569"/>
                  </a:lnTo>
                  <a:lnTo>
                    <a:pt x="9087" y="8560"/>
                  </a:lnTo>
                  <a:close/>
                  <a:moveTo>
                    <a:pt x="10066" y="5304"/>
                  </a:moveTo>
                  <a:lnTo>
                    <a:pt x="10058" y="5304"/>
                  </a:lnTo>
                  <a:lnTo>
                    <a:pt x="10058" y="5313"/>
                  </a:lnTo>
                  <a:lnTo>
                    <a:pt x="10066" y="5313"/>
                  </a:lnTo>
                  <a:close/>
                  <a:moveTo>
                    <a:pt x="15579" y="9257"/>
                  </a:moveTo>
                  <a:lnTo>
                    <a:pt x="15570" y="9248"/>
                  </a:lnTo>
                  <a:lnTo>
                    <a:pt x="15562" y="9248"/>
                  </a:lnTo>
                  <a:lnTo>
                    <a:pt x="15562" y="9257"/>
                  </a:lnTo>
                  <a:lnTo>
                    <a:pt x="15570" y="9257"/>
                  </a:lnTo>
                  <a:close/>
                  <a:moveTo>
                    <a:pt x="15676" y="9284"/>
                  </a:moveTo>
                  <a:lnTo>
                    <a:pt x="15668" y="9284"/>
                  </a:lnTo>
                  <a:lnTo>
                    <a:pt x="15668" y="9292"/>
                  </a:lnTo>
                  <a:lnTo>
                    <a:pt x="15668" y="9301"/>
                  </a:lnTo>
                  <a:lnTo>
                    <a:pt x="15676" y="9301"/>
                  </a:lnTo>
                  <a:lnTo>
                    <a:pt x="15676" y="9292"/>
                  </a:lnTo>
                  <a:lnTo>
                    <a:pt x="15685" y="9284"/>
                  </a:lnTo>
                  <a:close/>
                  <a:moveTo>
                    <a:pt x="15632" y="9257"/>
                  </a:moveTo>
                  <a:lnTo>
                    <a:pt x="15632" y="9248"/>
                  </a:lnTo>
                  <a:lnTo>
                    <a:pt x="15623" y="9239"/>
                  </a:lnTo>
                  <a:lnTo>
                    <a:pt x="15623" y="9248"/>
                  </a:lnTo>
                  <a:lnTo>
                    <a:pt x="15615" y="9248"/>
                  </a:lnTo>
                  <a:lnTo>
                    <a:pt x="15606" y="9248"/>
                  </a:lnTo>
                  <a:lnTo>
                    <a:pt x="15615" y="9248"/>
                  </a:lnTo>
                  <a:lnTo>
                    <a:pt x="15623" y="9257"/>
                  </a:lnTo>
                  <a:close/>
                  <a:moveTo>
                    <a:pt x="16020" y="9601"/>
                  </a:moveTo>
                  <a:lnTo>
                    <a:pt x="16020" y="9610"/>
                  </a:lnTo>
                  <a:lnTo>
                    <a:pt x="16029" y="9601"/>
                  </a:lnTo>
                  <a:lnTo>
                    <a:pt x="16038" y="9584"/>
                  </a:lnTo>
                  <a:lnTo>
                    <a:pt x="16029" y="9584"/>
                  </a:lnTo>
                  <a:close/>
                  <a:moveTo>
                    <a:pt x="16056" y="9451"/>
                  </a:moveTo>
                  <a:lnTo>
                    <a:pt x="16047" y="9434"/>
                  </a:lnTo>
                  <a:lnTo>
                    <a:pt x="16047" y="9416"/>
                  </a:lnTo>
                  <a:lnTo>
                    <a:pt x="16047" y="9381"/>
                  </a:lnTo>
                  <a:lnTo>
                    <a:pt x="16038" y="9345"/>
                  </a:lnTo>
                  <a:lnTo>
                    <a:pt x="16029" y="9328"/>
                  </a:lnTo>
                  <a:lnTo>
                    <a:pt x="16029" y="9310"/>
                  </a:lnTo>
                  <a:lnTo>
                    <a:pt x="16020" y="9301"/>
                  </a:lnTo>
                  <a:lnTo>
                    <a:pt x="16003" y="9284"/>
                  </a:lnTo>
                  <a:lnTo>
                    <a:pt x="16003" y="9275"/>
                  </a:lnTo>
                  <a:lnTo>
                    <a:pt x="15994" y="9266"/>
                  </a:lnTo>
                  <a:lnTo>
                    <a:pt x="15994" y="9257"/>
                  </a:lnTo>
                  <a:lnTo>
                    <a:pt x="15985" y="9248"/>
                  </a:lnTo>
                  <a:lnTo>
                    <a:pt x="15985" y="9239"/>
                  </a:lnTo>
                  <a:lnTo>
                    <a:pt x="15976" y="9239"/>
                  </a:lnTo>
                  <a:lnTo>
                    <a:pt x="15959" y="9257"/>
                  </a:lnTo>
                  <a:lnTo>
                    <a:pt x="15950" y="9266"/>
                  </a:lnTo>
                  <a:lnTo>
                    <a:pt x="15941" y="9266"/>
                  </a:lnTo>
                  <a:lnTo>
                    <a:pt x="15950" y="9275"/>
                  </a:lnTo>
                  <a:lnTo>
                    <a:pt x="15950" y="9284"/>
                  </a:lnTo>
                  <a:lnTo>
                    <a:pt x="15950" y="9292"/>
                  </a:lnTo>
                  <a:lnTo>
                    <a:pt x="15950" y="9301"/>
                  </a:lnTo>
                  <a:lnTo>
                    <a:pt x="15941" y="9328"/>
                  </a:lnTo>
                  <a:lnTo>
                    <a:pt x="15932" y="9337"/>
                  </a:lnTo>
                  <a:lnTo>
                    <a:pt x="15923" y="9345"/>
                  </a:lnTo>
                  <a:lnTo>
                    <a:pt x="15915" y="9345"/>
                  </a:lnTo>
                  <a:lnTo>
                    <a:pt x="15906" y="9354"/>
                  </a:lnTo>
                  <a:lnTo>
                    <a:pt x="15906" y="9363"/>
                  </a:lnTo>
                  <a:lnTo>
                    <a:pt x="15897" y="9363"/>
                  </a:lnTo>
                  <a:lnTo>
                    <a:pt x="15888" y="9354"/>
                  </a:lnTo>
                  <a:lnTo>
                    <a:pt x="15879" y="9354"/>
                  </a:lnTo>
                  <a:lnTo>
                    <a:pt x="15879" y="9363"/>
                  </a:lnTo>
                  <a:lnTo>
                    <a:pt x="15879" y="9372"/>
                  </a:lnTo>
                  <a:lnTo>
                    <a:pt x="15888" y="9381"/>
                  </a:lnTo>
                  <a:lnTo>
                    <a:pt x="15879" y="9381"/>
                  </a:lnTo>
                  <a:lnTo>
                    <a:pt x="15879" y="9389"/>
                  </a:lnTo>
                  <a:lnTo>
                    <a:pt x="15870" y="9407"/>
                  </a:lnTo>
                  <a:lnTo>
                    <a:pt x="15870" y="9425"/>
                  </a:lnTo>
                  <a:lnTo>
                    <a:pt x="15879" y="9434"/>
                  </a:lnTo>
                  <a:lnTo>
                    <a:pt x="15879" y="9425"/>
                  </a:lnTo>
                  <a:lnTo>
                    <a:pt x="15870" y="9425"/>
                  </a:lnTo>
                  <a:lnTo>
                    <a:pt x="15862" y="9434"/>
                  </a:lnTo>
                  <a:lnTo>
                    <a:pt x="15853" y="9442"/>
                  </a:lnTo>
                  <a:lnTo>
                    <a:pt x="15853" y="9451"/>
                  </a:lnTo>
                  <a:lnTo>
                    <a:pt x="15844" y="9460"/>
                  </a:lnTo>
                  <a:lnTo>
                    <a:pt x="15844" y="9451"/>
                  </a:lnTo>
                  <a:lnTo>
                    <a:pt x="15844" y="9442"/>
                  </a:lnTo>
                  <a:lnTo>
                    <a:pt x="15844" y="9434"/>
                  </a:lnTo>
                  <a:lnTo>
                    <a:pt x="15835" y="9434"/>
                  </a:lnTo>
                  <a:lnTo>
                    <a:pt x="15835" y="9442"/>
                  </a:lnTo>
                  <a:lnTo>
                    <a:pt x="15835" y="9451"/>
                  </a:lnTo>
                  <a:lnTo>
                    <a:pt x="15826" y="9460"/>
                  </a:lnTo>
                  <a:lnTo>
                    <a:pt x="15818" y="9469"/>
                  </a:lnTo>
                  <a:lnTo>
                    <a:pt x="15818" y="9478"/>
                  </a:lnTo>
                  <a:lnTo>
                    <a:pt x="15818" y="9487"/>
                  </a:lnTo>
                  <a:lnTo>
                    <a:pt x="15809" y="9478"/>
                  </a:lnTo>
                  <a:lnTo>
                    <a:pt x="15809" y="9469"/>
                  </a:lnTo>
                  <a:lnTo>
                    <a:pt x="15800" y="9469"/>
                  </a:lnTo>
                  <a:lnTo>
                    <a:pt x="15791" y="9487"/>
                  </a:lnTo>
                  <a:lnTo>
                    <a:pt x="15773" y="9495"/>
                  </a:lnTo>
                  <a:lnTo>
                    <a:pt x="15765" y="9504"/>
                  </a:lnTo>
                  <a:lnTo>
                    <a:pt x="15765" y="9513"/>
                  </a:lnTo>
                  <a:lnTo>
                    <a:pt x="15773" y="9522"/>
                  </a:lnTo>
                  <a:lnTo>
                    <a:pt x="15765" y="9522"/>
                  </a:lnTo>
                  <a:lnTo>
                    <a:pt x="15756" y="9513"/>
                  </a:lnTo>
                  <a:lnTo>
                    <a:pt x="15747" y="9513"/>
                  </a:lnTo>
                  <a:lnTo>
                    <a:pt x="15738" y="9513"/>
                  </a:lnTo>
                  <a:lnTo>
                    <a:pt x="15729" y="9513"/>
                  </a:lnTo>
                  <a:lnTo>
                    <a:pt x="15720" y="9513"/>
                  </a:lnTo>
                  <a:lnTo>
                    <a:pt x="15712" y="9522"/>
                  </a:lnTo>
                  <a:lnTo>
                    <a:pt x="15712" y="9531"/>
                  </a:lnTo>
                  <a:lnTo>
                    <a:pt x="15703" y="9531"/>
                  </a:lnTo>
                  <a:lnTo>
                    <a:pt x="15694" y="9531"/>
                  </a:lnTo>
                  <a:lnTo>
                    <a:pt x="15685" y="9531"/>
                  </a:lnTo>
                  <a:lnTo>
                    <a:pt x="15676" y="9531"/>
                  </a:lnTo>
                  <a:lnTo>
                    <a:pt x="15668" y="9540"/>
                  </a:lnTo>
                  <a:lnTo>
                    <a:pt x="15659" y="9540"/>
                  </a:lnTo>
                  <a:lnTo>
                    <a:pt x="15632" y="9548"/>
                  </a:lnTo>
                  <a:lnTo>
                    <a:pt x="15623" y="9548"/>
                  </a:lnTo>
                  <a:lnTo>
                    <a:pt x="15623" y="9557"/>
                  </a:lnTo>
                  <a:lnTo>
                    <a:pt x="15623" y="9575"/>
                  </a:lnTo>
                  <a:lnTo>
                    <a:pt x="15623" y="9584"/>
                  </a:lnTo>
                  <a:lnTo>
                    <a:pt x="15588" y="9637"/>
                  </a:lnTo>
                  <a:lnTo>
                    <a:pt x="15588" y="9645"/>
                  </a:lnTo>
                  <a:lnTo>
                    <a:pt x="15588" y="9654"/>
                  </a:lnTo>
                  <a:lnTo>
                    <a:pt x="15588" y="9663"/>
                  </a:lnTo>
                  <a:lnTo>
                    <a:pt x="15588" y="9672"/>
                  </a:lnTo>
                  <a:lnTo>
                    <a:pt x="15597" y="9698"/>
                  </a:lnTo>
                  <a:lnTo>
                    <a:pt x="15597" y="9716"/>
                  </a:lnTo>
                  <a:lnTo>
                    <a:pt x="15606" y="9725"/>
                  </a:lnTo>
                  <a:lnTo>
                    <a:pt x="15606" y="9734"/>
                  </a:lnTo>
                  <a:lnTo>
                    <a:pt x="15606" y="9743"/>
                  </a:lnTo>
                  <a:lnTo>
                    <a:pt x="15606" y="9760"/>
                  </a:lnTo>
                  <a:lnTo>
                    <a:pt x="15623" y="9778"/>
                  </a:lnTo>
                  <a:lnTo>
                    <a:pt x="15623" y="9787"/>
                  </a:lnTo>
                  <a:lnTo>
                    <a:pt x="15623" y="9795"/>
                  </a:lnTo>
                  <a:lnTo>
                    <a:pt x="15623" y="9804"/>
                  </a:lnTo>
                  <a:lnTo>
                    <a:pt x="15623" y="9822"/>
                  </a:lnTo>
                  <a:lnTo>
                    <a:pt x="15623" y="9831"/>
                  </a:lnTo>
                  <a:lnTo>
                    <a:pt x="15615" y="9840"/>
                  </a:lnTo>
                  <a:lnTo>
                    <a:pt x="15606" y="9857"/>
                  </a:lnTo>
                  <a:lnTo>
                    <a:pt x="15597" y="9875"/>
                  </a:lnTo>
                  <a:lnTo>
                    <a:pt x="15597" y="9884"/>
                  </a:lnTo>
                  <a:lnTo>
                    <a:pt x="15588" y="9901"/>
                  </a:lnTo>
                  <a:lnTo>
                    <a:pt x="15579" y="9910"/>
                  </a:lnTo>
                  <a:lnTo>
                    <a:pt x="15579" y="9919"/>
                  </a:lnTo>
                  <a:lnTo>
                    <a:pt x="15570" y="9928"/>
                  </a:lnTo>
                  <a:lnTo>
                    <a:pt x="15562" y="9928"/>
                  </a:lnTo>
                  <a:lnTo>
                    <a:pt x="15553" y="9937"/>
                  </a:lnTo>
                  <a:lnTo>
                    <a:pt x="15553" y="9954"/>
                  </a:lnTo>
                  <a:lnTo>
                    <a:pt x="15544" y="9963"/>
                  </a:lnTo>
                  <a:lnTo>
                    <a:pt x="15544" y="9972"/>
                  </a:lnTo>
                  <a:lnTo>
                    <a:pt x="15535" y="9981"/>
                  </a:lnTo>
                  <a:lnTo>
                    <a:pt x="15535" y="9990"/>
                  </a:lnTo>
                  <a:lnTo>
                    <a:pt x="15535" y="10007"/>
                  </a:lnTo>
                  <a:lnTo>
                    <a:pt x="15535" y="10016"/>
                  </a:lnTo>
                  <a:lnTo>
                    <a:pt x="15544" y="10034"/>
                  </a:lnTo>
                  <a:lnTo>
                    <a:pt x="15544" y="10043"/>
                  </a:lnTo>
                  <a:lnTo>
                    <a:pt x="15544" y="10051"/>
                  </a:lnTo>
                  <a:lnTo>
                    <a:pt x="15562" y="10069"/>
                  </a:lnTo>
                  <a:lnTo>
                    <a:pt x="15562" y="10078"/>
                  </a:lnTo>
                  <a:lnTo>
                    <a:pt x="15562" y="10087"/>
                  </a:lnTo>
                  <a:lnTo>
                    <a:pt x="15570" y="10096"/>
                  </a:lnTo>
                  <a:lnTo>
                    <a:pt x="15570" y="10104"/>
                  </a:lnTo>
                  <a:lnTo>
                    <a:pt x="15570" y="10113"/>
                  </a:lnTo>
                  <a:lnTo>
                    <a:pt x="15562" y="10122"/>
                  </a:lnTo>
                  <a:lnTo>
                    <a:pt x="15570" y="10140"/>
                  </a:lnTo>
                  <a:lnTo>
                    <a:pt x="15562" y="10148"/>
                  </a:lnTo>
                  <a:lnTo>
                    <a:pt x="15570" y="10166"/>
                  </a:lnTo>
                  <a:lnTo>
                    <a:pt x="15579" y="10184"/>
                  </a:lnTo>
                  <a:lnTo>
                    <a:pt x="15588" y="10193"/>
                  </a:lnTo>
                  <a:lnTo>
                    <a:pt x="15588" y="10201"/>
                  </a:lnTo>
                  <a:lnTo>
                    <a:pt x="15588" y="10210"/>
                  </a:lnTo>
                  <a:lnTo>
                    <a:pt x="15597" y="10219"/>
                  </a:lnTo>
                  <a:lnTo>
                    <a:pt x="15606" y="10228"/>
                  </a:lnTo>
                  <a:lnTo>
                    <a:pt x="15615" y="10237"/>
                  </a:lnTo>
                  <a:lnTo>
                    <a:pt x="15623" y="10237"/>
                  </a:lnTo>
                  <a:lnTo>
                    <a:pt x="15641" y="10237"/>
                  </a:lnTo>
                  <a:lnTo>
                    <a:pt x="15650" y="10246"/>
                  </a:lnTo>
                  <a:lnTo>
                    <a:pt x="15676" y="10263"/>
                  </a:lnTo>
                  <a:lnTo>
                    <a:pt x="15703" y="10263"/>
                  </a:lnTo>
                  <a:lnTo>
                    <a:pt x="15712" y="10254"/>
                  </a:lnTo>
                  <a:lnTo>
                    <a:pt x="15729" y="10246"/>
                  </a:lnTo>
                  <a:lnTo>
                    <a:pt x="15747" y="10237"/>
                  </a:lnTo>
                  <a:lnTo>
                    <a:pt x="15765" y="10228"/>
                  </a:lnTo>
                  <a:lnTo>
                    <a:pt x="15782" y="10228"/>
                  </a:lnTo>
                  <a:lnTo>
                    <a:pt x="15791" y="10228"/>
                  </a:lnTo>
                  <a:lnTo>
                    <a:pt x="15809" y="10219"/>
                  </a:lnTo>
                  <a:lnTo>
                    <a:pt x="15818" y="10219"/>
                  </a:lnTo>
                  <a:lnTo>
                    <a:pt x="15826" y="10201"/>
                  </a:lnTo>
                  <a:lnTo>
                    <a:pt x="15835" y="10184"/>
                  </a:lnTo>
                  <a:lnTo>
                    <a:pt x="15835" y="10175"/>
                  </a:lnTo>
                  <a:lnTo>
                    <a:pt x="15835" y="10166"/>
                  </a:lnTo>
                  <a:lnTo>
                    <a:pt x="15835" y="10157"/>
                  </a:lnTo>
                  <a:lnTo>
                    <a:pt x="15844" y="10148"/>
                  </a:lnTo>
                  <a:lnTo>
                    <a:pt x="15853" y="10131"/>
                  </a:lnTo>
                  <a:lnTo>
                    <a:pt x="15853" y="10122"/>
                  </a:lnTo>
                  <a:lnTo>
                    <a:pt x="15853" y="10113"/>
                  </a:lnTo>
                  <a:lnTo>
                    <a:pt x="15870" y="10078"/>
                  </a:lnTo>
                  <a:lnTo>
                    <a:pt x="15870" y="10060"/>
                  </a:lnTo>
                  <a:lnTo>
                    <a:pt x="15870" y="10043"/>
                  </a:lnTo>
                  <a:lnTo>
                    <a:pt x="15879" y="10025"/>
                  </a:lnTo>
                  <a:lnTo>
                    <a:pt x="15879" y="10016"/>
                  </a:lnTo>
                  <a:lnTo>
                    <a:pt x="15897" y="9972"/>
                  </a:lnTo>
                  <a:lnTo>
                    <a:pt x="15915" y="9937"/>
                  </a:lnTo>
                  <a:lnTo>
                    <a:pt x="15923" y="9901"/>
                  </a:lnTo>
                  <a:lnTo>
                    <a:pt x="15932" y="9866"/>
                  </a:lnTo>
                  <a:lnTo>
                    <a:pt x="15941" y="9848"/>
                  </a:lnTo>
                  <a:lnTo>
                    <a:pt x="15941" y="9831"/>
                  </a:lnTo>
                  <a:lnTo>
                    <a:pt x="15950" y="9795"/>
                  </a:lnTo>
                  <a:lnTo>
                    <a:pt x="15967" y="9769"/>
                  </a:lnTo>
                  <a:lnTo>
                    <a:pt x="15976" y="9743"/>
                  </a:lnTo>
                  <a:lnTo>
                    <a:pt x="15976" y="9725"/>
                  </a:lnTo>
                  <a:lnTo>
                    <a:pt x="15985" y="9707"/>
                  </a:lnTo>
                  <a:lnTo>
                    <a:pt x="15994" y="9672"/>
                  </a:lnTo>
                  <a:lnTo>
                    <a:pt x="15994" y="9654"/>
                  </a:lnTo>
                  <a:lnTo>
                    <a:pt x="15994" y="9628"/>
                  </a:lnTo>
                  <a:lnTo>
                    <a:pt x="15994" y="9619"/>
                  </a:lnTo>
                  <a:lnTo>
                    <a:pt x="16003" y="9610"/>
                  </a:lnTo>
                  <a:lnTo>
                    <a:pt x="16003" y="9601"/>
                  </a:lnTo>
                  <a:lnTo>
                    <a:pt x="16012" y="9592"/>
                  </a:lnTo>
                  <a:lnTo>
                    <a:pt x="16012" y="9584"/>
                  </a:lnTo>
                  <a:lnTo>
                    <a:pt x="16020" y="9575"/>
                  </a:lnTo>
                  <a:lnTo>
                    <a:pt x="16020" y="9566"/>
                  </a:lnTo>
                  <a:lnTo>
                    <a:pt x="16020" y="9548"/>
                  </a:lnTo>
                  <a:lnTo>
                    <a:pt x="16020" y="9540"/>
                  </a:lnTo>
                  <a:lnTo>
                    <a:pt x="16012" y="9540"/>
                  </a:lnTo>
                  <a:lnTo>
                    <a:pt x="16012" y="9522"/>
                  </a:lnTo>
                  <a:lnTo>
                    <a:pt x="16012" y="9513"/>
                  </a:lnTo>
                  <a:lnTo>
                    <a:pt x="16012" y="9504"/>
                  </a:lnTo>
                  <a:lnTo>
                    <a:pt x="16003" y="9495"/>
                  </a:lnTo>
                  <a:lnTo>
                    <a:pt x="16012" y="9495"/>
                  </a:lnTo>
                  <a:lnTo>
                    <a:pt x="16012" y="9487"/>
                  </a:lnTo>
                  <a:lnTo>
                    <a:pt x="16020" y="9487"/>
                  </a:lnTo>
                  <a:lnTo>
                    <a:pt x="16029" y="9495"/>
                  </a:lnTo>
                  <a:lnTo>
                    <a:pt x="16038" y="9513"/>
                  </a:lnTo>
                  <a:lnTo>
                    <a:pt x="16038" y="9522"/>
                  </a:lnTo>
                  <a:lnTo>
                    <a:pt x="16047" y="9531"/>
                  </a:lnTo>
                  <a:lnTo>
                    <a:pt x="16056" y="9522"/>
                  </a:lnTo>
                  <a:lnTo>
                    <a:pt x="16065" y="9504"/>
                  </a:lnTo>
                  <a:lnTo>
                    <a:pt x="16065" y="9487"/>
                  </a:lnTo>
                  <a:lnTo>
                    <a:pt x="16065" y="9469"/>
                  </a:lnTo>
                  <a:close/>
                  <a:moveTo>
                    <a:pt x="15138" y="12055"/>
                  </a:moveTo>
                  <a:lnTo>
                    <a:pt x="15129" y="12055"/>
                  </a:lnTo>
                  <a:lnTo>
                    <a:pt x="15121" y="12055"/>
                  </a:lnTo>
                  <a:lnTo>
                    <a:pt x="15121" y="12064"/>
                  </a:lnTo>
                  <a:lnTo>
                    <a:pt x="15138" y="12064"/>
                  </a:lnTo>
                  <a:close/>
                  <a:moveTo>
                    <a:pt x="15376" y="8498"/>
                  </a:moveTo>
                  <a:lnTo>
                    <a:pt x="15368" y="8507"/>
                  </a:lnTo>
                  <a:lnTo>
                    <a:pt x="15376" y="8507"/>
                  </a:lnTo>
                  <a:lnTo>
                    <a:pt x="15385" y="8498"/>
                  </a:lnTo>
                  <a:close/>
                  <a:moveTo>
                    <a:pt x="15544" y="9187"/>
                  </a:moveTo>
                  <a:lnTo>
                    <a:pt x="15535" y="9187"/>
                  </a:lnTo>
                  <a:lnTo>
                    <a:pt x="15535" y="9213"/>
                  </a:lnTo>
                  <a:lnTo>
                    <a:pt x="15544" y="9222"/>
                  </a:lnTo>
                  <a:lnTo>
                    <a:pt x="15553" y="9222"/>
                  </a:lnTo>
                  <a:lnTo>
                    <a:pt x="15553" y="9213"/>
                  </a:lnTo>
                  <a:lnTo>
                    <a:pt x="15544" y="9204"/>
                  </a:lnTo>
                  <a:close/>
                  <a:moveTo>
                    <a:pt x="16682" y="6830"/>
                  </a:moveTo>
                  <a:lnTo>
                    <a:pt x="16664" y="6848"/>
                  </a:lnTo>
                  <a:lnTo>
                    <a:pt x="16664" y="6857"/>
                  </a:lnTo>
                  <a:lnTo>
                    <a:pt x="16673" y="6857"/>
                  </a:lnTo>
                  <a:lnTo>
                    <a:pt x="16673" y="6848"/>
                  </a:lnTo>
                  <a:lnTo>
                    <a:pt x="16682" y="6839"/>
                  </a:lnTo>
                  <a:lnTo>
                    <a:pt x="16691" y="6830"/>
                  </a:lnTo>
                  <a:lnTo>
                    <a:pt x="16682" y="6821"/>
                  </a:lnTo>
                  <a:close/>
                  <a:moveTo>
                    <a:pt x="16594" y="9831"/>
                  </a:moveTo>
                  <a:lnTo>
                    <a:pt x="16585" y="9831"/>
                  </a:lnTo>
                  <a:lnTo>
                    <a:pt x="16585" y="9840"/>
                  </a:lnTo>
                  <a:lnTo>
                    <a:pt x="16576" y="9848"/>
                  </a:lnTo>
                  <a:lnTo>
                    <a:pt x="16576" y="9857"/>
                  </a:lnTo>
                  <a:lnTo>
                    <a:pt x="16576" y="9866"/>
                  </a:lnTo>
                  <a:lnTo>
                    <a:pt x="16567" y="9866"/>
                  </a:lnTo>
                  <a:lnTo>
                    <a:pt x="16576" y="9866"/>
                  </a:lnTo>
                  <a:lnTo>
                    <a:pt x="16585" y="9875"/>
                  </a:lnTo>
                  <a:lnTo>
                    <a:pt x="16594" y="9866"/>
                  </a:lnTo>
                  <a:lnTo>
                    <a:pt x="16603" y="9866"/>
                  </a:lnTo>
                  <a:lnTo>
                    <a:pt x="16603" y="9857"/>
                  </a:lnTo>
                  <a:lnTo>
                    <a:pt x="16603" y="9848"/>
                  </a:lnTo>
                  <a:lnTo>
                    <a:pt x="16603" y="9840"/>
                  </a:lnTo>
                  <a:close/>
                  <a:moveTo>
                    <a:pt x="13004" y="8110"/>
                  </a:moveTo>
                  <a:lnTo>
                    <a:pt x="13004" y="8101"/>
                  </a:lnTo>
                  <a:lnTo>
                    <a:pt x="13013" y="8083"/>
                  </a:lnTo>
                  <a:lnTo>
                    <a:pt x="13013" y="8074"/>
                  </a:lnTo>
                  <a:lnTo>
                    <a:pt x="13004" y="8074"/>
                  </a:lnTo>
                  <a:lnTo>
                    <a:pt x="12995" y="8074"/>
                  </a:lnTo>
                  <a:lnTo>
                    <a:pt x="12995" y="8083"/>
                  </a:lnTo>
                  <a:lnTo>
                    <a:pt x="12995" y="8092"/>
                  </a:lnTo>
                  <a:lnTo>
                    <a:pt x="12987" y="8101"/>
                  </a:lnTo>
                  <a:lnTo>
                    <a:pt x="12978" y="8101"/>
                  </a:lnTo>
                  <a:lnTo>
                    <a:pt x="12978" y="8110"/>
                  </a:lnTo>
                  <a:lnTo>
                    <a:pt x="12995" y="8119"/>
                  </a:lnTo>
                  <a:close/>
                  <a:moveTo>
                    <a:pt x="16435" y="8701"/>
                  </a:moveTo>
                  <a:lnTo>
                    <a:pt x="16444" y="8701"/>
                  </a:lnTo>
                  <a:lnTo>
                    <a:pt x="16444" y="8692"/>
                  </a:lnTo>
                  <a:lnTo>
                    <a:pt x="16435" y="8683"/>
                  </a:lnTo>
                  <a:lnTo>
                    <a:pt x="16426" y="8692"/>
                  </a:lnTo>
                  <a:lnTo>
                    <a:pt x="16435" y="8692"/>
                  </a:lnTo>
                  <a:close/>
                  <a:moveTo>
                    <a:pt x="17538" y="12267"/>
                  </a:moveTo>
                  <a:lnTo>
                    <a:pt x="17529" y="12258"/>
                  </a:lnTo>
                  <a:lnTo>
                    <a:pt x="17520" y="12267"/>
                  </a:lnTo>
                  <a:lnTo>
                    <a:pt x="17503" y="12267"/>
                  </a:lnTo>
                  <a:lnTo>
                    <a:pt x="17494" y="12275"/>
                  </a:lnTo>
                  <a:lnTo>
                    <a:pt x="17485" y="12275"/>
                  </a:lnTo>
                  <a:lnTo>
                    <a:pt x="17476" y="12284"/>
                  </a:lnTo>
                  <a:lnTo>
                    <a:pt x="17467" y="12284"/>
                  </a:lnTo>
                  <a:lnTo>
                    <a:pt x="17458" y="12275"/>
                  </a:lnTo>
                  <a:lnTo>
                    <a:pt x="17458" y="12267"/>
                  </a:lnTo>
                  <a:lnTo>
                    <a:pt x="17467" y="12267"/>
                  </a:lnTo>
                  <a:lnTo>
                    <a:pt x="17476" y="12267"/>
                  </a:lnTo>
                  <a:lnTo>
                    <a:pt x="17476" y="12249"/>
                  </a:lnTo>
                  <a:lnTo>
                    <a:pt x="17467" y="12249"/>
                  </a:lnTo>
                  <a:lnTo>
                    <a:pt x="17450" y="12267"/>
                  </a:lnTo>
                  <a:lnTo>
                    <a:pt x="17441" y="12267"/>
                  </a:lnTo>
                  <a:lnTo>
                    <a:pt x="17432" y="12267"/>
                  </a:lnTo>
                  <a:lnTo>
                    <a:pt x="17432" y="12258"/>
                  </a:lnTo>
                  <a:lnTo>
                    <a:pt x="17432" y="12249"/>
                  </a:lnTo>
                  <a:lnTo>
                    <a:pt x="17441" y="12249"/>
                  </a:lnTo>
                  <a:lnTo>
                    <a:pt x="17441" y="12240"/>
                  </a:lnTo>
                  <a:lnTo>
                    <a:pt x="17441" y="12231"/>
                  </a:lnTo>
                  <a:lnTo>
                    <a:pt x="17432" y="12231"/>
                  </a:lnTo>
                  <a:lnTo>
                    <a:pt x="17432" y="12223"/>
                  </a:lnTo>
                  <a:lnTo>
                    <a:pt x="17423" y="12223"/>
                  </a:lnTo>
                  <a:lnTo>
                    <a:pt x="17423" y="12231"/>
                  </a:lnTo>
                  <a:lnTo>
                    <a:pt x="17414" y="12240"/>
                  </a:lnTo>
                  <a:lnTo>
                    <a:pt x="17414" y="12249"/>
                  </a:lnTo>
                  <a:lnTo>
                    <a:pt x="17414" y="12258"/>
                  </a:lnTo>
                  <a:lnTo>
                    <a:pt x="17414" y="12267"/>
                  </a:lnTo>
                  <a:lnTo>
                    <a:pt x="17423" y="12275"/>
                  </a:lnTo>
                  <a:lnTo>
                    <a:pt x="17414" y="12275"/>
                  </a:lnTo>
                  <a:lnTo>
                    <a:pt x="17414" y="12284"/>
                  </a:lnTo>
                  <a:lnTo>
                    <a:pt x="17414" y="12293"/>
                  </a:lnTo>
                  <a:lnTo>
                    <a:pt x="17423" y="12293"/>
                  </a:lnTo>
                  <a:lnTo>
                    <a:pt x="17423" y="12302"/>
                  </a:lnTo>
                  <a:lnTo>
                    <a:pt x="17414" y="12302"/>
                  </a:lnTo>
                  <a:lnTo>
                    <a:pt x="17414" y="12311"/>
                  </a:lnTo>
                  <a:lnTo>
                    <a:pt x="17414" y="12320"/>
                  </a:lnTo>
                  <a:lnTo>
                    <a:pt x="17423" y="12320"/>
                  </a:lnTo>
                  <a:lnTo>
                    <a:pt x="17432" y="12320"/>
                  </a:lnTo>
                  <a:lnTo>
                    <a:pt x="17441" y="12302"/>
                  </a:lnTo>
                  <a:lnTo>
                    <a:pt x="17450" y="12311"/>
                  </a:lnTo>
                  <a:lnTo>
                    <a:pt x="17458" y="12311"/>
                  </a:lnTo>
                  <a:lnTo>
                    <a:pt x="17467" y="12311"/>
                  </a:lnTo>
                  <a:lnTo>
                    <a:pt x="17476" y="12320"/>
                  </a:lnTo>
                  <a:lnTo>
                    <a:pt x="17485" y="12311"/>
                  </a:lnTo>
                  <a:lnTo>
                    <a:pt x="17494" y="12320"/>
                  </a:lnTo>
                  <a:lnTo>
                    <a:pt x="17511" y="12320"/>
                  </a:lnTo>
                  <a:lnTo>
                    <a:pt x="17520" y="12320"/>
                  </a:lnTo>
                  <a:lnTo>
                    <a:pt x="17520" y="12311"/>
                  </a:lnTo>
                  <a:lnTo>
                    <a:pt x="17529" y="12311"/>
                  </a:lnTo>
                  <a:lnTo>
                    <a:pt x="17520" y="12302"/>
                  </a:lnTo>
                  <a:lnTo>
                    <a:pt x="17511" y="12302"/>
                  </a:lnTo>
                  <a:lnTo>
                    <a:pt x="17511" y="12311"/>
                  </a:lnTo>
                  <a:lnTo>
                    <a:pt x="17503" y="12311"/>
                  </a:lnTo>
                  <a:lnTo>
                    <a:pt x="17494" y="12311"/>
                  </a:lnTo>
                  <a:lnTo>
                    <a:pt x="17485" y="12302"/>
                  </a:lnTo>
                  <a:lnTo>
                    <a:pt x="17485" y="12293"/>
                  </a:lnTo>
                  <a:lnTo>
                    <a:pt x="17494" y="12293"/>
                  </a:lnTo>
                  <a:lnTo>
                    <a:pt x="17503" y="12284"/>
                  </a:lnTo>
                  <a:lnTo>
                    <a:pt x="17511" y="12284"/>
                  </a:lnTo>
                  <a:lnTo>
                    <a:pt x="17520" y="12293"/>
                  </a:lnTo>
                  <a:lnTo>
                    <a:pt x="17529" y="12293"/>
                  </a:lnTo>
                  <a:lnTo>
                    <a:pt x="17538" y="12284"/>
                  </a:lnTo>
                  <a:lnTo>
                    <a:pt x="17547" y="12275"/>
                  </a:lnTo>
                  <a:close/>
                  <a:moveTo>
                    <a:pt x="16162" y="12011"/>
                  </a:moveTo>
                  <a:lnTo>
                    <a:pt x="16162" y="12002"/>
                  </a:lnTo>
                  <a:lnTo>
                    <a:pt x="16153" y="12011"/>
                  </a:lnTo>
                  <a:lnTo>
                    <a:pt x="16153" y="12020"/>
                  </a:lnTo>
                  <a:lnTo>
                    <a:pt x="16162" y="12020"/>
                  </a:lnTo>
                  <a:lnTo>
                    <a:pt x="16170" y="12020"/>
                  </a:lnTo>
                  <a:close/>
                  <a:moveTo>
                    <a:pt x="15906" y="9319"/>
                  </a:moveTo>
                  <a:lnTo>
                    <a:pt x="15906" y="9328"/>
                  </a:lnTo>
                  <a:lnTo>
                    <a:pt x="15897" y="9328"/>
                  </a:lnTo>
                  <a:lnTo>
                    <a:pt x="15897" y="9337"/>
                  </a:lnTo>
                  <a:lnTo>
                    <a:pt x="15915" y="9337"/>
                  </a:lnTo>
                  <a:lnTo>
                    <a:pt x="15915" y="9328"/>
                  </a:lnTo>
                  <a:close/>
                  <a:moveTo>
                    <a:pt x="16320" y="7421"/>
                  </a:moveTo>
                  <a:lnTo>
                    <a:pt x="16312" y="7421"/>
                  </a:lnTo>
                  <a:lnTo>
                    <a:pt x="16303" y="7421"/>
                  </a:lnTo>
                  <a:lnTo>
                    <a:pt x="16294" y="7421"/>
                  </a:lnTo>
                  <a:lnTo>
                    <a:pt x="16285" y="7421"/>
                  </a:lnTo>
                  <a:lnTo>
                    <a:pt x="16276" y="7430"/>
                  </a:lnTo>
                  <a:lnTo>
                    <a:pt x="16294" y="7439"/>
                  </a:lnTo>
                  <a:lnTo>
                    <a:pt x="16294" y="7448"/>
                  </a:lnTo>
                  <a:lnTo>
                    <a:pt x="16303" y="7448"/>
                  </a:lnTo>
                  <a:lnTo>
                    <a:pt x="16338" y="7448"/>
                  </a:lnTo>
                  <a:lnTo>
                    <a:pt x="16347" y="7439"/>
                  </a:lnTo>
                  <a:lnTo>
                    <a:pt x="16356" y="7430"/>
                  </a:lnTo>
                  <a:lnTo>
                    <a:pt x="16364" y="7430"/>
                  </a:lnTo>
                  <a:lnTo>
                    <a:pt x="16338" y="7421"/>
                  </a:lnTo>
                  <a:close/>
                  <a:moveTo>
                    <a:pt x="16453" y="9901"/>
                  </a:moveTo>
                  <a:lnTo>
                    <a:pt x="16444" y="9901"/>
                  </a:lnTo>
                  <a:lnTo>
                    <a:pt x="16435" y="9901"/>
                  </a:lnTo>
                  <a:lnTo>
                    <a:pt x="16426" y="9901"/>
                  </a:lnTo>
                  <a:lnTo>
                    <a:pt x="16417" y="9910"/>
                  </a:lnTo>
                  <a:lnTo>
                    <a:pt x="16426" y="9928"/>
                  </a:lnTo>
                  <a:lnTo>
                    <a:pt x="16444" y="9937"/>
                  </a:lnTo>
                  <a:lnTo>
                    <a:pt x="16462" y="9937"/>
                  </a:lnTo>
                  <a:lnTo>
                    <a:pt x="16462" y="9928"/>
                  </a:lnTo>
                  <a:lnTo>
                    <a:pt x="16462" y="9919"/>
                  </a:lnTo>
                  <a:lnTo>
                    <a:pt x="16453" y="9910"/>
                  </a:lnTo>
                  <a:close/>
                  <a:moveTo>
                    <a:pt x="11301" y="8931"/>
                  </a:moveTo>
                  <a:lnTo>
                    <a:pt x="11301" y="8939"/>
                  </a:lnTo>
                  <a:lnTo>
                    <a:pt x="11301" y="8931"/>
                  </a:lnTo>
                  <a:lnTo>
                    <a:pt x="11310" y="8931"/>
                  </a:lnTo>
                  <a:close/>
                  <a:moveTo>
                    <a:pt x="3326" y="4492"/>
                  </a:moveTo>
                  <a:lnTo>
                    <a:pt x="3317" y="4492"/>
                  </a:lnTo>
                  <a:lnTo>
                    <a:pt x="3326" y="4501"/>
                  </a:lnTo>
                  <a:close/>
                  <a:moveTo>
                    <a:pt x="11178" y="7527"/>
                  </a:moveTo>
                  <a:lnTo>
                    <a:pt x="11169" y="7536"/>
                  </a:lnTo>
                  <a:lnTo>
                    <a:pt x="11160" y="7536"/>
                  </a:lnTo>
                  <a:lnTo>
                    <a:pt x="11169" y="7545"/>
                  </a:lnTo>
                  <a:lnTo>
                    <a:pt x="11169" y="7536"/>
                  </a:lnTo>
                  <a:lnTo>
                    <a:pt x="11178" y="7536"/>
                  </a:lnTo>
                  <a:close/>
                  <a:moveTo>
                    <a:pt x="11178" y="7483"/>
                  </a:moveTo>
                  <a:lnTo>
                    <a:pt x="11169" y="7483"/>
                  </a:lnTo>
                  <a:lnTo>
                    <a:pt x="11178" y="7483"/>
                  </a:lnTo>
                  <a:lnTo>
                    <a:pt x="11178" y="7492"/>
                  </a:lnTo>
                  <a:lnTo>
                    <a:pt x="11187" y="7483"/>
                  </a:lnTo>
                  <a:close/>
                  <a:moveTo>
                    <a:pt x="12907" y="8225"/>
                  </a:moveTo>
                  <a:lnTo>
                    <a:pt x="12898" y="8225"/>
                  </a:lnTo>
                  <a:lnTo>
                    <a:pt x="12898" y="8233"/>
                  </a:lnTo>
                  <a:lnTo>
                    <a:pt x="12898" y="8242"/>
                  </a:lnTo>
                  <a:lnTo>
                    <a:pt x="12907" y="8233"/>
                  </a:lnTo>
                  <a:close/>
                  <a:moveTo>
                    <a:pt x="11116" y="5878"/>
                  </a:moveTo>
                  <a:lnTo>
                    <a:pt x="11125" y="5869"/>
                  </a:lnTo>
                  <a:lnTo>
                    <a:pt x="11134" y="5869"/>
                  </a:lnTo>
                  <a:lnTo>
                    <a:pt x="11125" y="5869"/>
                  </a:lnTo>
                  <a:lnTo>
                    <a:pt x="11116" y="5860"/>
                  </a:lnTo>
                  <a:lnTo>
                    <a:pt x="11107" y="5860"/>
                  </a:lnTo>
                  <a:lnTo>
                    <a:pt x="11090" y="5860"/>
                  </a:lnTo>
                  <a:lnTo>
                    <a:pt x="11090" y="5869"/>
                  </a:lnTo>
                  <a:lnTo>
                    <a:pt x="11099" y="5869"/>
                  </a:lnTo>
                  <a:lnTo>
                    <a:pt x="11107" y="5878"/>
                  </a:lnTo>
                  <a:close/>
                  <a:moveTo>
                    <a:pt x="11222" y="6240"/>
                  </a:moveTo>
                  <a:lnTo>
                    <a:pt x="11204" y="6240"/>
                  </a:lnTo>
                  <a:lnTo>
                    <a:pt x="11204" y="6249"/>
                  </a:lnTo>
                  <a:lnTo>
                    <a:pt x="11196" y="6249"/>
                  </a:lnTo>
                  <a:lnTo>
                    <a:pt x="11196" y="6257"/>
                  </a:lnTo>
                  <a:lnTo>
                    <a:pt x="11204" y="6266"/>
                  </a:lnTo>
                  <a:lnTo>
                    <a:pt x="11213" y="6275"/>
                  </a:lnTo>
                  <a:lnTo>
                    <a:pt x="11222" y="6266"/>
                  </a:lnTo>
                  <a:lnTo>
                    <a:pt x="11231" y="6257"/>
                  </a:lnTo>
                  <a:lnTo>
                    <a:pt x="11231" y="6249"/>
                  </a:lnTo>
                  <a:lnTo>
                    <a:pt x="11222" y="6249"/>
                  </a:lnTo>
                  <a:close/>
                  <a:moveTo>
                    <a:pt x="11187" y="7536"/>
                  </a:moveTo>
                  <a:lnTo>
                    <a:pt x="11187" y="7527"/>
                  </a:lnTo>
                  <a:close/>
                  <a:moveTo>
                    <a:pt x="11090" y="6240"/>
                  </a:moveTo>
                  <a:lnTo>
                    <a:pt x="11090" y="6231"/>
                  </a:lnTo>
                  <a:lnTo>
                    <a:pt x="11090" y="6240"/>
                  </a:lnTo>
                  <a:lnTo>
                    <a:pt x="11081" y="6240"/>
                  </a:lnTo>
                  <a:lnTo>
                    <a:pt x="11090" y="6249"/>
                  </a:lnTo>
                  <a:lnTo>
                    <a:pt x="11099" y="6249"/>
                  </a:lnTo>
                  <a:lnTo>
                    <a:pt x="11099" y="6240"/>
                  </a:lnTo>
                  <a:close/>
                  <a:moveTo>
                    <a:pt x="11187" y="7510"/>
                  </a:moveTo>
                  <a:lnTo>
                    <a:pt x="11187" y="7501"/>
                  </a:lnTo>
                  <a:lnTo>
                    <a:pt x="11178" y="7510"/>
                  </a:lnTo>
                  <a:close/>
                  <a:moveTo>
                    <a:pt x="11937" y="9522"/>
                  </a:moveTo>
                  <a:lnTo>
                    <a:pt x="11937" y="9531"/>
                  </a:lnTo>
                  <a:lnTo>
                    <a:pt x="11945" y="9531"/>
                  </a:lnTo>
                  <a:lnTo>
                    <a:pt x="11945" y="9522"/>
                  </a:lnTo>
                  <a:close/>
                  <a:moveTo>
                    <a:pt x="12845" y="8322"/>
                  </a:moveTo>
                  <a:lnTo>
                    <a:pt x="12837" y="8330"/>
                  </a:lnTo>
                  <a:lnTo>
                    <a:pt x="12837" y="8339"/>
                  </a:lnTo>
                  <a:lnTo>
                    <a:pt x="12837" y="8348"/>
                  </a:lnTo>
                  <a:lnTo>
                    <a:pt x="12845" y="8339"/>
                  </a:lnTo>
                  <a:lnTo>
                    <a:pt x="12854" y="8330"/>
                  </a:lnTo>
                  <a:close/>
                  <a:moveTo>
                    <a:pt x="12889" y="8022"/>
                  </a:moveTo>
                  <a:lnTo>
                    <a:pt x="12881" y="8030"/>
                  </a:lnTo>
                  <a:lnTo>
                    <a:pt x="12889" y="8030"/>
                  </a:lnTo>
                  <a:lnTo>
                    <a:pt x="12898" y="8030"/>
                  </a:lnTo>
                  <a:lnTo>
                    <a:pt x="12898" y="8022"/>
                  </a:lnTo>
                  <a:close/>
                  <a:moveTo>
                    <a:pt x="11213" y="7501"/>
                  </a:moveTo>
                  <a:lnTo>
                    <a:pt x="11213" y="7510"/>
                  </a:lnTo>
                  <a:lnTo>
                    <a:pt x="11213" y="7501"/>
                  </a:lnTo>
                  <a:lnTo>
                    <a:pt x="11222" y="7501"/>
                  </a:lnTo>
                  <a:close/>
                  <a:moveTo>
                    <a:pt x="11434" y="7792"/>
                  </a:moveTo>
                  <a:lnTo>
                    <a:pt x="11416" y="7792"/>
                  </a:lnTo>
                  <a:lnTo>
                    <a:pt x="11407" y="7801"/>
                  </a:lnTo>
                  <a:lnTo>
                    <a:pt x="11434" y="7801"/>
                  </a:lnTo>
                  <a:lnTo>
                    <a:pt x="11434" y="7810"/>
                  </a:lnTo>
                  <a:lnTo>
                    <a:pt x="11443" y="7801"/>
                  </a:lnTo>
                  <a:close/>
                  <a:moveTo>
                    <a:pt x="11204" y="7518"/>
                  </a:moveTo>
                  <a:lnTo>
                    <a:pt x="11196" y="7527"/>
                  </a:lnTo>
                  <a:lnTo>
                    <a:pt x="11204" y="7527"/>
                  </a:lnTo>
                  <a:close/>
                  <a:moveTo>
                    <a:pt x="11116" y="2895"/>
                  </a:moveTo>
                  <a:lnTo>
                    <a:pt x="11125" y="2895"/>
                  </a:lnTo>
                  <a:lnTo>
                    <a:pt x="11134" y="2886"/>
                  </a:lnTo>
                  <a:lnTo>
                    <a:pt x="11151" y="2886"/>
                  </a:lnTo>
                  <a:lnTo>
                    <a:pt x="11160" y="2868"/>
                  </a:lnTo>
                  <a:lnTo>
                    <a:pt x="11178" y="2860"/>
                  </a:lnTo>
                  <a:lnTo>
                    <a:pt x="11196" y="2851"/>
                  </a:lnTo>
                  <a:lnTo>
                    <a:pt x="11222" y="2842"/>
                  </a:lnTo>
                  <a:lnTo>
                    <a:pt x="11240" y="2842"/>
                  </a:lnTo>
                  <a:lnTo>
                    <a:pt x="11257" y="2842"/>
                  </a:lnTo>
                  <a:lnTo>
                    <a:pt x="11257" y="2833"/>
                  </a:lnTo>
                  <a:lnTo>
                    <a:pt x="11275" y="2824"/>
                  </a:lnTo>
                  <a:lnTo>
                    <a:pt x="11284" y="2824"/>
                  </a:lnTo>
                  <a:lnTo>
                    <a:pt x="11293" y="2824"/>
                  </a:lnTo>
                  <a:lnTo>
                    <a:pt x="11293" y="2815"/>
                  </a:lnTo>
                  <a:lnTo>
                    <a:pt x="11293" y="2807"/>
                  </a:lnTo>
                  <a:lnTo>
                    <a:pt x="11301" y="2807"/>
                  </a:lnTo>
                  <a:lnTo>
                    <a:pt x="11293" y="2807"/>
                  </a:lnTo>
                  <a:lnTo>
                    <a:pt x="11293" y="2798"/>
                  </a:lnTo>
                  <a:lnTo>
                    <a:pt x="11301" y="2789"/>
                  </a:lnTo>
                  <a:lnTo>
                    <a:pt x="11310" y="2789"/>
                  </a:lnTo>
                  <a:lnTo>
                    <a:pt x="11319" y="2789"/>
                  </a:lnTo>
                  <a:lnTo>
                    <a:pt x="11328" y="2789"/>
                  </a:lnTo>
                  <a:lnTo>
                    <a:pt x="11328" y="2780"/>
                  </a:lnTo>
                  <a:lnTo>
                    <a:pt x="11337" y="2771"/>
                  </a:lnTo>
                  <a:lnTo>
                    <a:pt x="11346" y="2762"/>
                  </a:lnTo>
                  <a:lnTo>
                    <a:pt x="11337" y="2754"/>
                  </a:lnTo>
                  <a:lnTo>
                    <a:pt x="11346" y="2754"/>
                  </a:lnTo>
                  <a:lnTo>
                    <a:pt x="11354" y="2754"/>
                  </a:lnTo>
                  <a:lnTo>
                    <a:pt x="11363" y="2745"/>
                  </a:lnTo>
                  <a:lnTo>
                    <a:pt x="11363" y="2736"/>
                  </a:lnTo>
                  <a:lnTo>
                    <a:pt x="11346" y="2736"/>
                  </a:lnTo>
                  <a:lnTo>
                    <a:pt x="11354" y="2727"/>
                  </a:lnTo>
                  <a:lnTo>
                    <a:pt x="11354" y="2718"/>
                  </a:lnTo>
                  <a:lnTo>
                    <a:pt x="11346" y="2718"/>
                  </a:lnTo>
                  <a:lnTo>
                    <a:pt x="11346" y="2709"/>
                  </a:lnTo>
                  <a:lnTo>
                    <a:pt x="11354" y="2709"/>
                  </a:lnTo>
                  <a:lnTo>
                    <a:pt x="11354" y="2701"/>
                  </a:lnTo>
                  <a:lnTo>
                    <a:pt x="11354" y="2692"/>
                  </a:lnTo>
                  <a:lnTo>
                    <a:pt x="11346" y="2692"/>
                  </a:lnTo>
                  <a:lnTo>
                    <a:pt x="11337" y="2683"/>
                  </a:lnTo>
                  <a:lnTo>
                    <a:pt x="11319" y="2674"/>
                  </a:lnTo>
                  <a:lnTo>
                    <a:pt x="11310" y="2683"/>
                  </a:lnTo>
                  <a:lnTo>
                    <a:pt x="11293" y="2683"/>
                  </a:lnTo>
                  <a:lnTo>
                    <a:pt x="11301" y="2674"/>
                  </a:lnTo>
                  <a:lnTo>
                    <a:pt x="11301" y="2665"/>
                  </a:lnTo>
                  <a:lnTo>
                    <a:pt x="11301" y="2657"/>
                  </a:lnTo>
                  <a:lnTo>
                    <a:pt x="11275" y="2665"/>
                  </a:lnTo>
                  <a:lnTo>
                    <a:pt x="11266" y="2665"/>
                  </a:lnTo>
                  <a:lnTo>
                    <a:pt x="11266" y="2657"/>
                  </a:lnTo>
                  <a:lnTo>
                    <a:pt x="11275" y="2657"/>
                  </a:lnTo>
                  <a:lnTo>
                    <a:pt x="11275" y="2648"/>
                  </a:lnTo>
                  <a:lnTo>
                    <a:pt x="11284" y="2639"/>
                  </a:lnTo>
                  <a:lnTo>
                    <a:pt x="11275" y="2639"/>
                  </a:lnTo>
                  <a:lnTo>
                    <a:pt x="11275" y="2630"/>
                  </a:lnTo>
                  <a:lnTo>
                    <a:pt x="11266" y="2630"/>
                  </a:lnTo>
                  <a:lnTo>
                    <a:pt x="11257" y="2630"/>
                  </a:lnTo>
                  <a:lnTo>
                    <a:pt x="11249" y="2621"/>
                  </a:lnTo>
                  <a:lnTo>
                    <a:pt x="11257" y="2612"/>
                  </a:lnTo>
                  <a:lnTo>
                    <a:pt x="11257" y="2604"/>
                  </a:lnTo>
                  <a:lnTo>
                    <a:pt x="11275" y="2595"/>
                  </a:lnTo>
                  <a:lnTo>
                    <a:pt x="11284" y="2586"/>
                  </a:lnTo>
                  <a:lnTo>
                    <a:pt x="11275" y="2586"/>
                  </a:lnTo>
                  <a:lnTo>
                    <a:pt x="11266" y="2586"/>
                  </a:lnTo>
                  <a:lnTo>
                    <a:pt x="11257" y="2586"/>
                  </a:lnTo>
                  <a:lnTo>
                    <a:pt x="11240" y="2604"/>
                  </a:lnTo>
                  <a:lnTo>
                    <a:pt x="11222" y="2604"/>
                  </a:lnTo>
                  <a:lnTo>
                    <a:pt x="11213" y="2604"/>
                  </a:lnTo>
                  <a:lnTo>
                    <a:pt x="11204" y="2604"/>
                  </a:lnTo>
                  <a:lnTo>
                    <a:pt x="11204" y="2595"/>
                  </a:lnTo>
                  <a:lnTo>
                    <a:pt x="11204" y="2586"/>
                  </a:lnTo>
                  <a:lnTo>
                    <a:pt x="11196" y="2586"/>
                  </a:lnTo>
                  <a:lnTo>
                    <a:pt x="11196" y="2577"/>
                  </a:lnTo>
                  <a:lnTo>
                    <a:pt x="11187" y="2568"/>
                  </a:lnTo>
                  <a:lnTo>
                    <a:pt x="11178" y="2568"/>
                  </a:lnTo>
                  <a:lnTo>
                    <a:pt x="11160" y="2568"/>
                  </a:lnTo>
                  <a:lnTo>
                    <a:pt x="11143" y="2577"/>
                  </a:lnTo>
                  <a:lnTo>
                    <a:pt x="11151" y="2604"/>
                  </a:lnTo>
                  <a:lnTo>
                    <a:pt x="11143" y="2612"/>
                  </a:lnTo>
                  <a:lnTo>
                    <a:pt x="11134" y="2612"/>
                  </a:lnTo>
                  <a:lnTo>
                    <a:pt x="11125" y="2621"/>
                  </a:lnTo>
                  <a:lnTo>
                    <a:pt x="11116" y="2621"/>
                  </a:lnTo>
                  <a:lnTo>
                    <a:pt x="11116" y="2612"/>
                  </a:lnTo>
                  <a:lnTo>
                    <a:pt x="11107" y="2612"/>
                  </a:lnTo>
                  <a:lnTo>
                    <a:pt x="11099" y="2612"/>
                  </a:lnTo>
                  <a:lnTo>
                    <a:pt x="11081" y="2621"/>
                  </a:lnTo>
                  <a:lnTo>
                    <a:pt x="11081" y="2630"/>
                  </a:lnTo>
                  <a:lnTo>
                    <a:pt x="11072" y="2630"/>
                  </a:lnTo>
                  <a:lnTo>
                    <a:pt x="11072" y="2639"/>
                  </a:lnTo>
                  <a:lnTo>
                    <a:pt x="11063" y="2639"/>
                  </a:lnTo>
                  <a:lnTo>
                    <a:pt x="11063" y="2630"/>
                  </a:lnTo>
                  <a:lnTo>
                    <a:pt x="11046" y="2621"/>
                  </a:lnTo>
                  <a:lnTo>
                    <a:pt x="11046" y="2612"/>
                  </a:lnTo>
                  <a:lnTo>
                    <a:pt x="11019" y="2612"/>
                  </a:lnTo>
                  <a:lnTo>
                    <a:pt x="11010" y="2612"/>
                  </a:lnTo>
                  <a:lnTo>
                    <a:pt x="11010" y="2621"/>
                  </a:lnTo>
                  <a:lnTo>
                    <a:pt x="11028" y="2648"/>
                  </a:lnTo>
                  <a:lnTo>
                    <a:pt x="11028" y="2657"/>
                  </a:lnTo>
                  <a:lnTo>
                    <a:pt x="11028" y="2665"/>
                  </a:lnTo>
                  <a:lnTo>
                    <a:pt x="11019" y="2665"/>
                  </a:lnTo>
                  <a:lnTo>
                    <a:pt x="11010" y="2648"/>
                  </a:lnTo>
                  <a:lnTo>
                    <a:pt x="11001" y="2639"/>
                  </a:lnTo>
                  <a:lnTo>
                    <a:pt x="10993" y="2621"/>
                  </a:lnTo>
                  <a:lnTo>
                    <a:pt x="10984" y="2621"/>
                  </a:lnTo>
                  <a:lnTo>
                    <a:pt x="10975" y="2612"/>
                  </a:lnTo>
                  <a:lnTo>
                    <a:pt x="10966" y="2612"/>
                  </a:lnTo>
                  <a:lnTo>
                    <a:pt x="10957" y="2612"/>
                  </a:lnTo>
                  <a:lnTo>
                    <a:pt x="10957" y="2621"/>
                  </a:lnTo>
                  <a:lnTo>
                    <a:pt x="10949" y="2621"/>
                  </a:lnTo>
                  <a:lnTo>
                    <a:pt x="10931" y="2621"/>
                  </a:lnTo>
                  <a:lnTo>
                    <a:pt x="10931" y="2630"/>
                  </a:lnTo>
                  <a:lnTo>
                    <a:pt x="10931" y="2639"/>
                  </a:lnTo>
                  <a:lnTo>
                    <a:pt x="10931" y="2657"/>
                  </a:lnTo>
                  <a:lnTo>
                    <a:pt x="10931" y="2665"/>
                  </a:lnTo>
                  <a:lnTo>
                    <a:pt x="10922" y="2665"/>
                  </a:lnTo>
                  <a:lnTo>
                    <a:pt x="10913" y="2657"/>
                  </a:lnTo>
                  <a:lnTo>
                    <a:pt x="10904" y="2648"/>
                  </a:lnTo>
                  <a:lnTo>
                    <a:pt x="10896" y="2639"/>
                  </a:lnTo>
                  <a:lnTo>
                    <a:pt x="10887" y="2630"/>
                  </a:lnTo>
                  <a:lnTo>
                    <a:pt x="10878" y="2621"/>
                  </a:lnTo>
                  <a:lnTo>
                    <a:pt x="10869" y="2621"/>
                  </a:lnTo>
                  <a:lnTo>
                    <a:pt x="10860" y="2630"/>
                  </a:lnTo>
                  <a:lnTo>
                    <a:pt x="10860" y="2639"/>
                  </a:lnTo>
                  <a:lnTo>
                    <a:pt x="10860" y="2657"/>
                  </a:lnTo>
                  <a:lnTo>
                    <a:pt x="10860" y="2665"/>
                  </a:lnTo>
                  <a:lnTo>
                    <a:pt x="10860" y="2683"/>
                  </a:lnTo>
                  <a:lnTo>
                    <a:pt x="10852" y="2683"/>
                  </a:lnTo>
                  <a:lnTo>
                    <a:pt x="10843" y="2674"/>
                  </a:lnTo>
                  <a:lnTo>
                    <a:pt x="10834" y="2674"/>
                  </a:lnTo>
                  <a:lnTo>
                    <a:pt x="10825" y="2674"/>
                  </a:lnTo>
                  <a:lnTo>
                    <a:pt x="10816" y="2683"/>
                  </a:lnTo>
                  <a:lnTo>
                    <a:pt x="10816" y="2701"/>
                  </a:lnTo>
                  <a:lnTo>
                    <a:pt x="10807" y="2701"/>
                  </a:lnTo>
                  <a:lnTo>
                    <a:pt x="10807" y="2709"/>
                  </a:lnTo>
                  <a:lnTo>
                    <a:pt x="10807" y="2718"/>
                  </a:lnTo>
                  <a:lnTo>
                    <a:pt x="10799" y="2718"/>
                  </a:lnTo>
                  <a:lnTo>
                    <a:pt x="10799" y="2701"/>
                  </a:lnTo>
                  <a:lnTo>
                    <a:pt x="10790" y="2701"/>
                  </a:lnTo>
                  <a:lnTo>
                    <a:pt x="10781" y="2701"/>
                  </a:lnTo>
                  <a:lnTo>
                    <a:pt x="10781" y="2692"/>
                  </a:lnTo>
                  <a:lnTo>
                    <a:pt x="10790" y="2692"/>
                  </a:lnTo>
                  <a:lnTo>
                    <a:pt x="10790" y="2683"/>
                  </a:lnTo>
                  <a:lnTo>
                    <a:pt x="10781" y="2683"/>
                  </a:lnTo>
                  <a:lnTo>
                    <a:pt x="10781" y="2674"/>
                  </a:lnTo>
                  <a:lnTo>
                    <a:pt x="10772" y="2674"/>
                  </a:lnTo>
                  <a:lnTo>
                    <a:pt x="10763" y="2665"/>
                  </a:lnTo>
                  <a:lnTo>
                    <a:pt x="10781" y="2674"/>
                  </a:lnTo>
                  <a:lnTo>
                    <a:pt x="10781" y="2665"/>
                  </a:lnTo>
                  <a:lnTo>
                    <a:pt x="10790" y="2665"/>
                  </a:lnTo>
                  <a:lnTo>
                    <a:pt x="10790" y="2648"/>
                  </a:lnTo>
                  <a:lnTo>
                    <a:pt x="10790" y="2639"/>
                  </a:lnTo>
                  <a:lnTo>
                    <a:pt x="10781" y="2639"/>
                  </a:lnTo>
                  <a:lnTo>
                    <a:pt x="10772" y="2639"/>
                  </a:lnTo>
                  <a:lnTo>
                    <a:pt x="10781" y="2639"/>
                  </a:lnTo>
                  <a:lnTo>
                    <a:pt x="10781" y="2630"/>
                  </a:lnTo>
                  <a:lnTo>
                    <a:pt x="10772" y="2621"/>
                  </a:lnTo>
                  <a:lnTo>
                    <a:pt x="10754" y="2612"/>
                  </a:lnTo>
                  <a:lnTo>
                    <a:pt x="10746" y="2604"/>
                  </a:lnTo>
                  <a:lnTo>
                    <a:pt x="10728" y="2595"/>
                  </a:lnTo>
                  <a:lnTo>
                    <a:pt x="10719" y="2586"/>
                  </a:lnTo>
                  <a:lnTo>
                    <a:pt x="10710" y="2577"/>
                  </a:lnTo>
                  <a:lnTo>
                    <a:pt x="10702" y="2577"/>
                  </a:lnTo>
                  <a:lnTo>
                    <a:pt x="10684" y="2577"/>
                  </a:lnTo>
                  <a:lnTo>
                    <a:pt x="10675" y="2577"/>
                  </a:lnTo>
                  <a:lnTo>
                    <a:pt x="10666" y="2586"/>
                  </a:lnTo>
                  <a:lnTo>
                    <a:pt x="10657" y="2586"/>
                  </a:lnTo>
                  <a:lnTo>
                    <a:pt x="10657" y="2595"/>
                  </a:lnTo>
                  <a:lnTo>
                    <a:pt x="10666" y="2595"/>
                  </a:lnTo>
                  <a:lnTo>
                    <a:pt x="10684" y="2595"/>
                  </a:lnTo>
                  <a:lnTo>
                    <a:pt x="10693" y="2595"/>
                  </a:lnTo>
                  <a:lnTo>
                    <a:pt x="10702" y="2595"/>
                  </a:lnTo>
                  <a:lnTo>
                    <a:pt x="10702" y="2604"/>
                  </a:lnTo>
                  <a:lnTo>
                    <a:pt x="10684" y="2604"/>
                  </a:lnTo>
                  <a:lnTo>
                    <a:pt x="10675" y="2604"/>
                  </a:lnTo>
                  <a:lnTo>
                    <a:pt x="10675" y="2612"/>
                  </a:lnTo>
                  <a:lnTo>
                    <a:pt x="10684" y="2612"/>
                  </a:lnTo>
                  <a:lnTo>
                    <a:pt x="10710" y="2621"/>
                  </a:lnTo>
                  <a:lnTo>
                    <a:pt x="10710" y="2630"/>
                  </a:lnTo>
                  <a:lnTo>
                    <a:pt x="10710" y="2639"/>
                  </a:lnTo>
                  <a:lnTo>
                    <a:pt x="10710" y="2648"/>
                  </a:lnTo>
                  <a:lnTo>
                    <a:pt x="10702" y="2648"/>
                  </a:lnTo>
                  <a:lnTo>
                    <a:pt x="10693" y="2648"/>
                  </a:lnTo>
                  <a:lnTo>
                    <a:pt x="10693" y="2639"/>
                  </a:lnTo>
                  <a:lnTo>
                    <a:pt x="10693" y="2630"/>
                  </a:lnTo>
                  <a:lnTo>
                    <a:pt x="10684" y="2630"/>
                  </a:lnTo>
                  <a:lnTo>
                    <a:pt x="10684" y="2639"/>
                  </a:lnTo>
                  <a:lnTo>
                    <a:pt x="10675" y="2639"/>
                  </a:lnTo>
                  <a:lnTo>
                    <a:pt x="10666" y="2639"/>
                  </a:lnTo>
                  <a:lnTo>
                    <a:pt x="10666" y="2630"/>
                  </a:lnTo>
                  <a:lnTo>
                    <a:pt x="10666" y="2621"/>
                  </a:lnTo>
                  <a:lnTo>
                    <a:pt x="10649" y="2612"/>
                  </a:lnTo>
                  <a:lnTo>
                    <a:pt x="10640" y="2612"/>
                  </a:lnTo>
                  <a:lnTo>
                    <a:pt x="10631" y="2612"/>
                  </a:lnTo>
                  <a:lnTo>
                    <a:pt x="10622" y="2621"/>
                  </a:lnTo>
                  <a:lnTo>
                    <a:pt x="10631" y="2630"/>
                  </a:lnTo>
                  <a:lnTo>
                    <a:pt x="10613" y="2621"/>
                  </a:lnTo>
                  <a:lnTo>
                    <a:pt x="10613" y="2630"/>
                  </a:lnTo>
                  <a:lnTo>
                    <a:pt x="10622" y="2639"/>
                  </a:lnTo>
                  <a:lnTo>
                    <a:pt x="10631" y="2648"/>
                  </a:lnTo>
                  <a:lnTo>
                    <a:pt x="10613" y="2648"/>
                  </a:lnTo>
                  <a:lnTo>
                    <a:pt x="10604" y="2648"/>
                  </a:lnTo>
                  <a:lnTo>
                    <a:pt x="10604" y="2657"/>
                  </a:lnTo>
                  <a:lnTo>
                    <a:pt x="10613" y="2657"/>
                  </a:lnTo>
                  <a:lnTo>
                    <a:pt x="10622" y="2665"/>
                  </a:lnTo>
                  <a:lnTo>
                    <a:pt x="10640" y="2665"/>
                  </a:lnTo>
                  <a:lnTo>
                    <a:pt x="10649" y="2665"/>
                  </a:lnTo>
                  <a:lnTo>
                    <a:pt x="10640" y="2665"/>
                  </a:lnTo>
                  <a:lnTo>
                    <a:pt x="10631" y="2674"/>
                  </a:lnTo>
                  <a:lnTo>
                    <a:pt x="10622" y="2674"/>
                  </a:lnTo>
                  <a:lnTo>
                    <a:pt x="10604" y="2665"/>
                  </a:lnTo>
                  <a:lnTo>
                    <a:pt x="10587" y="2657"/>
                  </a:lnTo>
                  <a:lnTo>
                    <a:pt x="10587" y="2665"/>
                  </a:lnTo>
                  <a:lnTo>
                    <a:pt x="10596" y="2674"/>
                  </a:lnTo>
                  <a:lnTo>
                    <a:pt x="10596" y="2683"/>
                  </a:lnTo>
                  <a:lnTo>
                    <a:pt x="10604" y="2692"/>
                  </a:lnTo>
                  <a:lnTo>
                    <a:pt x="10596" y="2692"/>
                  </a:lnTo>
                  <a:lnTo>
                    <a:pt x="10578" y="2683"/>
                  </a:lnTo>
                  <a:lnTo>
                    <a:pt x="10569" y="2683"/>
                  </a:lnTo>
                  <a:lnTo>
                    <a:pt x="10560" y="2692"/>
                  </a:lnTo>
                  <a:lnTo>
                    <a:pt x="10578" y="2692"/>
                  </a:lnTo>
                  <a:lnTo>
                    <a:pt x="10596" y="2701"/>
                  </a:lnTo>
                  <a:lnTo>
                    <a:pt x="10604" y="2709"/>
                  </a:lnTo>
                  <a:lnTo>
                    <a:pt x="10604" y="2701"/>
                  </a:lnTo>
                  <a:lnTo>
                    <a:pt x="10622" y="2701"/>
                  </a:lnTo>
                  <a:lnTo>
                    <a:pt x="10657" y="2692"/>
                  </a:lnTo>
                  <a:lnTo>
                    <a:pt x="10675" y="2683"/>
                  </a:lnTo>
                  <a:lnTo>
                    <a:pt x="10684" y="2692"/>
                  </a:lnTo>
                  <a:lnTo>
                    <a:pt x="10693" y="2683"/>
                  </a:lnTo>
                  <a:lnTo>
                    <a:pt x="10710" y="2692"/>
                  </a:lnTo>
                  <a:lnTo>
                    <a:pt x="10719" y="2701"/>
                  </a:lnTo>
                  <a:lnTo>
                    <a:pt x="10737" y="2692"/>
                  </a:lnTo>
                  <a:lnTo>
                    <a:pt x="10754" y="2701"/>
                  </a:lnTo>
                  <a:lnTo>
                    <a:pt x="10746" y="2709"/>
                  </a:lnTo>
                  <a:lnTo>
                    <a:pt x="10728" y="2709"/>
                  </a:lnTo>
                  <a:lnTo>
                    <a:pt x="10719" y="2718"/>
                  </a:lnTo>
                  <a:lnTo>
                    <a:pt x="10702" y="2727"/>
                  </a:lnTo>
                  <a:lnTo>
                    <a:pt x="10710" y="2736"/>
                  </a:lnTo>
                  <a:lnTo>
                    <a:pt x="10737" y="2736"/>
                  </a:lnTo>
                  <a:lnTo>
                    <a:pt x="10754" y="2736"/>
                  </a:lnTo>
                  <a:lnTo>
                    <a:pt x="10754" y="2745"/>
                  </a:lnTo>
                  <a:lnTo>
                    <a:pt x="10746" y="2745"/>
                  </a:lnTo>
                  <a:lnTo>
                    <a:pt x="10719" y="2754"/>
                  </a:lnTo>
                  <a:lnTo>
                    <a:pt x="10702" y="2754"/>
                  </a:lnTo>
                  <a:lnTo>
                    <a:pt x="10693" y="2754"/>
                  </a:lnTo>
                  <a:lnTo>
                    <a:pt x="10684" y="2745"/>
                  </a:lnTo>
                  <a:lnTo>
                    <a:pt x="10684" y="2754"/>
                  </a:lnTo>
                  <a:lnTo>
                    <a:pt x="10675" y="2754"/>
                  </a:lnTo>
                  <a:lnTo>
                    <a:pt x="10657" y="2762"/>
                  </a:lnTo>
                  <a:lnTo>
                    <a:pt x="10657" y="2754"/>
                  </a:lnTo>
                  <a:lnTo>
                    <a:pt x="10649" y="2754"/>
                  </a:lnTo>
                  <a:lnTo>
                    <a:pt x="10640" y="2762"/>
                  </a:lnTo>
                  <a:lnTo>
                    <a:pt x="10631" y="2762"/>
                  </a:lnTo>
                  <a:lnTo>
                    <a:pt x="10613" y="2762"/>
                  </a:lnTo>
                  <a:lnTo>
                    <a:pt x="10604" y="2762"/>
                  </a:lnTo>
                  <a:lnTo>
                    <a:pt x="10596" y="2762"/>
                  </a:lnTo>
                  <a:lnTo>
                    <a:pt x="10596" y="2771"/>
                  </a:lnTo>
                  <a:lnTo>
                    <a:pt x="10596" y="2780"/>
                  </a:lnTo>
                  <a:lnTo>
                    <a:pt x="10604" y="2780"/>
                  </a:lnTo>
                  <a:lnTo>
                    <a:pt x="10604" y="2789"/>
                  </a:lnTo>
                  <a:lnTo>
                    <a:pt x="10613" y="2780"/>
                  </a:lnTo>
                  <a:lnTo>
                    <a:pt x="10631" y="2780"/>
                  </a:lnTo>
                  <a:lnTo>
                    <a:pt x="10640" y="2771"/>
                  </a:lnTo>
                  <a:lnTo>
                    <a:pt x="10684" y="2780"/>
                  </a:lnTo>
                  <a:lnTo>
                    <a:pt x="10710" y="2780"/>
                  </a:lnTo>
                  <a:lnTo>
                    <a:pt x="10719" y="2789"/>
                  </a:lnTo>
                  <a:lnTo>
                    <a:pt x="10719" y="2798"/>
                  </a:lnTo>
                  <a:lnTo>
                    <a:pt x="10719" y="2807"/>
                  </a:lnTo>
                  <a:lnTo>
                    <a:pt x="10728" y="2807"/>
                  </a:lnTo>
                  <a:lnTo>
                    <a:pt x="10737" y="2807"/>
                  </a:lnTo>
                  <a:lnTo>
                    <a:pt x="10746" y="2807"/>
                  </a:lnTo>
                  <a:lnTo>
                    <a:pt x="10763" y="2798"/>
                  </a:lnTo>
                  <a:lnTo>
                    <a:pt x="10772" y="2798"/>
                  </a:lnTo>
                  <a:lnTo>
                    <a:pt x="10763" y="2807"/>
                  </a:lnTo>
                  <a:lnTo>
                    <a:pt x="10746" y="2815"/>
                  </a:lnTo>
                  <a:lnTo>
                    <a:pt x="10737" y="2824"/>
                  </a:lnTo>
                  <a:lnTo>
                    <a:pt x="10746" y="2824"/>
                  </a:lnTo>
                  <a:lnTo>
                    <a:pt x="10737" y="2833"/>
                  </a:lnTo>
                  <a:lnTo>
                    <a:pt x="10746" y="2833"/>
                  </a:lnTo>
                  <a:lnTo>
                    <a:pt x="10763" y="2824"/>
                  </a:lnTo>
                  <a:lnTo>
                    <a:pt x="10772" y="2824"/>
                  </a:lnTo>
                  <a:lnTo>
                    <a:pt x="10781" y="2824"/>
                  </a:lnTo>
                  <a:lnTo>
                    <a:pt x="10772" y="2833"/>
                  </a:lnTo>
                  <a:lnTo>
                    <a:pt x="10763" y="2833"/>
                  </a:lnTo>
                  <a:lnTo>
                    <a:pt x="10754" y="2842"/>
                  </a:lnTo>
                  <a:lnTo>
                    <a:pt x="10754" y="2851"/>
                  </a:lnTo>
                  <a:lnTo>
                    <a:pt x="10746" y="2860"/>
                  </a:lnTo>
                  <a:lnTo>
                    <a:pt x="10737" y="2860"/>
                  </a:lnTo>
                  <a:lnTo>
                    <a:pt x="10737" y="2868"/>
                  </a:lnTo>
                  <a:lnTo>
                    <a:pt x="10728" y="2868"/>
                  </a:lnTo>
                  <a:lnTo>
                    <a:pt x="10702" y="2877"/>
                  </a:lnTo>
                  <a:lnTo>
                    <a:pt x="10702" y="2868"/>
                  </a:lnTo>
                  <a:lnTo>
                    <a:pt x="10693" y="2868"/>
                  </a:lnTo>
                  <a:lnTo>
                    <a:pt x="10693" y="2860"/>
                  </a:lnTo>
                  <a:lnTo>
                    <a:pt x="10684" y="2868"/>
                  </a:lnTo>
                  <a:lnTo>
                    <a:pt x="10684" y="2877"/>
                  </a:lnTo>
                  <a:lnTo>
                    <a:pt x="10693" y="2886"/>
                  </a:lnTo>
                  <a:lnTo>
                    <a:pt x="10693" y="2895"/>
                  </a:lnTo>
                  <a:lnTo>
                    <a:pt x="10710" y="2895"/>
                  </a:lnTo>
                  <a:lnTo>
                    <a:pt x="10781" y="2886"/>
                  </a:lnTo>
                  <a:lnTo>
                    <a:pt x="10790" y="2886"/>
                  </a:lnTo>
                  <a:lnTo>
                    <a:pt x="10799" y="2877"/>
                  </a:lnTo>
                  <a:lnTo>
                    <a:pt x="10807" y="2877"/>
                  </a:lnTo>
                  <a:lnTo>
                    <a:pt x="10799" y="2886"/>
                  </a:lnTo>
                  <a:lnTo>
                    <a:pt x="10807" y="2886"/>
                  </a:lnTo>
                  <a:lnTo>
                    <a:pt x="10816" y="2895"/>
                  </a:lnTo>
                  <a:lnTo>
                    <a:pt x="10825" y="2895"/>
                  </a:lnTo>
                  <a:lnTo>
                    <a:pt x="10834" y="2895"/>
                  </a:lnTo>
                  <a:lnTo>
                    <a:pt x="10834" y="2904"/>
                  </a:lnTo>
                  <a:lnTo>
                    <a:pt x="10843" y="2904"/>
                  </a:lnTo>
                  <a:lnTo>
                    <a:pt x="10852" y="2895"/>
                  </a:lnTo>
                  <a:lnTo>
                    <a:pt x="10860" y="2895"/>
                  </a:lnTo>
                  <a:lnTo>
                    <a:pt x="10860" y="2904"/>
                  </a:lnTo>
                  <a:lnTo>
                    <a:pt x="10852" y="2904"/>
                  </a:lnTo>
                  <a:lnTo>
                    <a:pt x="10852" y="2912"/>
                  </a:lnTo>
                  <a:lnTo>
                    <a:pt x="10860" y="2912"/>
                  </a:lnTo>
                  <a:lnTo>
                    <a:pt x="10869" y="2921"/>
                  </a:lnTo>
                  <a:lnTo>
                    <a:pt x="10887" y="2921"/>
                  </a:lnTo>
                  <a:lnTo>
                    <a:pt x="10904" y="2930"/>
                  </a:lnTo>
                  <a:lnTo>
                    <a:pt x="10922" y="2930"/>
                  </a:lnTo>
                  <a:lnTo>
                    <a:pt x="10940" y="2939"/>
                  </a:lnTo>
                  <a:lnTo>
                    <a:pt x="10984" y="2939"/>
                  </a:lnTo>
                  <a:lnTo>
                    <a:pt x="11010" y="2939"/>
                  </a:lnTo>
                  <a:lnTo>
                    <a:pt x="11019" y="2939"/>
                  </a:lnTo>
                  <a:lnTo>
                    <a:pt x="11019" y="2930"/>
                  </a:lnTo>
                  <a:lnTo>
                    <a:pt x="11028" y="2930"/>
                  </a:lnTo>
                  <a:lnTo>
                    <a:pt x="11037" y="2930"/>
                  </a:lnTo>
                  <a:lnTo>
                    <a:pt x="11046" y="2921"/>
                  </a:lnTo>
                  <a:lnTo>
                    <a:pt x="11037" y="2921"/>
                  </a:lnTo>
                  <a:lnTo>
                    <a:pt x="11037" y="2912"/>
                  </a:lnTo>
                  <a:lnTo>
                    <a:pt x="11046" y="2912"/>
                  </a:lnTo>
                  <a:lnTo>
                    <a:pt x="11046" y="2904"/>
                  </a:lnTo>
                  <a:lnTo>
                    <a:pt x="11063" y="2904"/>
                  </a:lnTo>
                  <a:lnTo>
                    <a:pt x="11099" y="2895"/>
                  </a:lnTo>
                  <a:close/>
                  <a:moveTo>
                    <a:pt x="6590" y="6680"/>
                  </a:moveTo>
                  <a:lnTo>
                    <a:pt x="6581" y="6671"/>
                  </a:lnTo>
                  <a:lnTo>
                    <a:pt x="6573" y="6680"/>
                  </a:lnTo>
                  <a:lnTo>
                    <a:pt x="6581" y="6680"/>
                  </a:lnTo>
                  <a:lnTo>
                    <a:pt x="6590" y="6680"/>
                  </a:lnTo>
                  <a:lnTo>
                    <a:pt x="6599" y="6680"/>
                  </a:lnTo>
                  <a:lnTo>
                    <a:pt x="6590" y="6671"/>
                  </a:lnTo>
                  <a:close/>
                  <a:moveTo>
                    <a:pt x="6096" y="2657"/>
                  </a:moveTo>
                  <a:lnTo>
                    <a:pt x="6105" y="2665"/>
                  </a:lnTo>
                  <a:lnTo>
                    <a:pt x="6114" y="2674"/>
                  </a:lnTo>
                  <a:lnTo>
                    <a:pt x="6123" y="2674"/>
                  </a:lnTo>
                  <a:lnTo>
                    <a:pt x="6123" y="2683"/>
                  </a:lnTo>
                  <a:lnTo>
                    <a:pt x="6132" y="2683"/>
                  </a:lnTo>
                  <a:lnTo>
                    <a:pt x="6140" y="2683"/>
                  </a:lnTo>
                  <a:lnTo>
                    <a:pt x="6140" y="2674"/>
                  </a:lnTo>
                  <a:lnTo>
                    <a:pt x="6132" y="2657"/>
                  </a:lnTo>
                  <a:lnTo>
                    <a:pt x="6132" y="2648"/>
                  </a:lnTo>
                  <a:lnTo>
                    <a:pt x="6123" y="2639"/>
                  </a:lnTo>
                  <a:lnTo>
                    <a:pt x="6114" y="2639"/>
                  </a:lnTo>
                  <a:lnTo>
                    <a:pt x="6114" y="2630"/>
                  </a:lnTo>
                  <a:lnTo>
                    <a:pt x="6105" y="2630"/>
                  </a:lnTo>
                  <a:lnTo>
                    <a:pt x="6096" y="2630"/>
                  </a:lnTo>
                  <a:lnTo>
                    <a:pt x="6096" y="2639"/>
                  </a:lnTo>
                  <a:lnTo>
                    <a:pt x="6096" y="2648"/>
                  </a:lnTo>
                  <a:close/>
                  <a:moveTo>
                    <a:pt x="5708" y="2206"/>
                  </a:moveTo>
                  <a:lnTo>
                    <a:pt x="5708" y="2215"/>
                  </a:lnTo>
                  <a:lnTo>
                    <a:pt x="5717" y="2224"/>
                  </a:lnTo>
                  <a:lnTo>
                    <a:pt x="5726" y="2224"/>
                  </a:lnTo>
                  <a:lnTo>
                    <a:pt x="5726" y="2215"/>
                  </a:lnTo>
                  <a:lnTo>
                    <a:pt x="5726" y="2206"/>
                  </a:lnTo>
                  <a:lnTo>
                    <a:pt x="5726" y="2198"/>
                  </a:lnTo>
                  <a:lnTo>
                    <a:pt x="5726" y="2206"/>
                  </a:lnTo>
                  <a:lnTo>
                    <a:pt x="5717" y="2206"/>
                  </a:lnTo>
                  <a:close/>
                  <a:moveTo>
                    <a:pt x="5699" y="2215"/>
                  </a:moveTo>
                  <a:lnTo>
                    <a:pt x="5699" y="2206"/>
                  </a:lnTo>
                  <a:lnTo>
                    <a:pt x="5690" y="2206"/>
                  </a:lnTo>
                  <a:lnTo>
                    <a:pt x="5690" y="2215"/>
                  </a:lnTo>
                  <a:lnTo>
                    <a:pt x="5682" y="2215"/>
                  </a:lnTo>
                  <a:lnTo>
                    <a:pt x="5682" y="2224"/>
                  </a:lnTo>
                  <a:lnTo>
                    <a:pt x="5690" y="2224"/>
                  </a:lnTo>
                  <a:lnTo>
                    <a:pt x="5699" y="2224"/>
                  </a:lnTo>
                  <a:lnTo>
                    <a:pt x="5699" y="2233"/>
                  </a:lnTo>
                  <a:lnTo>
                    <a:pt x="5708" y="2233"/>
                  </a:lnTo>
                  <a:lnTo>
                    <a:pt x="5708" y="2224"/>
                  </a:lnTo>
                  <a:close/>
                  <a:moveTo>
                    <a:pt x="5046" y="2268"/>
                  </a:moveTo>
                  <a:lnTo>
                    <a:pt x="5055" y="2277"/>
                  </a:lnTo>
                  <a:lnTo>
                    <a:pt x="5064" y="2277"/>
                  </a:lnTo>
                  <a:lnTo>
                    <a:pt x="5073" y="2277"/>
                  </a:lnTo>
                  <a:lnTo>
                    <a:pt x="5073" y="2268"/>
                  </a:lnTo>
                  <a:lnTo>
                    <a:pt x="5082" y="2268"/>
                  </a:lnTo>
                  <a:lnTo>
                    <a:pt x="5091" y="2268"/>
                  </a:lnTo>
                  <a:lnTo>
                    <a:pt x="5091" y="2277"/>
                  </a:lnTo>
                  <a:lnTo>
                    <a:pt x="5099" y="2277"/>
                  </a:lnTo>
                  <a:lnTo>
                    <a:pt x="5099" y="2286"/>
                  </a:lnTo>
                  <a:lnTo>
                    <a:pt x="5117" y="2286"/>
                  </a:lnTo>
                  <a:lnTo>
                    <a:pt x="5126" y="2277"/>
                  </a:lnTo>
                  <a:lnTo>
                    <a:pt x="5135" y="2277"/>
                  </a:lnTo>
                  <a:lnTo>
                    <a:pt x="5135" y="2286"/>
                  </a:lnTo>
                  <a:lnTo>
                    <a:pt x="5135" y="2295"/>
                  </a:lnTo>
                  <a:lnTo>
                    <a:pt x="5161" y="2303"/>
                  </a:lnTo>
                  <a:lnTo>
                    <a:pt x="5179" y="2303"/>
                  </a:lnTo>
                  <a:lnTo>
                    <a:pt x="5196" y="2312"/>
                  </a:lnTo>
                  <a:lnTo>
                    <a:pt x="5205" y="2321"/>
                  </a:lnTo>
                  <a:lnTo>
                    <a:pt x="5223" y="2321"/>
                  </a:lnTo>
                  <a:lnTo>
                    <a:pt x="5258" y="2330"/>
                  </a:lnTo>
                  <a:lnTo>
                    <a:pt x="5267" y="2330"/>
                  </a:lnTo>
                  <a:lnTo>
                    <a:pt x="5285" y="2321"/>
                  </a:lnTo>
                  <a:lnTo>
                    <a:pt x="5302" y="2312"/>
                  </a:lnTo>
                  <a:lnTo>
                    <a:pt x="5311" y="2303"/>
                  </a:lnTo>
                  <a:lnTo>
                    <a:pt x="5311" y="2295"/>
                  </a:lnTo>
                  <a:lnTo>
                    <a:pt x="5320" y="2295"/>
                  </a:lnTo>
                  <a:lnTo>
                    <a:pt x="5329" y="2295"/>
                  </a:lnTo>
                  <a:lnTo>
                    <a:pt x="5338" y="2286"/>
                  </a:lnTo>
                  <a:lnTo>
                    <a:pt x="5346" y="2286"/>
                  </a:lnTo>
                  <a:lnTo>
                    <a:pt x="5355" y="2286"/>
                  </a:lnTo>
                  <a:lnTo>
                    <a:pt x="5355" y="2277"/>
                  </a:lnTo>
                  <a:lnTo>
                    <a:pt x="5346" y="2268"/>
                  </a:lnTo>
                  <a:lnTo>
                    <a:pt x="5346" y="2277"/>
                  </a:lnTo>
                  <a:lnTo>
                    <a:pt x="5329" y="2277"/>
                  </a:lnTo>
                  <a:lnTo>
                    <a:pt x="5320" y="2268"/>
                  </a:lnTo>
                  <a:lnTo>
                    <a:pt x="5311" y="2259"/>
                  </a:lnTo>
                  <a:lnTo>
                    <a:pt x="5302" y="2251"/>
                  </a:lnTo>
                  <a:lnTo>
                    <a:pt x="5293" y="2242"/>
                  </a:lnTo>
                  <a:lnTo>
                    <a:pt x="5285" y="2224"/>
                  </a:lnTo>
                  <a:lnTo>
                    <a:pt x="5276" y="2215"/>
                  </a:lnTo>
                  <a:lnTo>
                    <a:pt x="5249" y="2198"/>
                  </a:lnTo>
                  <a:lnTo>
                    <a:pt x="5240" y="2189"/>
                  </a:lnTo>
                  <a:lnTo>
                    <a:pt x="5232" y="2189"/>
                  </a:lnTo>
                  <a:lnTo>
                    <a:pt x="5223" y="2180"/>
                  </a:lnTo>
                  <a:lnTo>
                    <a:pt x="5214" y="2171"/>
                  </a:lnTo>
                  <a:lnTo>
                    <a:pt x="5205" y="2171"/>
                  </a:lnTo>
                  <a:lnTo>
                    <a:pt x="5196" y="2180"/>
                  </a:lnTo>
                  <a:lnTo>
                    <a:pt x="5196" y="2171"/>
                  </a:lnTo>
                  <a:lnTo>
                    <a:pt x="5196" y="2162"/>
                  </a:lnTo>
                  <a:lnTo>
                    <a:pt x="5179" y="2153"/>
                  </a:lnTo>
                  <a:lnTo>
                    <a:pt x="5179" y="2145"/>
                  </a:lnTo>
                  <a:lnTo>
                    <a:pt x="5170" y="2145"/>
                  </a:lnTo>
                  <a:lnTo>
                    <a:pt x="5161" y="2145"/>
                  </a:lnTo>
                  <a:lnTo>
                    <a:pt x="5152" y="2153"/>
                  </a:lnTo>
                  <a:lnTo>
                    <a:pt x="5143" y="2153"/>
                  </a:lnTo>
                  <a:lnTo>
                    <a:pt x="5135" y="2153"/>
                  </a:lnTo>
                  <a:lnTo>
                    <a:pt x="5135" y="2162"/>
                  </a:lnTo>
                  <a:lnTo>
                    <a:pt x="5135" y="2171"/>
                  </a:lnTo>
                  <a:lnTo>
                    <a:pt x="5135" y="2180"/>
                  </a:lnTo>
                  <a:lnTo>
                    <a:pt x="5143" y="2189"/>
                  </a:lnTo>
                  <a:lnTo>
                    <a:pt x="5152" y="2198"/>
                  </a:lnTo>
                  <a:lnTo>
                    <a:pt x="5143" y="2198"/>
                  </a:lnTo>
                  <a:lnTo>
                    <a:pt x="5135" y="2198"/>
                  </a:lnTo>
                  <a:lnTo>
                    <a:pt x="5126" y="2180"/>
                  </a:lnTo>
                  <a:lnTo>
                    <a:pt x="5117" y="2180"/>
                  </a:lnTo>
                  <a:lnTo>
                    <a:pt x="5117" y="2189"/>
                  </a:lnTo>
                  <a:lnTo>
                    <a:pt x="5117" y="2198"/>
                  </a:lnTo>
                  <a:lnTo>
                    <a:pt x="5117" y="2206"/>
                  </a:lnTo>
                  <a:lnTo>
                    <a:pt x="5117" y="2215"/>
                  </a:lnTo>
                  <a:lnTo>
                    <a:pt x="5099" y="2233"/>
                  </a:lnTo>
                  <a:lnTo>
                    <a:pt x="5091" y="2233"/>
                  </a:lnTo>
                  <a:lnTo>
                    <a:pt x="5073" y="2242"/>
                  </a:lnTo>
                  <a:lnTo>
                    <a:pt x="5046" y="2242"/>
                  </a:lnTo>
                  <a:lnTo>
                    <a:pt x="5038" y="2251"/>
                  </a:lnTo>
                  <a:lnTo>
                    <a:pt x="5046" y="2259"/>
                  </a:lnTo>
                  <a:close/>
                  <a:moveTo>
                    <a:pt x="6873" y="2409"/>
                  </a:moveTo>
                  <a:lnTo>
                    <a:pt x="6881" y="2409"/>
                  </a:lnTo>
                  <a:lnTo>
                    <a:pt x="6890" y="2409"/>
                  </a:lnTo>
                  <a:lnTo>
                    <a:pt x="6908" y="2409"/>
                  </a:lnTo>
                  <a:lnTo>
                    <a:pt x="6943" y="2409"/>
                  </a:lnTo>
                  <a:lnTo>
                    <a:pt x="6961" y="2409"/>
                  </a:lnTo>
                  <a:lnTo>
                    <a:pt x="6961" y="2401"/>
                  </a:lnTo>
                  <a:lnTo>
                    <a:pt x="6961" y="2392"/>
                  </a:lnTo>
                  <a:lnTo>
                    <a:pt x="6961" y="2383"/>
                  </a:lnTo>
                  <a:lnTo>
                    <a:pt x="6952" y="2383"/>
                  </a:lnTo>
                  <a:lnTo>
                    <a:pt x="6926" y="2383"/>
                  </a:lnTo>
                  <a:lnTo>
                    <a:pt x="6908" y="2374"/>
                  </a:lnTo>
                  <a:lnTo>
                    <a:pt x="6890" y="2374"/>
                  </a:lnTo>
                  <a:lnTo>
                    <a:pt x="6864" y="2374"/>
                  </a:lnTo>
                  <a:lnTo>
                    <a:pt x="6864" y="2383"/>
                  </a:lnTo>
                  <a:lnTo>
                    <a:pt x="6864" y="2392"/>
                  </a:lnTo>
                  <a:lnTo>
                    <a:pt x="6864" y="2401"/>
                  </a:lnTo>
                  <a:close/>
                  <a:moveTo>
                    <a:pt x="6855" y="2321"/>
                  </a:moveTo>
                  <a:lnTo>
                    <a:pt x="6855" y="2312"/>
                  </a:lnTo>
                  <a:lnTo>
                    <a:pt x="6846" y="2303"/>
                  </a:lnTo>
                  <a:lnTo>
                    <a:pt x="6837" y="2295"/>
                  </a:lnTo>
                  <a:lnTo>
                    <a:pt x="6829" y="2295"/>
                  </a:lnTo>
                  <a:lnTo>
                    <a:pt x="6820" y="2295"/>
                  </a:lnTo>
                  <a:lnTo>
                    <a:pt x="6820" y="2303"/>
                  </a:lnTo>
                  <a:lnTo>
                    <a:pt x="6820" y="2312"/>
                  </a:lnTo>
                  <a:lnTo>
                    <a:pt x="6811" y="2312"/>
                  </a:lnTo>
                  <a:lnTo>
                    <a:pt x="6811" y="2321"/>
                  </a:lnTo>
                  <a:lnTo>
                    <a:pt x="6820" y="2321"/>
                  </a:lnTo>
                  <a:lnTo>
                    <a:pt x="6837" y="2330"/>
                  </a:lnTo>
                  <a:lnTo>
                    <a:pt x="6846" y="2339"/>
                  </a:lnTo>
                  <a:lnTo>
                    <a:pt x="6855" y="2339"/>
                  </a:lnTo>
                  <a:lnTo>
                    <a:pt x="6855" y="2330"/>
                  </a:lnTo>
                  <a:lnTo>
                    <a:pt x="6864" y="2330"/>
                  </a:lnTo>
                  <a:close/>
                  <a:moveTo>
                    <a:pt x="6714" y="2206"/>
                  </a:moveTo>
                  <a:lnTo>
                    <a:pt x="6696" y="2206"/>
                  </a:lnTo>
                  <a:lnTo>
                    <a:pt x="6687" y="2198"/>
                  </a:lnTo>
                  <a:lnTo>
                    <a:pt x="6679" y="2206"/>
                  </a:lnTo>
                  <a:lnTo>
                    <a:pt x="6670" y="2206"/>
                  </a:lnTo>
                  <a:lnTo>
                    <a:pt x="6670" y="2215"/>
                  </a:lnTo>
                  <a:lnTo>
                    <a:pt x="6670" y="2224"/>
                  </a:lnTo>
                  <a:lnTo>
                    <a:pt x="6670" y="2233"/>
                  </a:lnTo>
                  <a:lnTo>
                    <a:pt x="6679" y="2233"/>
                  </a:lnTo>
                  <a:lnTo>
                    <a:pt x="6679" y="2242"/>
                  </a:lnTo>
                  <a:lnTo>
                    <a:pt x="6687" y="2242"/>
                  </a:lnTo>
                  <a:lnTo>
                    <a:pt x="6696" y="2242"/>
                  </a:lnTo>
                  <a:lnTo>
                    <a:pt x="6705" y="2233"/>
                  </a:lnTo>
                  <a:lnTo>
                    <a:pt x="6714" y="2224"/>
                  </a:lnTo>
                  <a:lnTo>
                    <a:pt x="6723" y="2215"/>
                  </a:lnTo>
                  <a:lnTo>
                    <a:pt x="6723" y="2206"/>
                  </a:lnTo>
                  <a:close/>
                  <a:moveTo>
                    <a:pt x="6784" y="2339"/>
                  </a:moveTo>
                  <a:lnTo>
                    <a:pt x="6776" y="2348"/>
                  </a:lnTo>
                  <a:lnTo>
                    <a:pt x="6767" y="2348"/>
                  </a:lnTo>
                  <a:lnTo>
                    <a:pt x="6758" y="2348"/>
                  </a:lnTo>
                  <a:lnTo>
                    <a:pt x="6740" y="2348"/>
                  </a:lnTo>
                  <a:lnTo>
                    <a:pt x="6731" y="2348"/>
                  </a:lnTo>
                  <a:lnTo>
                    <a:pt x="6723" y="2356"/>
                  </a:lnTo>
                  <a:lnTo>
                    <a:pt x="6714" y="2356"/>
                  </a:lnTo>
                  <a:lnTo>
                    <a:pt x="6705" y="2374"/>
                  </a:lnTo>
                  <a:lnTo>
                    <a:pt x="6687" y="2392"/>
                  </a:lnTo>
                  <a:lnTo>
                    <a:pt x="6679" y="2401"/>
                  </a:lnTo>
                  <a:lnTo>
                    <a:pt x="6679" y="2427"/>
                  </a:lnTo>
                  <a:lnTo>
                    <a:pt x="6679" y="2445"/>
                  </a:lnTo>
                  <a:lnTo>
                    <a:pt x="6687" y="2462"/>
                  </a:lnTo>
                  <a:lnTo>
                    <a:pt x="6696" y="2471"/>
                  </a:lnTo>
                  <a:lnTo>
                    <a:pt x="6696" y="2480"/>
                  </a:lnTo>
                  <a:lnTo>
                    <a:pt x="6705" y="2480"/>
                  </a:lnTo>
                  <a:lnTo>
                    <a:pt x="6723" y="2480"/>
                  </a:lnTo>
                  <a:lnTo>
                    <a:pt x="6749" y="2480"/>
                  </a:lnTo>
                  <a:lnTo>
                    <a:pt x="6767" y="2480"/>
                  </a:lnTo>
                  <a:lnTo>
                    <a:pt x="6784" y="2480"/>
                  </a:lnTo>
                  <a:lnTo>
                    <a:pt x="6811" y="2462"/>
                  </a:lnTo>
                  <a:lnTo>
                    <a:pt x="6820" y="2462"/>
                  </a:lnTo>
                  <a:lnTo>
                    <a:pt x="6829" y="2454"/>
                  </a:lnTo>
                  <a:lnTo>
                    <a:pt x="6837" y="2445"/>
                  </a:lnTo>
                  <a:lnTo>
                    <a:pt x="6837" y="2436"/>
                  </a:lnTo>
                  <a:lnTo>
                    <a:pt x="6837" y="2418"/>
                  </a:lnTo>
                  <a:lnTo>
                    <a:pt x="6837" y="2392"/>
                  </a:lnTo>
                  <a:lnTo>
                    <a:pt x="6837" y="2383"/>
                  </a:lnTo>
                  <a:lnTo>
                    <a:pt x="6837" y="2374"/>
                  </a:lnTo>
                  <a:lnTo>
                    <a:pt x="6837" y="2365"/>
                  </a:lnTo>
                  <a:lnTo>
                    <a:pt x="6837" y="2356"/>
                  </a:lnTo>
                  <a:lnTo>
                    <a:pt x="6793" y="2348"/>
                  </a:lnTo>
                  <a:close/>
                  <a:moveTo>
                    <a:pt x="4993" y="2259"/>
                  </a:moveTo>
                  <a:lnTo>
                    <a:pt x="5002" y="2259"/>
                  </a:lnTo>
                  <a:lnTo>
                    <a:pt x="5011" y="2259"/>
                  </a:lnTo>
                  <a:lnTo>
                    <a:pt x="5002" y="2251"/>
                  </a:lnTo>
                  <a:lnTo>
                    <a:pt x="5002" y="2242"/>
                  </a:lnTo>
                  <a:lnTo>
                    <a:pt x="4993" y="2242"/>
                  </a:lnTo>
                  <a:lnTo>
                    <a:pt x="4993" y="2251"/>
                  </a:lnTo>
                  <a:lnTo>
                    <a:pt x="4985" y="2251"/>
                  </a:lnTo>
                  <a:close/>
                  <a:moveTo>
                    <a:pt x="5320" y="2206"/>
                  </a:moveTo>
                  <a:lnTo>
                    <a:pt x="5320" y="2215"/>
                  </a:lnTo>
                  <a:lnTo>
                    <a:pt x="5329" y="2215"/>
                  </a:lnTo>
                  <a:lnTo>
                    <a:pt x="5338" y="2215"/>
                  </a:lnTo>
                  <a:lnTo>
                    <a:pt x="5346" y="2206"/>
                  </a:lnTo>
                  <a:lnTo>
                    <a:pt x="5346" y="2198"/>
                  </a:lnTo>
                  <a:lnTo>
                    <a:pt x="5346" y="2189"/>
                  </a:lnTo>
                  <a:lnTo>
                    <a:pt x="5338" y="2180"/>
                  </a:lnTo>
                  <a:lnTo>
                    <a:pt x="5329" y="2180"/>
                  </a:lnTo>
                  <a:lnTo>
                    <a:pt x="5320" y="2180"/>
                  </a:lnTo>
                  <a:lnTo>
                    <a:pt x="5311" y="2180"/>
                  </a:lnTo>
                  <a:lnTo>
                    <a:pt x="5302" y="2180"/>
                  </a:lnTo>
                  <a:lnTo>
                    <a:pt x="5302" y="2189"/>
                  </a:lnTo>
                  <a:lnTo>
                    <a:pt x="5302" y="2198"/>
                  </a:lnTo>
                  <a:lnTo>
                    <a:pt x="5302" y="2206"/>
                  </a:lnTo>
                  <a:lnTo>
                    <a:pt x="5311" y="2215"/>
                  </a:lnTo>
                  <a:lnTo>
                    <a:pt x="5311" y="2206"/>
                  </a:lnTo>
                  <a:lnTo>
                    <a:pt x="5311" y="2198"/>
                  </a:lnTo>
                  <a:lnTo>
                    <a:pt x="5320" y="2189"/>
                  </a:lnTo>
                  <a:lnTo>
                    <a:pt x="5311" y="2189"/>
                  </a:lnTo>
                  <a:lnTo>
                    <a:pt x="5320" y="2189"/>
                  </a:lnTo>
                  <a:lnTo>
                    <a:pt x="5329" y="2198"/>
                  </a:lnTo>
                  <a:lnTo>
                    <a:pt x="5329" y="2206"/>
                  </a:lnTo>
                  <a:close/>
                  <a:moveTo>
                    <a:pt x="4870" y="2286"/>
                  </a:moveTo>
                  <a:lnTo>
                    <a:pt x="4861" y="2277"/>
                  </a:lnTo>
                  <a:lnTo>
                    <a:pt x="4852" y="2286"/>
                  </a:lnTo>
                  <a:lnTo>
                    <a:pt x="4852" y="2295"/>
                  </a:lnTo>
                  <a:lnTo>
                    <a:pt x="4843" y="2295"/>
                  </a:lnTo>
                  <a:lnTo>
                    <a:pt x="4835" y="2295"/>
                  </a:lnTo>
                  <a:lnTo>
                    <a:pt x="4843" y="2303"/>
                  </a:lnTo>
                  <a:lnTo>
                    <a:pt x="4861" y="2312"/>
                  </a:lnTo>
                  <a:lnTo>
                    <a:pt x="4870" y="2312"/>
                  </a:lnTo>
                  <a:lnTo>
                    <a:pt x="4879" y="2303"/>
                  </a:lnTo>
                  <a:lnTo>
                    <a:pt x="4879" y="2295"/>
                  </a:lnTo>
                  <a:lnTo>
                    <a:pt x="4879" y="2286"/>
                  </a:lnTo>
                  <a:close/>
                  <a:moveTo>
                    <a:pt x="4314" y="2374"/>
                  </a:moveTo>
                  <a:lnTo>
                    <a:pt x="4305" y="2383"/>
                  </a:lnTo>
                  <a:lnTo>
                    <a:pt x="4323" y="2383"/>
                  </a:lnTo>
                  <a:close/>
                  <a:moveTo>
                    <a:pt x="4341" y="2392"/>
                  </a:moveTo>
                  <a:lnTo>
                    <a:pt x="4332" y="2392"/>
                  </a:lnTo>
                  <a:lnTo>
                    <a:pt x="4341" y="2392"/>
                  </a:lnTo>
                  <a:lnTo>
                    <a:pt x="4349" y="2401"/>
                  </a:lnTo>
                  <a:lnTo>
                    <a:pt x="4349" y="2392"/>
                  </a:lnTo>
                  <a:close/>
                  <a:moveTo>
                    <a:pt x="4914" y="2206"/>
                  </a:moveTo>
                  <a:lnTo>
                    <a:pt x="4923" y="2206"/>
                  </a:lnTo>
                  <a:lnTo>
                    <a:pt x="4923" y="2198"/>
                  </a:lnTo>
                  <a:lnTo>
                    <a:pt x="4932" y="2198"/>
                  </a:lnTo>
                  <a:lnTo>
                    <a:pt x="4923" y="2189"/>
                  </a:lnTo>
                  <a:lnTo>
                    <a:pt x="4914" y="2180"/>
                  </a:lnTo>
                  <a:lnTo>
                    <a:pt x="4905" y="2189"/>
                  </a:lnTo>
                  <a:lnTo>
                    <a:pt x="4914" y="2198"/>
                  </a:lnTo>
                  <a:close/>
                  <a:moveTo>
                    <a:pt x="6643" y="2877"/>
                  </a:moveTo>
                  <a:lnTo>
                    <a:pt x="6652" y="2877"/>
                  </a:lnTo>
                  <a:lnTo>
                    <a:pt x="6652" y="2868"/>
                  </a:lnTo>
                  <a:lnTo>
                    <a:pt x="6643" y="2868"/>
                  </a:lnTo>
                  <a:lnTo>
                    <a:pt x="6626" y="2868"/>
                  </a:lnTo>
                  <a:lnTo>
                    <a:pt x="6626" y="2877"/>
                  </a:lnTo>
                  <a:close/>
                  <a:moveTo>
                    <a:pt x="4967" y="2286"/>
                  </a:moveTo>
                  <a:lnTo>
                    <a:pt x="4976" y="2286"/>
                  </a:lnTo>
                  <a:lnTo>
                    <a:pt x="4976" y="2295"/>
                  </a:lnTo>
                  <a:lnTo>
                    <a:pt x="4985" y="2286"/>
                  </a:lnTo>
                  <a:lnTo>
                    <a:pt x="4993" y="2286"/>
                  </a:lnTo>
                  <a:lnTo>
                    <a:pt x="4993" y="2268"/>
                  </a:lnTo>
                  <a:lnTo>
                    <a:pt x="4985" y="2259"/>
                  </a:lnTo>
                  <a:lnTo>
                    <a:pt x="4976" y="2251"/>
                  </a:lnTo>
                  <a:lnTo>
                    <a:pt x="4967" y="2251"/>
                  </a:lnTo>
                  <a:lnTo>
                    <a:pt x="4967" y="2259"/>
                  </a:lnTo>
                  <a:lnTo>
                    <a:pt x="4958" y="2259"/>
                  </a:lnTo>
                  <a:lnTo>
                    <a:pt x="4967" y="2259"/>
                  </a:lnTo>
                  <a:lnTo>
                    <a:pt x="4967" y="2268"/>
                  </a:lnTo>
                  <a:lnTo>
                    <a:pt x="4958" y="2277"/>
                  </a:lnTo>
                  <a:lnTo>
                    <a:pt x="4958" y="2286"/>
                  </a:lnTo>
                  <a:close/>
                  <a:moveTo>
                    <a:pt x="3335" y="4483"/>
                  </a:moveTo>
                  <a:lnTo>
                    <a:pt x="3335" y="4475"/>
                  </a:lnTo>
                  <a:lnTo>
                    <a:pt x="3326" y="4475"/>
                  </a:lnTo>
                  <a:lnTo>
                    <a:pt x="3317" y="4475"/>
                  </a:lnTo>
                  <a:lnTo>
                    <a:pt x="3317" y="4483"/>
                  </a:lnTo>
                  <a:lnTo>
                    <a:pt x="3326" y="4483"/>
                  </a:lnTo>
                  <a:close/>
                  <a:moveTo>
                    <a:pt x="4667" y="2312"/>
                  </a:moveTo>
                  <a:lnTo>
                    <a:pt x="4658" y="2312"/>
                  </a:lnTo>
                  <a:lnTo>
                    <a:pt x="4649" y="2312"/>
                  </a:lnTo>
                  <a:lnTo>
                    <a:pt x="4641" y="2312"/>
                  </a:lnTo>
                  <a:lnTo>
                    <a:pt x="4632" y="2312"/>
                  </a:lnTo>
                  <a:lnTo>
                    <a:pt x="4641" y="2321"/>
                  </a:lnTo>
                  <a:lnTo>
                    <a:pt x="4649" y="2330"/>
                  </a:lnTo>
                  <a:lnTo>
                    <a:pt x="4658" y="2330"/>
                  </a:lnTo>
                  <a:lnTo>
                    <a:pt x="4667" y="2339"/>
                  </a:lnTo>
                  <a:lnTo>
                    <a:pt x="4676" y="2330"/>
                  </a:lnTo>
                  <a:lnTo>
                    <a:pt x="4685" y="2330"/>
                  </a:lnTo>
                  <a:lnTo>
                    <a:pt x="4676" y="2330"/>
                  </a:lnTo>
                  <a:lnTo>
                    <a:pt x="4676" y="2321"/>
                  </a:lnTo>
                  <a:close/>
                  <a:moveTo>
                    <a:pt x="6476" y="3142"/>
                  </a:moveTo>
                  <a:lnTo>
                    <a:pt x="6484" y="3142"/>
                  </a:lnTo>
                  <a:lnTo>
                    <a:pt x="6493" y="3151"/>
                  </a:lnTo>
                  <a:lnTo>
                    <a:pt x="6502" y="3151"/>
                  </a:lnTo>
                  <a:lnTo>
                    <a:pt x="6502" y="3142"/>
                  </a:lnTo>
                  <a:lnTo>
                    <a:pt x="6502" y="3133"/>
                  </a:lnTo>
                  <a:lnTo>
                    <a:pt x="6511" y="3124"/>
                  </a:lnTo>
                  <a:lnTo>
                    <a:pt x="6520" y="3115"/>
                  </a:lnTo>
                  <a:lnTo>
                    <a:pt x="6520" y="3107"/>
                  </a:lnTo>
                  <a:lnTo>
                    <a:pt x="6529" y="3098"/>
                  </a:lnTo>
                  <a:lnTo>
                    <a:pt x="6529" y="3089"/>
                  </a:lnTo>
                  <a:lnTo>
                    <a:pt x="6529" y="3080"/>
                  </a:lnTo>
                  <a:lnTo>
                    <a:pt x="6529" y="3071"/>
                  </a:lnTo>
                  <a:lnTo>
                    <a:pt x="6520" y="3063"/>
                  </a:lnTo>
                  <a:lnTo>
                    <a:pt x="6511" y="3054"/>
                  </a:lnTo>
                  <a:lnTo>
                    <a:pt x="6502" y="3063"/>
                  </a:lnTo>
                  <a:lnTo>
                    <a:pt x="6484" y="3063"/>
                  </a:lnTo>
                  <a:lnTo>
                    <a:pt x="6476" y="3063"/>
                  </a:lnTo>
                  <a:lnTo>
                    <a:pt x="6467" y="3080"/>
                  </a:lnTo>
                  <a:lnTo>
                    <a:pt x="6458" y="3089"/>
                  </a:lnTo>
                  <a:lnTo>
                    <a:pt x="6458" y="3098"/>
                  </a:lnTo>
                  <a:lnTo>
                    <a:pt x="6458" y="3107"/>
                  </a:lnTo>
                  <a:lnTo>
                    <a:pt x="6458" y="3124"/>
                  </a:lnTo>
                  <a:lnTo>
                    <a:pt x="6458" y="3133"/>
                  </a:lnTo>
                  <a:lnTo>
                    <a:pt x="6467" y="3133"/>
                  </a:lnTo>
                  <a:close/>
                  <a:moveTo>
                    <a:pt x="6573" y="2189"/>
                  </a:moveTo>
                  <a:lnTo>
                    <a:pt x="6581" y="2198"/>
                  </a:lnTo>
                  <a:lnTo>
                    <a:pt x="6590" y="2189"/>
                  </a:lnTo>
                  <a:lnTo>
                    <a:pt x="6599" y="2189"/>
                  </a:lnTo>
                  <a:lnTo>
                    <a:pt x="6617" y="2180"/>
                  </a:lnTo>
                  <a:lnTo>
                    <a:pt x="6626" y="2171"/>
                  </a:lnTo>
                  <a:lnTo>
                    <a:pt x="6626" y="2162"/>
                  </a:lnTo>
                  <a:lnTo>
                    <a:pt x="6617" y="2162"/>
                  </a:lnTo>
                  <a:lnTo>
                    <a:pt x="6608" y="2162"/>
                  </a:lnTo>
                  <a:lnTo>
                    <a:pt x="6608" y="2171"/>
                  </a:lnTo>
                  <a:lnTo>
                    <a:pt x="6599" y="2171"/>
                  </a:lnTo>
                  <a:lnTo>
                    <a:pt x="6590" y="2171"/>
                  </a:lnTo>
                  <a:lnTo>
                    <a:pt x="6581" y="2171"/>
                  </a:lnTo>
                  <a:lnTo>
                    <a:pt x="6564" y="2189"/>
                  </a:lnTo>
                  <a:lnTo>
                    <a:pt x="6564" y="2198"/>
                  </a:lnTo>
                  <a:close/>
                  <a:moveTo>
                    <a:pt x="6555" y="2339"/>
                  </a:moveTo>
                  <a:lnTo>
                    <a:pt x="6537" y="2339"/>
                  </a:lnTo>
                  <a:lnTo>
                    <a:pt x="6537" y="2348"/>
                  </a:lnTo>
                  <a:lnTo>
                    <a:pt x="6537" y="2356"/>
                  </a:lnTo>
                  <a:lnTo>
                    <a:pt x="6546" y="2365"/>
                  </a:lnTo>
                  <a:lnTo>
                    <a:pt x="6555" y="2365"/>
                  </a:lnTo>
                  <a:lnTo>
                    <a:pt x="6564" y="2348"/>
                  </a:lnTo>
                  <a:close/>
                  <a:moveTo>
                    <a:pt x="6458" y="3371"/>
                  </a:moveTo>
                  <a:lnTo>
                    <a:pt x="6458" y="3363"/>
                  </a:lnTo>
                  <a:lnTo>
                    <a:pt x="6467" y="3363"/>
                  </a:lnTo>
                  <a:lnTo>
                    <a:pt x="6458" y="3354"/>
                  </a:lnTo>
                  <a:lnTo>
                    <a:pt x="6458" y="3363"/>
                  </a:lnTo>
                  <a:lnTo>
                    <a:pt x="6449" y="3371"/>
                  </a:lnTo>
                  <a:close/>
                  <a:moveTo>
                    <a:pt x="6520" y="2153"/>
                  </a:moveTo>
                  <a:lnTo>
                    <a:pt x="6511" y="2153"/>
                  </a:lnTo>
                  <a:lnTo>
                    <a:pt x="6502" y="2153"/>
                  </a:lnTo>
                  <a:lnTo>
                    <a:pt x="6484" y="2162"/>
                  </a:lnTo>
                  <a:lnTo>
                    <a:pt x="6476" y="2162"/>
                  </a:lnTo>
                  <a:lnTo>
                    <a:pt x="6467" y="2162"/>
                  </a:lnTo>
                  <a:lnTo>
                    <a:pt x="6467" y="2153"/>
                  </a:lnTo>
                  <a:lnTo>
                    <a:pt x="6458" y="2153"/>
                  </a:lnTo>
                  <a:lnTo>
                    <a:pt x="6449" y="2153"/>
                  </a:lnTo>
                  <a:lnTo>
                    <a:pt x="6440" y="2162"/>
                  </a:lnTo>
                  <a:lnTo>
                    <a:pt x="6432" y="2162"/>
                  </a:lnTo>
                  <a:lnTo>
                    <a:pt x="6423" y="2162"/>
                  </a:lnTo>
                  <a:lnTo>
                    <a:pt x="6423" y="2171"/>
                  </a:lnTo>
                  <a:lnTo>
                    <a:pt x="6440" y="2171"/>
                  </a:lnTo>
                  <a:lnTo>
                    <a:pt x="6449" y="2171"/>
                  </a:lnTo>
                  <a:lnTo>
                    <a:pt x="6449" y="2180"/>
                  </a:lnTo>
                  <a:lnTo>
                    <a:pt x="6458" y="2180"/>
                  </a:lnTo>
                  <a:lnTo>
                    <a:pt x="6458" y="2189"/>
                  </a:lnTo>
                  <a:lnTo>
                    <a:pt x="6467" y="2189"/>
                  </a:lnTo>
                  <a:lnTo>
                    <a:pt x="6476" y="2189"/>
                  </a:lnTo>
                  <a:lnTo>
                    <a:pt x="6484" y="2189"/>
                  </a:lnTo>
                  <a:lnTo>
                    <a:pt x="6476" y="2189"/>
                  </a:lnTo>
                  <a:lnTo>
                    <a:pt x="6476" y="2171"/>
                  </a:lnTo>
                  <a:lnTo>
                    <a:pt x="6484" y="2180"/>
                  </a:lnTo>
                  <a:lnTo>
                    <a:pt x="6511" y="2180"/>
                  </a:lnTo>
                  <a:lnTo>
                    <a:pt x="6520" y="2171"/>
                  </a:lnTo>
                  <a:lnTo>
                    <a:pt x="6520" y="2162"/>
                  </a:lnTo>
                  <a:close/>
                  <a:moveTo>
                    <a:pt x="6555" y="2242"/>
                  </a:moveTo>
                  <a:lnTo>
                    <a:pt x="6537" y="2251"/>
                  </a:lnTo>
                  <a:lnTo>
                    <a:pt x="6529" y="2251"/>
                  </a:lnTo>
                  <a:lnTo>
                    <a:pt x="6529" y="2259"/>
                  </a:lnTo>
                  <a:lnTo>
                    <a:pt x="6520" y="2268"/>
                  </a:lnTo>
                  <a:lnTo>
                    <a:pt x="6520" y="2277"/>
                  </a:lnTo>
                  <a:lnTo>
                    <a:pt x="6529" y="2277"/>
                  </a:lnTo>
                  <a:lnTo>
                    <a:pt x="6537" y="2277"/>
                  </a:lnTo>
                  <a:lnTo>
                    <a:pt x="6546" y="2277"/>
                  </a:lnTo>
                  <a:lnTo>
                    <a:pt x="6564" y="2268"/>
                  </a:lnTo>
                  <a:lnTo>
                    <a:pt x="6573" y="2259"/>
                  </a:lnTo>
                  <a:lnTo>
                    <a:pt x="6581" y="2251"/>
                  </a:lnTo>
                  <a:lnTo>
                    <a:pt x="6581" y="2242"/>
                  </a:lnTo>
                  <a:lnTo>
                    <a:pt x="6590" y="2233"/>
                  </a:lnTo>
                  <a:lnTo>
                    <a:pt x="6599" y="2224"/>
                  </a:lnTo>
                  <a:lnTo>
                    <a:pt x="6608" y="2215"/>
                  </a:lnTo>
                  <a:lnTo>
                    <a:pt x="6599" y="2206"/>
                  </a:lnTo>
                  <a:lnTo>
                    <a:pt x="6590" y="2206"/>
                  </a:lnTo>
                  <a:lnTo>
                    <a:pt x="6581" y="2206"/>
                  </a:lnTo>
                  <a:lnTo>
                    <a:pt x="6573" y="2215"/>
                  </a:lnTo>
                  <a:lnTo>
                    <a:pt x="6573" y="2224"/>
                  </a:lnTo>
                  <a:lnTo>
                    <a:pt x="6564" y="2224"/>
                  </a:lnTo>
                  <a:close/>
                  <a:moveTo>
                    <a:pt x="6202" y="2648"/>
                  </a:moveTo>
                  <a:lnTo>
                    <a:pt x="6202" y="2639"/>
                  </a:lnTo>
                  <a:lnTo>
                    <a:pt x="6184" y="2630"/>
                  </a:lnTo>
                  <a:lnTo>
                    <a:pt x="6176" y="2621"/>
                  </a:lnTo>
                  <a:lnTo>
                    <a:pt x="6149" y="2621"/>
                  </a:lnTo>
                  <a:lnTo>
                    <a:pt x="6149" y="2630"/>
                  </a:lnTo>
                  <a:lnTo>
                    <a:pt x="6158" y="2630"/>
                  </a:lnTo>
                  <a:lnTo>
                    <a:pt x="6167" y="2639"/>
                  </a:lnTo>
                  <a:lnTo>
                    <a:pt x="6176" y="2648"/>
                  </a:lnTo>
                  <a:lnTo>
                    <a:pt x="6176" y="2665"/>
                  </a:lnTo>
                  <a:lnTo>
                    <a:pt x="6184" y="2665"/>
                  </a:lnTo>
                  <a:lnTo>
                    <a:pt x="6193" y="2657"/>
                  </a:lnTo>
                  <a:lnTo>
                    <a:pt x="6202" y="2665"/>
                  </a:lnTo>
                  <a:lnTo>
                    <a:pt x="6193" y="2674"/>
                  </a:lnTo>
                  <a:lnTo>
                    <a:pt x="6202" y="2674"/>
                  </a:lnTo>
                  <a:lnTo>
                    <a:pt x="6211" y="2674"/>
                  </a:lnTo>
                  <a:lnTo>
                    <a:pt x="6220" y="2674"/>
                  </a:lnTo>
                  <a:lnTo>
                    <a:pt x="6229" y="2683"/>
                  </a:lnTo>
                  <a:lnTo>
                    <a:pt x="6237" y="2674"/>
                  </a:lnTo>
                  <a:lnTo>
                    <a:pt x="6237" y="2665"/>
                  </a:lnTo>
                  <a:lnTo>
                    <a:pt x="6220" y="2665"/>
                  </a:lnTo>
                  <a:lnTo>
                    <a:pt x="6211" y="2665"/>
                  </a:lnTo>
                  <a:lnTo>
                    <a:pt x="6202" y="2657"/>
                  </a:lnTo>
                  <a:close/>
                  <a:moveTo>
                    <a:pt x="6237" y="2604"/>
                  </a:moveTo>
                  <a:lnTo>
                    <a:pt x="6246" y="2604"/>
                  </a:lnTo>
                  <a:lnTo>
                    <a:pt x="6255" y="2612"/>
                  </a:lnTo>
                  <a:lnTo>
                    <a:pt x="6264" y="2604"/>
                  </a:lnTo>
                  <a:lnTo>
                    <a:pt x="6255" y="2604"/>
                  </a:lnTo>
                  <a:lnTo>
                    <a:pt x="6246" y="2604"/>
                  </a:lnTo>
                  <a:lnTo>
                    <a:pt x="6237" y="2595"/>
                  </a:lnTo>
                  <a:close/>
                  <a:moveTo>
                    <a:pt x="6476" y="4033"/>
                  </a:moveTo>
                  <a:lnTo>
                    <a:pt x="6484" y="4033"/>
                  </a:lnTo>
                  <a:lnTo>
                    <a:pt x="6476" y="4024"/>
                  </a:lnTo>
                  <a:close/>
                  <a:moveTo>
                    <a:pt x="6476" y="3733"/>
                  </a:moveTo>
                  <a:lnTo>
                    <a:pt x="6502" y="3724"/>
                  </a:lnTo>
                  <a:lnTo>
                    <a:pt x="6502" y="3716"/>
                  </a:lnTo>
                  <a:lnTo>
                    <a:pt x="6511" y="3707"/>
                  </a:lnTo>
                  <a:lnTo>
                    <a:pt x="6502" y="3707"/>
                  </a:lnTo>
                  <a:lnTo>
                    <a:pt x="6502" y="3716"/>
                  </a:lnTo>
                  <a:lnTo>
                    <a:pt x="6493" y="3716"/>
                  </a:lnTo>
                  <a:lnTo>
                    <a:pt x="6484" y="3716"/>
                  </a:lnTo>
                  <a:lnTo>
                    <a:pt x="6476" y="3724"/>
                  </a:lnTo>
                  <a:lnTo>
                    <a:pt x="6467" y="3733"/>
                  </a:lnTo>
                  <a:close/>
                  <a:moveTo>
                    <a:pt x="6564" y="3742"/>
                  </a:moveTo>
                  <a:lnTo>
                    <a:pt x="6564" y="3733"/>
                  </a:lnTo>
                  <a:lnTo>
                    <a:pt x="6573" y="3733"/>
                  </a:lnTo>
                  <a:lnTo>
                    <a:pt x="6573" y="3724"/>
                  </a:lnTo>
                  <a:lnTo>
                    <a:pt x="6573" y="3707"/>
                  </a:lnTo>
                  <a:lnTo>
                    <a:pt x="6564" y="3707"/>
                  </a:lnTo>
                  <a:lnTo>
                    <a:pt x="6564" y="3716"/>
                  </a:lnTo>
                  <a:lnTo>
                    <a:pt x="6564" y="3724"/>
                  </a:lnTo>
                  <a:lnTo>
                    <a:pt x="6564" y="3733"/>
                  </a:lnTo>
                  <a:lnTo>
                    <a:pt x="6555" y="3733"/>
                  </a:lnTo>
                  <a:lnTo>
                    <a:pt x="6555" y="3742"/>
                  </a:lnTo>
                  <a:close/>
                  <a:moveTo>
                    <a:pt x="6626" y="2974"/>
                  </a:moveTo>
                  <a:lnTo>
                    <a:pt x="6643" y="2974"/>
                  </a:lnTo>
                  <a:lnTo>
                    <a:pt x="6652" y="2974"/>
                  </a:lnTo>
                  <a:lnTo>
                    <a:pt x="6652" y="2965"/>
                  </a:lnTo>
                  <a:lnTo>
                    <a:pt x="6661" y="2965"/>
                  </a:lnTo>
                  <a:lnTo>
                    <a:pt x="6661" y="2957"/>
                  </a:lnTo>
                  <a:lnTo>
                    <a:pt x="6652" y="2948"/>
                  </a:lnTo>
                  <a:lnTo>
                    <a:pt x="6643" y="2939"/>
                  </a:lnTo>
                  <a:lnTo>
                    <a:pt x="6634" y="2939"/>
                  </a:lnTo>
                  <a:lnTo>
                    <a:pt x="6626" y="2930"/>
                  </a:lnTo>
                  <a:lnTo>
                    <a:pt x="6608" y="2930"/>
                  </a:lnTo>
                  <a:lnTo>
                    <a:pt x="6590" y="2939"/>
                  </a:lnTo>
                  <a:lnTo>
                    <a:pt x="6581" y="2939"/>
                  </a:lnTo>
                  <a:lnTo>
                    <a:pt x="6590" y="2948"/>
                  </a:lnTo>
                  <a:lnTo>
                    <a:pt x="6608" y="2965"/>
                  </a:lnTo>
                  <a:close/>
                  <a:moveTo>
                    <a:pt x="6599" y="3248"/>
                  </a:moveTo>
                  <a:lnTo>
                    <a:pt x="6599" y="3239"/>
                  </a:lnTo>
                  <a:lnTo>
                    <a:pt x="6608" y="3239"/>
                  </a:lnTo>
                  <a:lnTo>
                    <a:pt x="6590" y="3239"/>
                  </a:lnTo>
                  <a:lnTo>
                    <a:pt x="6581" y="3239"/>
                  </a:lnTo>
                  <a:lnTo>
                    <a:pt x="6573" y="3248"/>
                  </a:lnTo>
                  <a:lnTo>
                    <a:pt x="6581" y="3248"/>
                  </a:lnTo>
                  <a:close/>
                  <a:moveTo>
                    <a:pt x="6511" y="3689"/>
                  </a:moveTo>
                  <a:lnTo>
                    <a:pt x="6511" y="3680"/>
                  </a:lnTo>
                  <a:lnTo>
                    <a:pt x="6511" y="3671"/>
                  </a:lnTo>
                  <a:lnTo>
                    <a:pt x="6511" y="3680"/>
                  </a:lnTo>
                  <a:close/>
                  <a:moveTo>
                    <a:pt x="6484" y="3345"/>
                  </a:moveTo>
                  <a:lnTo>
                    <a:pt x="6476" y="3345"/>
                  </a:lnTo>
                  <a:lnTo>
                    <a:pt x="6467" y="3345"/>
                  </a:lnTo>
                  <a:lnTo>
                    <a:pt x="6467" y="3354"/>
                  </a:lnTo>
                  <a:lnTo>
                    <a:pt x="6476" y="3354"/>
                  </a:lnTo>
                  <a:close/>
                  <a:moveTo>
                    <a:pt x="6493" y="3601"/>
                  </a:moveTo>
                  <a:lnTo>
                    <a:pt x="6493" y="3592"/>
                  </a:lnTo>
                  <a:lnTo>
                    <a:pt x="6493" y="3601"/>
                  </a:lnTo>
                  <a:lnTo>
                    <a:pt x="6502" y="3592"/>
                  </a:lnTo>
                  <a:lnTo>
                    <a:pt x="6493" y="3583"/>
                  </a:lnTo>
                  <a:lnTo>
                    <a:pt x="6493" y="3592"/>
                  </a:lnTo>
                  <a:close/>
                  <a:moveTo>
                    <a:pt x="6484" y="3663"/>
                  </a:moveTo>
                  <a:lnTo>
                    <a:pt x="6484" y="3671"/>
                  </a:lnTo>
                  <a:lnTo>
                    <a:pt x="6493" y="3671"/>
                  </a:lnTo>
                  <a:lnTo>
                    <a:pt x="6493" y="3663"/>
                  </a:lnTo>
                  <a:close/>
                  <a:moveTo>
                    <a:pt x="5973" y="2401"/>
                  </a:moveTo>
                  <a:lnTo>
                    <a:pt x="5973" y="2409"/>
                  </a:lnTo>
                  <a:lnTo>
                    <a:pt x="5982" y="2418"/>
                  </a:lnTo>
                  <a:lnTo>
                    <a:pt x="5990" y="2418"/>
                  </a:lnTo>
                  <a:lnTo>
                    <a:pt x="5999" y="2418"/>
                  </a:lnTo>
                  <a:lnTo>
                    <a:pt x="5999" y="2409"/>
                  </a:lnTo>
                  <a:lnTo>
                    <a:pt x="6008" y="2401"/>
                  </a:lnTo>
                  <a:lnTo>
                    <a:pt x="6008" y="2392"/>
                  </a:lnTo>
                  <a:lnTo>
                    <a:pt x="6008" y="2383"/>
                  </a:lnTo>
                  <a:lnTo>
                    <a:pt x="6008" y="2374"/>
                  </a:lnTo>
                  <a:lnTo>
                    <a:pt x="6008" y="2365"/>
                  </a:lnTo>
                  <a:lnTo>
                    <a:pt x="5999" y="2356"/>
                  </a:lnTo>
                  <a:lnTo>
                    <a:pt x="5990" y="2348"/>
                  </a:lnTo>
                  <a:lnTo>
                    <a:pt x="5982" y="2348"/>
                  </a:lnTo>
                  <a:lnTo>
                    <a:pt x="5973" y="2356"/>
                  </a:lnTo>
                  <a:lnTo>
                    <a:pt x="5973" y="2365"/>
                  </a:lnTo>
                  <a:lnTo>
                    <a:pt x="5964" y="2374"/>
                  </a:lnTo>
                  <a:lnTo>
                    <a:pt x="5973" y="2383"/>
                  </a:lnTo>
                  <a:lnTo>
                    <a:pt x="5973" y="2392"/>
                  </a:lnTo>
                  <a:close/>
                  <a:moveTo>
                    <a:pt x="891" y="6812"/>
                  </a:moveTo>
                  <a:lnTo>
                    <a:pt x="882" y="6804"/>
                  </a:lnTo>
                  <a:lnTo>
                    <a:pt x="873" y="6795"/>
                  </a:lnTo>
                  <a:lnTo>
                    <a:pt x="865" y="6795"/>
                  </a:lnTo>
                  <a:lnTo>
                    <a:pt x="856" y="6804"/>
                  </a:lnTo>
                  <a:lnTo>
                    <a:pt x="847" y="6795"/>
                  </a:lnTo>
                  <a:lnTo>
                    <a:pt x="838" y="6795"/>
                  </a:lnTo>
                  <a:lnTo>
                    <a:pt x="838" y="6804"/>
                  </a:lnTo>
                  <a:lnTo>
                    <a:pt x="847" y="6804"/>
                  </a:lnTo>
                  <a:lnTo>
                    <a:pt x="847" y="6812"/>
                  </a:lnTo>
                  <a:lnTo>
                    <a:pt x="856" y="6812"/>
                  </a:lnTo>
                  <a:lnTo>
                    <a:pt x="856" y="6821"/>
                  </a:lnTo>
                  <a:lnTo>
                    <a:pt x="865" y="6821"/>
                  </a:lnTo>
                  <a:lnTo>
                    <a:pt x="873" y="6821"/>
                  </a:lnTo>
                  <a:lnTo>
                    <a:pt x="882" y="6821"/>
                  </a:lnTo>
                  <a:close/>
                  <a:moveTo>
                    <a:pt x="2135" y="2189"/>
                  </a:moveTo>
                  <a:lnTo>
                    <a:pt x="2135" y="2180"/>
                  </a:lnTo>
                  <a:lnTo>
                    <a:pt x="2153" y="2180"/>
                  </a:lnTo>
                  <a:lnTo>
                    <a:pt x="2144" y="2180"/>
                  </a:lnTo>
                  <a:lnTo>
                    <a:pt x="2135" y="2171"/>
                  </a:lnTo>
                  <a:lnTo>
                    <a:pt x="2126" y="2171"/>
                  </a:lnTo>
                  <a:lnTo>
                    <a:pt x="2117" y="2180"/>
                  </a:lnTo>
                  <a:close/>
                  <a:moveTo>
                    <a:pt x="820" y="6777"/>
                  </a:moveTo>
                  <a:lnTo>
                    <a:pt x="803" y="6777"/>
                  </a:lnTo>
                  <a:lnTo>
                    <a:pt x="794" y="6777"/>
                  </a:lnTo>
                  <a:lnTo>
                    <a:pt x="794" y="6786"/>
                  </a:lnTo>
                  <a:lnTo>
                    <a:pt x="812" y="6786"/>
                  </a:lnTo>
                  <a:lnTo>
                    <a:pt x="829" y="6786"/>
                  </a:lnTo>
                  <a:lnTo>
                    <a:pt x="838" y="6786"/>
                  </a:lnTo>
                  <a:close/>
                  <a:moveTo>
                    <a:pt x="962" y="8648"/>
                  </a:moveTo>
                  <a:lnTo>
                    <a:pt x="970" y="8648"/>
                  </a:lnTo>
                  <a:close/>
                  <a:moveTo>
                    <a:pt x="794" y="8207"/>
                  </a:moveTo>
                  <a:lnTo>
                    <a:pt x="785" y="8207"/>
                  </a:lnTo>
                  <a:lnTo>
                    <a:pt x="776" y="8207"/>
                  </a:lnTo>
                  <a:lnTo>
                    <a:pt x="794" y="8207"/>
                  </a:lnTo>
                  <a:lnTo>
                    <a:pt x="785" y="8207"/>
                  </a:lnTo>
                  <a:lnTo>
                    <a:pt x="785" y="8216"/>
                  </a:lnTo>
                  <a:lnTo>
                    <a:pt x="776" y="8216"/>
                  </a:lnTo>
                  <a:lnTo>
                    <a:pt x="776" y="8207"/>
                  </a:lnTo>
                  <a:lnTo>
                    <a:pt x="776" y="8216"/>
                  </a:lnTo>
                  <a:lnTo>
                    <a:pt x="785" y="8225"/>
                  </a:lnTo>
                  <a:lnTo>
                    <a:pt x="803" y="8225"/>
                  </a:lnTo>
                  <a:lnTo>
                    <a:pt x="794" y="8216"/>
                  </a:lnTo>
                  <a:close/>
                  <a:moveTo>
                    <a:pt x="768" y="6768"/>
                  </a:moveTo>
                  <a:lnTo>
                    <a:pt x="768" y="6759"/>
                  </a:lnTo>
                  <a:lnTo>
                    <a:pt x="759" y="6759"/>
                  </a:lnTo>
                  <a:lnTo>
                    <a:pt x="750" y="6751"/>
                  </a:lnTo>
                  <a:lnTo>
                    <a:pt x="750" y="6742"/>
                  </a:lnTo>
                  <a:lnTo>
                    <a:pt x="741" y="6742"/>
                  </a:lnTo>
                  <a:lnTo>
                    <a:pt x="732" y="6751"/>
                  </a:lnTo>
                  <a:lnTo>
                    <a:pt x="723" y="6751"/>
                  </a:lnTo>
                  <a:lnTo>
                    <a:pt x="723" y="6759"/>
                  </a:lnTo>
                  <a:lnTo>
                    <a:pt x="732" y="6768"/>
                  </a:lnTo>
                  <a:lnTo>
                    <a:pt x="741" y="6768"/>
                  </a:lnTo>
                  <a:lnTo>
                    <a:pt x="750" y="6768"/>
                  </a:lnTo>
                  <a:lnTo>
                    <a:pt x="759" y="6768"/>
                  </a:lnTo>
                  <a:lnTo>
                    <a:pt x="759" y="6777"/>
                  </a:lnTo>
                  <a:lnTo>
                    <a:pt x="768" y="6777"/>
                  </a:lnTo>
                  <a:close/>
                  <a:moveTo>
                    <a:pt x="829" y="6804"/>
                  </a:moveTo>
                  <a:lnTo>
                    <a:pt x="820" y="6804"/>
                  </a:lnTo>
                  <a:lnTo>
                    <a:pt x="812" y="6804"/>
                  </a:lnTo>
                  <a:lnTo>
                    <a:pt x="820" y="6804"/>
                  </a:lnTo>
                  <a:lnTo>
                    <a:pt x="820" y="6812"/>
                  </a:lnTo>
                  <a:lnTo>
                    <a:pt x="829" y="6812"/>
                  </a:lnTo>
                  <a:close/>
                  <a:moveTo>
                    <a:pt x="970" y="6901"/>
                  </a:moveTo>
                  <a:lnTo>
                    <a:pt x="962" y="6892"/>
                  </a:lnTo>
                  <a:lnTo>
                    <a:pt x="962" y="6883"/>
                  </a:lnTo>
                  <a:lnTo>
                    <a:pt x="953" y="6874"/>
                  </a:lnTo>
                  <a:lnTo>
                    <a:pt x="918" y="6857"/>
                  </a:lnTo>
                  <a:lnTo>
                    <a:pt x="900" y="6848"/>
                  </a:lnTo>
                  <a:lnTo>
                    <a:pt x="900" y="6857"/>
                  </a:lnTo>
                  <a:lnTo>
                    <a:pt x="900" y="6865"/>
                  </a:lnTo>
                  <a:lnTo>
                    <a:pt x="900" y="6874"/>
                  </a:lnTo>
                  <a:lnTo>
                    <a:pt x="891" y="6883"/>
                  </a:lnTo>
                  <a:lnTo>
                    <a:pt x="891" y="6892"/>
                  </a:lnTo>
                  <a:lnTo>
                    <a:pt x="891" y="6901"/>
                  </a:lnTo>
                  <a:lnTo>
                    <a:pt x="900" y="6918"/>
                  </a:lnTo>
                  <a:lnTo>
                    <a:pt x="900" y="6936"/>
                  </a:lnTo>
                  <a:lnTo>
                    <a:pt x="900" y="6945"/>
                  </a:lnTo>
                  <a:lnTo>
                    <a:pt x="918" y="6945"/>
                  </a:lnTo>
                  <a:lnTo>
                    <a:pt x="926" y="6936"/>
                  </a:lnTo>
                  <a:lnTo>
                    <a:pt x="944" y="6927"/>
                  </a:lnTo>
                  <a:lnTo>
                    <a:pt x="962" y="6918"/>
                  </a:lnTo>
                  <a:lnTo>
                    <a:pt x="970" y="6909"/>
                  </a:lnTo>
                  <a:lnTo>
                    <a:pt x="979" y="6909"/>
                  </a:lnTo>
                  <a:lnTo>
                    <a:pt x="979" y="6901"/>
                  </a:lnTo>
                  <a:close/>
                  <a:moveTo>
                    <a:pt x="1023" y="3689"/>
                  </a:moveTo>
                  <a:lnTo>
                    <a:pt x="1015" y="3698"/>
                  </a:lnTo>
                  <a:lnTo>
                    <a:pt x="1023" y="3698"/>
                  </a:lnTo>
                  <a:lnTo>
                    <a:pt x="1032" y="3698"/>
                  </a:lnTo>
                  <a:lnTo>
                    <a:pt x="1032" y="3689"/>
                  </a:lnTo>
                  <a:close/>
                  <a:moveTo>
                    <a:pt x="1156" y="3583"/>
                  </a:moveTo>
                  <a:lnTo>
                    <a:pt x="1147" y="3574"/>
                  </a:lnTo>
                  <a:lnTo>
                    <a:pt x="1156" y="3566"/>
                  </a:lnTo>
                  <a:lnTo>
                    <a:pt x="1147" y="3557"/>
                  </a:lnTo>
                  <a:lnTo>
                    <a:pt x="1138" y="3557"/>
                  </a:lnTo>
                  <a:lnTo>
                    <a:pt x="1129" y="3566"/>
                  </a:lnTo>
                  <a:lnTo>
                    <a:pt x="1120" y="3566"/>
                  </a:lnTo>
                  <a:lnTo>
                    <a:pt x="1120" y="3557"/>
                  </a:lnTo>
                  <a:lnTo>
                    <a:pt x="1112" y="3548"/>
                  </a:lnTo>
                  <a:lnTo>
                    <a:pt x="1103" y="3548"/>
                  </a:lnTo>
                  <a:lnTo>
                    <a:pt x="1094" y="3548"/>
                  </a:lnTo>
                  <a:lnTo>
                    <a:pt x="1103" y="3557"/>
                  </a:lnTo>
                  <a:lnTo>
                    <a:pt x="1094" y="3557"/>
                  </a:lnTo>
                  <a:lnTo>
                    <a:pt x="1094" y="3566"/>
                  </a:lnTo>
                  <a:lnTo>
                    <a:pt x="1085" y="3566"/>
                  </a:lnTo>
                  <a:lnTo>
                    <a:pt x="1076" y="3566"/>
                  </a:lnTo>
                  <a:lnTo>
                    <a:pt x="1076" y="3574"/>
                  </a:lnTo>
                  <a:lnTo>
                    <a:pt x="1068" y="3566"/>
                  </a:lnTo>
                  <a:lnTo>
                    <a:pt x="1059" y="3557"/>
                  </a:lnTo>
                  <a:lnTo>
                    <a:pt x="1050" y="3557"/>
                  </a:lnTo>
                  <a:lnTo>
                    <a:pt x="1041" y="3566"/>
                  </a:lnTo>
                  <a:lnTo>
                    <a:pt x="1050" y="3574"/>
                  </a:lnTo>
                  <a:lnTo>
                    <a:pt x="1059" y="3583"/>
                  </a:lnTo>
                  <a:lnTo>
                    <a:pt x="1050" y="3583"/>
                  </a:lnTo>
                  <a:lnTo>
                    <a:pt x="1050" y="3601"/>
                  </a:lnTo>
                  <a:lnTo>
                    <a:pt x="1059" y="3610"/>
                  </a:lnTo>
                  <a:lnTo>
                    <a:pt x="1059" y="3619"/>
                  </a:lnTo>
                  <a:lnTo>
                    <a:pt x="1050" y="3610"/>
                  </a:lnTo>
                  <a:lnTo>
                    <a:pt x="1050" y="3601"/>
                  </a:lnTo>
                  <a:lnTo>
                    <a:pt x="1041" y="3592"/>
                  </a:lnTo>
                  <a:lnTo>
                    <a:pt x="1032" y="3592"/>
                  </a:lnTo>
                  <a:lnTo>
                    <a:pt x="1041" y="3592"/>
                  </a:lnTo>
                  <a:lnTo>
                    <a:pt x="1032" y="3583"/>
                  </a:lnTo>
                  <a:lnTo>
                    <a:pt x="1023" y="3583"/>
                  </a:lnTo>
                  <a:lnTo>
                    <a:pt x="1015" y="3583"/>
                  </a:lnTo>
                  <a:lnTo>
                    <a:pt x="1006" y="3592"/>
                  </a:lnTo>
                  <a:lnTo>
                    <a:pt x="997" y="3592"/>
                  </a:lnTo>
                  <a:lnTo>
                    <a:pt x="988" y="3601"/>
                  </a:lnTo>
                  <a:lnTo>
                    <a:pt x="988" y="3610"/>
                  </a:lnTo>
                  <a:lnTo>
                    <a:pt x="988" y="3619"/>
                  </a:lnTo>
                  <a:lnTo>
                    <a:pt x="997" y="3627"/>
                  </a:lnTo>
                  <a:lnTo>
                    <a:pt x="997" y="3645"/>
                  </a:lnTo>
                  <a:lnTo>
                    <a:pt x="1015" y="3663"/>
                  </a:lnTo>
                  <a:lnTo>
                    <a:pt x="1023" y="3654"/>
                  </a:lnTo>
                  <a:lnTo>
                    <a:pt x="1023" y="3645"/>
                  </a:lnTo>
                  <a:lnTo>
                    <a:pt x="1015" y="3636"/>
                  </a:lnTo>
                  <a:lnTo>
                    <a:pt x="1006" y="3636"/>
                  </a:lnTo>
                  <a:lnTo>
                    <a:pt x="1015" y="3636"/>
                  </a:lnTo>
                  <a:lnTo>
                    <a:pt x="1023" y="3636"/>
                  </a:lnTo>
                  <a:lnTo>
                    <a:pt x="1032" y="3636"/>
                  </a:lnTo>
                  <a:lnTo>
                    <a:pt x="1032" y="3645"/>
                  </a:lnTo>
                  <a:lnTo>
                    <a:pt x="1041" y="3645"/>
                  </a:lnTo>
                  <a:lnTo>
                    <a:pt x="1050" y="3654"/>
                  </a:lnTo>
                  <a:lnTo>
                    <a:pt x="1032" y="3671"/>
                  </a:lnTo>
                  <a:lnTo>
                    <a:pt x="1041" y="3671"/>
                  </a:lnTo>
                  <a:lnTo>
                    <a:pt x="1059" y="3663"/>
                  </a:lnTo>
                  <a:lnTo>
                    <a:pt x="1068" y="3654"/>
                  </a:lnTo>
                  <a:lnTo>
                    <a:pt x="1068" y="3645"/>
                  </a:lnTo>
                  <a:lnTo>
                    <a:pt x="1059" y="3645"/>
                  </a:lnTo>
                  <a:lnTo>
                    <a:pt x="1068" y="3645"/>
                  </a:lnTo>
                  <a:lnTo>
                    <a:pt x="1076" y="3636"/>
                  </a:lnTo>
                  <a:lnTo>
                    <a:pt x="1094" y="3627"/>
                  </a:lnTo>
                  <a:lnTo>
                    <a:pt x="1103" y="3627"/>
                  </a:lnTo>
                  <a:lnTo>
                    <a:pt x="1112" y="3619"/>
                  </a:lnTo>
                  <a:lnTo>
                    <a:pt x="1120" y="3619"/>
                  </a:lnTo>
                  <a:lnTo>
                    <a:pt x="1129" y="3619"/>
                  </a:lnTo>
                  <a:lnTo>
                    <a:pt x="1138" y="3610"/>
                  </a:lnTo>
                  <a:lnTo>
                    <a:pt x="1129" y="3610"/>
                  </a:lnTo>
                  <a:lnTo>
                    <a:pt x="1129" y="3601"/>
                  </a:lnTo>
                  <a:lnTo>
                    <a:pt x="1112" y="3601"/>
                  </a:lnTo>
                  <a:lnTo>
                    <a:pt x="1120" y="3601"/>
                  </a:lnTo>
                  <a:lnTo>
                    <a:pt x="1138" y="3601"/>
                  </a:lnTo>
                  <a:lnTo>
                    <a:pt x="1156" y="3601"/>
                  </a:lnTo>
                  <a:lnTo>
                    <a:pt x="1165" y="3592"/>
                  </a:lnTo>
                  <a:lnTo>
                    <a:pt x="1165" y="3583"/>
                  </a:lnTo>
                  <a:close/>
                  <a:moveTo>
                    <a:pt x="1182" y="3513"/>
                  </a:moveTo>
                  <a:lnTo>
                    <a:pt x="1173" y="3504"/>
                  </a:lnTo>
                  <a:lnTo>
                    <a:pt x="1165" y="3504"/>
                  </a:lnTo>
                  <a:lnTo>
                    <a:pt x="1156" y="3504"/>
                  </a:lnTo>
                  <a:lnTo>
                    <a:pt x="1147" y="3504"/>
                  </a:lnTo>
                  <a:lnTo>
                    <a:pt x="1147" y="3495"/>
                  </a:lnTo>
                  <a:lnTo>
                    <a:pt x="1138" y="3495"/>
                  </a:lnTo>
                  <a:lnTo>
                    <a:pt x="1120" y="3504"/>
                  </a:lnTo>
                  <a:lnTo>
                    <a:pt x="1129" y="3504"/>
                  </a:lnTo>
                  <a:lnTo>
                    <a:pt x="1129" y="3513"/>
                  </a:lnTo>
                  <a:lnTo>
                    <a:pt x="1120" y="3513"/>
                  </a:lnTo>
                  <a:lnTo>
                    <a:pt x="1112" y="3513"/>
                  </a:lnTo>
                  <a:lnTo>
                    <a:pt x="1103" y="3521"/>
                  </a:lnTo>
                  <a:lnTo>
                    <a:pt x="1085" y="3539"/>
                  </a:lnTo>
                  <a:lnTo>
                    <a:pt x="1112" y="3548"/>
                  </a:lnTo>
                  <a:lnTo>
                    <a:pt x="1120" y="3548"/>
                  </a:lnTo>
                  <a:lnTo>
                    <a:pt x="1120" y="3539"/>
                  </a:lnTo>
                  <a:lnTo>
                    <a:pt x="1129" y="3539"/>
                  </a:lnTo>
                  <a:lnTo>
                    <a:pt x="1138" y="3539"/>
                  </a:lnTo>
                  <a:lnTo>
                    <a:pt x="1138" y="3530"/>
                  </a:lnTo>
                  <a:lnTo>
                    <a:pt x="1147" y="3530"/>
                  </a:lnTo>
                  <a:lnTo>
                    <a:pt x="1156" y="3530"/>
                  </a:lnTo>
                  <a:lnTo>
                    <a:pt x="1165" y="3530"/>
                  </a:lnTo>
                  <a:lnTo>
                    <a:pt x="1156" y="3521"/>
                  </a:lnTo>
                  <a:lnTo>
                    <a:pt x="1165" y="3521"/>
                  </a:lnTo>
                  <a:lnTo>
                    <a:pt x="1173" y="3521"/>
                  </a:lnTo>
                  <a:lnTo>
                    <a:pt x="1173" y="3530"/>
                  </a:lnTo>
                  <a:lnTo>
                    <a:pt x="1182" y="3521"/>
                  </a:lnTo>
                  <a:close/>
                  <a:moveTo>
                    <a:pt x="918" y="3777"/>
                  </a:moveTo>
                  <a:lnTo>
                    <a:pt x="926" y="3777"/>
                  </a:lnTo>
                  <a:lnTo>
                    <a:pt x="926" y="3769"/>
                  </a:lnTo>
                  <a:lnTo>
                    <a:pt x="918" y="3760"/>
                  </a:lnTo>
                  <a:lnTo>
                    <a:pt x="909" y="3769"/>
                  </a:lnTo>
                  <a:lnTo>
                    <a:pt x="909" y="3777"/>
                  </a:lnTo>
                  <a:close/>
                  <a:moveTo>
                    <a:pt x="1147" y="3495"/>
                  </a:moveTo>
                  <a:lnTo>
                    <a:pt x="1156" y="3486"/>
                  </a:lnTo>
                  <a:lnTo>
                    <a:pt x="1156" y="3477"/>
                  </a:lnTo>
                  <a:lnTo>
                    <a:pt x="1147" y="3477"/>
                  </a:lnTo>
                  <a:lnTo>
                    <a:pt x="1138" y="3486"/>
                  </a:lnTo>
                  <a:close/>
                  <a:moveTo>
                    <a:pt x="1085" y="3557"/>
                  </a:moveTo>
                  <a:lnTo>
                    <a:pt x="1085" y="3566"/>
                  </a:lnTo>
                  <a:lnTo>
                    <a:pt x="1094" y="3566"/>
                  </a:lnTo>
                  <a:lnTo>
                    <a:pt x="1094" y="3557"/>
                  </a:lnTo>
                  <a:lnTo>
                    <a:pt x="1085" y="3557"/>
                  </a:lnTo>
                  <a:lnTo>
                    <a:pt x="1085" y="3548"/>
                  </a:lnTo>
                  <a:lnTo>
                    <a:pt x="1076" y="3548"/>
                  </a:lnTo>
                  <a:lnTo>
                    <a:pt x="1076" y="3557"/>
                  </a:lnTo>
                  <a:close/>
                  <a:moveTo>
                    <a:pt x="997" y="3689"/>
                  </a:moveTo>
                  <a:lnTo>
                    <a:pt x="988" y="3698"/>
                  </a:lnTo>
                  <a:lnTo>
                    <a:pt x="988" y="3707"/>
                  </a:lnTo>
                  <a:lnTo>
                    <a:pt x="979" y="3707"/>
                  </a:lnTo>
                  <a:lnTo>
                    <a:pt x="979" y="3716"/>
                  </a:lnTo>
                  <a:lnTo>
                    <a:pt x="988" y="3707"/>
                  </a:lnTo>
                  <a:lnTo>
                    <a:pt x="997" y="3698"/>
                  </a:lnTo>
                  <a:lnTo>
                    <a:pt x="1006" y="3698"/>
                  </a:lnTo>
                  <a:lnTo>
                    <a:pt x="1006" y="3689"/>
                  </a:lnTo>
                  <a:close/>
                  <a:moveTo>
                    <a:pt x="1112" y="3636"/>
                  </a:moveTo>
                  <a:lnTo>
                    <a:pt x="1094" y="3627"/>
                  </a:lnTo>
                  <a:lnTo>
                    <a:pt x="1085" y="3636"/>
                  </a:lnTo>
                  <a:lnTo>
                    <a:pt x="1085" y="3645"/>
                  </a:lnTo>
                  <a:lnTo>
                    <a:pt x="1085" y="3654"/>
                  </a:lnTo>
                  <a:lnTo>
                    <a:pt x="1094" y="3645"/>
                  </a:lnTo>
                  <a:lnTo>
                    <a:pt x="1103" y="3636"/>
                  </a:lnTo>
                  <a:lnTo>
                    <a:pt x="1103" y="3645"/>
                  </a:lnTo>
                  <a:lnTo>
                    <a:pt x="1112" y="3636"/>
                  </a:lnTo>
                  <a:lnTo>
                    <a:pt x="1120" y="3636"/>
                  </a:lnTo>
                  <a:close/>
                  <a:moveTo>
                    <a:pt x="644" y="8066"/>
                  </a:moveTo>
                  <a:lnTo>
                    <a:pt x="644" y="8074"/>
                  </a:lnTo>
                  <a:lnTo>
                    <a:pt x="644" y="8066"/>
                  </a:lnTo>
                  <a:lnTo>
                    <a:pt x="644" y="8074"/>
                  </a:lnTo>
                  <a:lnTo>
                    <a:pt x="653" y="8074"/>
                  </a:lnTo>
                  <a:close/>
                  <a:moveTo>
                    <a:pt x="900" y="8763"/>
                  </a:moveTo>
                  <a:close/>
                  <a:moveTo>
                    <a:pt x="194" y="3936"/>
                  </a:moveTo>
                  <a:lnTo>
                    <a:pt x="185" y="3927"/>
                  </a:lnTo>
                  <a:lnTo>
                    <a:pt x="176" y="3936"/>
                  </a:lnTo>
                  <a:lnTo>
                    <a:pt x="185" y="3936"/>
                  </a:lnTo>
                  <a:lnTo>
                    <a:pt x="185" y="3945"/>
                  </a:lnTo>
                  <a:lnTo>
                    <a:pt x="194" y="3945"/>
                  </a:lnTo>
                  <a:lnTo>
                    <a:pt x="203" y="3936"/>
                  </a:lnTo>
                  <a:close/>
                  <a:moveTo>
                    <a:pt x="362" y="3883"/>
                  </a:moveTo>
                  <a:lnTo>
                    <a:pt x="353" y="3883"/>
                  </a:lnTo>
                  <a:lnTo>
                    <a:pt x="344" y="3874"/>
                  </a:lnTo>
                  <a:lnTo>
                    <a:pt x="344" y="3857"/>
                  </a:lnTo>
                  <a:lnTo>
                    <a:pt x="335" y="3857"/>
                  </a:lnTo>
                  <a:lnTo>
                    <a:pt x="318" y="3857"/>
                  </a:lnTo>
                  <a:lnTo>
                    <a:pt x="309" y="3857"/>
                  </a:lnTo>
                  <a:lnTo>
                    <a:pt x="291" y="3866"/>
                  </a:lnTo>
                  <a:lnTo>
                    <a:pt x="282" y="3866"/>
                  </a:lnTo>
                  <a:lnTo>
                    <a:pt x="273" y="3866"/>
                  </a:lnTo>
                  <a:lnTo>
                    <a:pt x="265" y="3866"/>
                  </a:lnTo>
                  <a:lnTo>
                    <a:pt x="247" y="3892"/>
                  </a:lnTo>
                  <a:lnTo>
                    <a:pt x="238" y="3901"/>
                  </a:lnTo>
                  <a:lnTo>
                    <a:pt x="238" y="3910"/>
                  </a:lnTo>
                  <a:lnTo>
                    <a:pt x="238" y="3919"/>
                  </a:lnTo>
                  <a:lnTo>
                    <a:pt x="247" y="3919"/>
                  </a:lnTo>
                  <a:lnTo>
                    <a:pt x="256" y="3919"/>
                  </a:lnTo>
                  <a:lnTo>
                    <a:pt x="265" y="3919"/>
                  </a:lnTo>
                  <a:lnTo>
                    <a:pt x="273" y="3910"/>
                  </a:lnTo>
                  <a:lnTo>
                    <a:pt x="282" y="3901"/>
                  </a:lnTo>
                  <a:lnTo>
                    <a:pt x="291" y="3901"/>
                  </a:lnTo>
                  <a:lnTo>
                    <a:pt x="300" y="3892"/>
                  </a:lnTo>
                  <a:lnTo>
                    <a:pt x="335" y="3892"/>
                  </a:lnTo>
                  <a:lnTo>
                    <a:pt x="353" y="3883"/>
                  </a:lnTo>
                  <a:lnTo>
                    <a:pt x="371" y="3892"/>
                  </a:lnTo>
                  <a:close/>
                  <a:moveTo>
                    <a:pt x="176" y="3945"/>
                  </a:moveTo>
                  <a:lnTo>
                    <a:pt x="159" y="3936"/>
                  </a:lnTo>
                  <a:lnTo>
                    <a:pt x="150" y="3936"/>
                  </a:lnTo>
                  <a:lnTo>
                    <a:pt x="150" y="3945"/>
                  </a:lnTo>
                  <a:lnTo>
                    <a:pt x="150" y="3954"/>
                  </a:lnTo>
                  <a:lnTo>
                    <a:pt x="159" y="3954"/>
                  </a:lnTo>
                  <a:lnTo>
                    <a:pt x="168" y="3954"/>
                  </a:lnTo>
                  <a:lnTo>
                    <a:pt x="176" y="3954"/>
                  </a:lnTo>
                  <a:close/>
                  <a:moveTo>
                    <a:pt x="406" y="3910"/>
                  </a:moveTo>
                  <a:lnTo>
                    <a:pt x="388" y="3910"/>
                  </a:lnTo>
                  <a:lnTo>
                    <a:pt x="388" y="3919"/>
                  </a:lnTo>
                  <a:lnTo>
                    <a:pt x="397" y="3919"/>
                  </a:lnTo>
                  <a:lnTo>
                    <a:pt x="406" y="3919"/>
                  </a:lnTo>
                  <a:close/>
                  <a:moveTo>
                    <a:pt x="124" y="3989"/>
                  </a:moveTo>
                  <a:lnTo>
                    <a:pt x="115" y="3989"/>
                  </a:lnTo>
                  <a:lnTo>
                    <a:pt x="124" y="3980"/>
                  </a:lnTo>
                  <a:lnTo>
                    <a:pt x="132" y="3972"/>
                  </a:lnTo>
                  <a:lnTo>
                    <a:pt x="141" y="3963"/>
                  </a:lnTo>
                  <a:lnTo>
                    <a:pt x="132" y="3963"/>
                  </a:lnTo>
                  <a:lnTo>
                    <a:pt x="124" y="3963"/>
                  </a:lnTo>
                  <a:lnTo>
                    <a:pt x="115" y="3972"/>
                  </a:lnTo>
                  <a:lnTo>
                    <a:pt x="106" y="3972"/>
                  </a:lnTo>
                  <a:lnTo>
                    <a:pt x="106" y="3963"/>
                  </a:lnTo>
                  <a:lnTo>
                    <a:pt x="97" y="3963"/>
                  </a:lnTo>
                  <a:lnTo>
                    <a:pt x="79" y="3963"/>
                  </a:lnTo>
                  <a:lnTo>
                    <a:pt x="79" y="3972"/>
                  </a:lnTo>
                  <a:lnTo>
                    <a:pt x="71" y="3972"/>
                  </a:lnTo>
                  <a:lnTo>
                    <a:pt x="71" y="3980"/>
                  </a:lnTo>
                  <a:lnTo>
                    <a:pt x="79" y="3980"/>
                  </a:lnTo>
                  <a:lnTo>
                    <a:pt x="88" y="3980"/>
                  </a:lnTo>
                  <a:lnTo>
                    <a:pt x="97" y="3989"/>
                  </a:lnTo>
                  <a:lnTo>
                    <a:pt x="97" y="3998"/>
                  </a:lnTo>
                  <a:lnTo>
                    <a:pt x="88" y="3989"/>
                  </a:lnTo>
                  <a:lnTo>
                    <a:pt x="79" y="3989"/>
                  </a:lnTo>
                  <a:lnTo>
                    <a:pt x="79" y="3998"/>
                  </a:lnTo>
                  <a:lnTo>
                    <a:pt x="71" y="3998"/>
                  </a:lnTo>
                  <a:lnTo>
                    <a:pt x="71" y="4007"/>
                  </a:lnTo>
                  <a:lnTo>
                    <a:pt x="53" y="4016"/>
                  </a:lnTo>
                  <a:lnTo>
                    <a:pt x="44" y="4016"/>
                  </a:lnTo>
                  <a:lnTo>
                    <a:pt x="35" y="4024"/>
                  </a:lnTo>
                  <a:lnTo>
                    <a:pt x="26" y="4024"/>
                  </a:lnTo>
                  <a:lnTo>
                    <a:pt x="26" y="4033"/>
                  </a:lnTo>
                  <a:lnTo>
                    <a:pt x="35" y="4033"/>
                  </a:lnTo>
                  <a:lnTo>
                    <a:pt x="44" y="4033"/>
                  </a:lnTo>
                  <a:lnTo>
                    <a:pt x="53" y="4024"/>
                  </a:lnTo>
                  <a:lnTo>
                    <a:pt x="62" y="4024"/>
                  </a:lnTo>
                  <a:lnTo>
                    <a:pt x="71" y="4016"/>
                  </a:lnTo>
                  <a:lnTo>
                    <a:pt x="88" y="4016"/>
                  </a:lnTo>
                  <a:lnTo>
                    <a:pt x="97" y="4016"/>
                  </a:lnTo>
                  <a:lnTo>
                    <a:pt x="106" y="4007"/>
                  </a:lnTo>
                  <a:lnTo>
                    <a:pt x="115" y="3998"/>
                  </a:lnTo>
                  <a:lnTo>
                    <a:pt x="124" y="3998"/>
                  </a:lnTo>
                  <a:lnTo>
                    <a:pt x="132" y="3989"/>
                  </a:lnTo>
                  <a:close/>
                  <a:moveTo>
                    <a:pt x="141" y="3972"/>
                  </a:moveTo>
                  <a:lnTo>
                    <a:pt x="141" y="3980"/>
                  </a:lnTo>
                  <a:lnTo>
                    <a:pt x="141" y="3989"/>
                  </a:lnTo>
                  <a:lnTo>
                    <a:pt x="141" y="3980"/>
                  </a:lnTo>
                  <a:lnTo>
                    <a:pt x="150" y="3980"/>
                  </a:lnTo>
                  <a:lnTo>
                    <a:pt x="150" y="3972"/>
                  </a:lnTo>
                  <a:close/>
                  <a:moveTo>
                    <a:pt x="432" y="3857"/>
                  </a:moveTo>
                  <a:lnTo>
                    <a:pt x="423" y="3857"/>
                  </a:lnTo>
                  <a:lnTo>
                    <a:pt x="415" y="3866"/>
                  </a:lnTo>
                  <a:lnTo>
                    <a:pt x="423" y="3874"/>
                  </a:lnTo>
                  <a:lnTo>
                    <a:pt x="432" y="3874"/>
                  </a:lnTo>
                  <a:lnTo>
                    <a:pt x="432" y="3866"/>
                  </a:lnTo>
                  <a:close/>
                  <a:moveTo>
                    <a:pt x="176" y="3301"/>
                  </a:moveTo>
                  <a:lnTo>
                    <a:pt x="176" y="3292"/>
                  </a:lnTo>
                  <a:lnTo>
                    <a:pt x="168" y="3292"/>
                  </a:lnTo>
                  <a:lnTo>
                    <a:pt x="159" y="3292"/>
                  </a:lnTo>
                  <a:lnTo>
                    <a:pt x="150" y="3292"/>
                  </a:lnTo>
                  <a:lnTo>
                    <a:pt x="141" y="3283"/>
                  </a:lnTo>
                  <a:lnTo>
                    <a:pt x="132" y="3292"/>
                  </a:lnTo>
                  <a:lnTo>
                    <a:pt x="124" y="3283"/>
                  </a:lnTo>
                  <a:lnTo>
                    <a:pt x="115" y="3292"/>
                  </a:lnTo>
                  <a:lnTo>
                    <a:pt x="106" y="3292"/>
                  </a:lnTo>
                  <a:lnTo>
                    <a:pt x="97" y="3292"/>
                  </a:lnTo>
                  <a:lnTo>
                    <a:pt x="97" y="3301"/>
                  </a:lnTo>
                  <a:lnTo>
                    <a:pt x="62" y="3301"/>
                  </a:lnTo>
                  <a:lnTo>
                    <a:pt x="53" y="3301"/>
                  </a:lnTo>
                  <a:lnTo>
                    <a:pt x="62" y="3318"/>
                  </a:lnTo>
                  <a:lnTo>
                    <a:pt x="71" y="3327"/>
                  </a:lnTo>
                  <a:lnTo>
                    <a:pt x="79" y="3327"/>
                  </a:lnTo>
                  <a:lnTo>
                    <a:pt x="106" y="3345"/>
                  </a:lnTo>
                  <a:lnTo>
                    <a:pt x="132" y="3345"/>
                  </a:lnTo>
                  <a:lnTo>
                    <a:pt x="141" y="3354"/>
                  </a:lnTo>
                  <a:lnTo>
                    <a:pt x="150" y="3354"/>
                  </a:lnTo>
                  <a:lnTo>
                    <a:pt x="141" y="3345"/>
                  </a:lnTo>
                  <a:lnTo>
                    <a:pt x="150" y="3345"/>
                  </a:lnTo>
                  <a:lnTo>
                    <a:pt x="159" y="3336"/>
                  </a:lnTo>
                  <a:lnTo>
                    <a:pt x="176" y="3336"/>
                  </a:lnTo>
                  <a:lnTo>
                    <a:pt x="185" y="3336"/>
                  </a:lnTo>
                  <a:lnTo>
                    <a:pt x="185" y="3327"/>
                  </a:lnTo>
                  <a:lnTo>
                    <a:pt x="176" y="3318"/>
                  </a:lnTo>
                  <a:lnTo>
                    <a:pt x="176" y="3310"/>
                  </a:lnTo>
                  <a:close/>
                  <a:moveTo>
                    <a:pt x="644" y="6715"/>
                  </a:moveTo>
                  <a:lnTo>
                    <a:pt x="644" y="6706"/>
                  </a:lnTo>
                  <a:lnTo>
                    <a:pt x="644" y="6698"/>
                  </a:lnTo>
                  <a:lnTo>
                    <a:pt x="626" y="6698"/>
                  </a:lnTo>
                  <a:lnTo>
                    <a:pt x="618" y="6706"/>
                  </a:lnTo>
                  <a:lnTo>
                    <a:pt x="609" y="6715"/>
                  </a:lnTo>
                  <a:lnTo>
                    <a:pt x="618" y="6715"/>
                  </a:lnTo>
                  <a:lnTo>
                    <a:pt x="626" y="6724"/>
                  </a:lnTo>
                  <a:lnTo>
                    <a:pt x="635" y="6724"/>
                  </a:lnTo>
                  <a:lnTo>
                    <a:pt x="644" y="6724"/>
                  </a:lnTo>
                  <a:close/>
                  <a:moveTo>
                    <a:pt x="644" y="3857"/>
                  </a:moveTo>
                  <a:lnTo>
                    <a:pt x="635" y="3848"/>
                  </a:lnTo>
                  <a:lnTo>
                    <a:pt x="635" y="3857"/>
                  </a:lnTo>
                  <a:close/>
                  <a:moveTo>
                    <a:pt x="618" y="9919"/>
                  </a:moveTo>
                  <a:lnTo>
                    <a:pt x="609" y="9919"/>
                  </a:lnTo>
                  <a:lnTo>
                    <a:pt x="609" y="9928"/>
                  </a:lnTo>
                  <a:lnTo>
                    <a:pt x="618" y="9928"/>
                  </a:lnTo>
                  <a:close/>
                  <a:moveTo>
                    <a:pt x="556" y="3830"/>
                  </a:moveTo>
                  <a:lnTo>
                    <a:pt x="556" y="3822"/>
                  </a:lnTo>
                  <a:lnTo>
                    <a:pt x="547" y="3822"/>
                  </a:lnTo>
                  <a:lnTo>
                    <a:pt x="547" y="3813"/>
                  </a:lnTo>
                  <a:lnTo>
                    <a:pt x="538" y="3822"/>
                  </a:lnTo>
                  <a:lnTo>
                    <a:pt x="538" y="3839"/>
                  </a:lnTo>
                  <a:lnTo>
                    <a:pt x="547" y="3839"/>
                  </a:lnTo>
                  <a:lnTo>
                    <a:pt x="556" y="3839"/>
                  </a:lnTo>
                  <a:lnTo>
                    <a:pt x="565" y="3839"/>
                  </a:lnTo>
                  <a:close/>
                  <a:moveTo>
                    <a:pt x="626" y="3848"/>
                  </a:moveTo>
                  <a:lnTo>
                    <a:pt x="635" y="3848"/>
                  </a:lnTo>
                  <a:lnTo>
                    <a:pt x="635" y="3839"/>
                  </a:lnTo>
                  <a:lnTo>
                    <a:pt x="626" y="3830"/>
                  </a:lnTo>
                  <a:lnTo>
                    <a:pt x="626" y="3839"/>
                  </a:lnTo>
                  <a:close/>
                  <a:moveTo>
                    <a:pt x="556" y="3822"/>
                  </a:moveTo>
                  <a:lnTo>
                    <a:pt x="565" y="3830"/>
                  </a:lnTo>
                  <a:lnTo>
                    <a:pt x="573" y="3830"/>
                  </a:lnTo>
                  <a:lnTo>
                    <a:pt x="573" y="3822"/>
                  </a:lnTo>
                  <a:close/>
                  <a:moveTo>
                    <a:pt x="600" y="3839"/>
                  </a:moveTo>
                  <a:lnTo>
                    <a:pt x="609" y="3830"/>
                  </a:lnTo>
                  <a:lnTo>
                    <a:pt x="600" y="3830"/>
                  </a:lnTo>
                  <a:lnTo>
                    <a:pt x="600" y="3839"/>
                  </a:lnTo>
                  <a:lnTo>
                    <a:pt x="591" y="3839"/>
                  </a:lnTo>
                  <a:lnTo>
                    <a:pt x="591" y="3848"/>
                  </a:lnTo>
                  <a:lnTo>
                    <a:pt x="582" y="3848"/>
                  </a:lnTo>
                  <a:lnTo>
                    <a:pt x="582" y="3857"/>
                  </a:lnTo>
                  <a:lnTo>
                    <a:pt x="582" y="3866"/>
                  </a:lnTo>
                  <a:lnTo>
                    <a:pt x="591" y="3857"/>
                  </a:lnTo>
                  <a:lnTo>
                    <a:pt x="600" y="3848"/>
                  </a:lnTo>
                  <a:lnTo>
                    <a:pt x="609" y="3848"/>
                  </a:lnTo>
                  <a:lnTo>
                    <a:pt x="609" y="3839"/>
                  </a:lnTo>
                  <a:close/>
                  <a:moveTo>
                    <a:pt x="582" y="6724"/>
                  </a:moveTo>
                  <a:lnTo>
                    <a:pt x="582" y="6733"/>
                  </a:lnTo>
                  <a:lnTo>
                    <a:pt x="582" y="6724"/>
                  </a:lnTo>
                  <a:lnTo>
                    <a:pt x="591" y="6724"/>
                  </a:lnTo>
                  <a:lnTo>
                    <a:pt x="591" y="6715"/>
                  </a:lnTo>
                  <a:close/>
                  <a:moveTo>
                    <a:pt x="11813" y="3627"/>
                  </a:moveTo>
                  <a:lnTo>
                    <a:pt x="11813" y="3636"/>
                  </a:lnTo>
                  <a:lnTo>
                    <a:pt x="11822" y="3636"/>
                  </a:lnTo>
                  <a:lnTo>
                    <a:pt x="11822" y="3610"/>
                  </a:lnTo>
                  <a:lnTo>
                    <a:pt x="11813" y="3610"/>
                  </a:lnTo>
                  <a:lnTo>
                    <a:pt x="11813" y="3619"/>
                  </a:lnTo>
                  <a:close/>
                  <a:moveTo>
                    <a:pt x="12290" y="3248"/>
                  </a:moveTo>
                  <a:lnTo>
                    <a:pt x="12298" y="3248"/>
                  </a:lnTo>
                  <a:lnTo>
                    <a:pt x="12298" y="3239"/>
                  </a:lnTo>
                  <a:lnTo>
                    <a:pt x="12290" y="3239"/>
                  </a:lnTo>
                  <a:close/>
                  <a:moveTo>
                    <a:pt x="12140" y="3407"/>
                  </a:moveTo>
                  <a:lnTo>
                    <a:pt x="12148" y="3407"/>
                  </a:lnTo>
                  <a:lnTo>
                    <a:pt x="12148" y="3416"/>
                  </a:lnTo>
                  <a:lnTo>
                    <a:pt x="12157" y="3416"/>
                  </a:lnTo>
                  <a:lnTo>
                    <a:pt x="12148" y="3407"/>
                  </a:lnTo>
                  <a:lnTo>
                    <a:pt x="12140" y="3398"/>
                  </a:lnTo>
                  <a:lnTo>
                    <a:pt x="12131" y="3398"/>
                  </a:lnTo>
                  <a:close/>
                  <a:moveTo>
                    <a:pt x="12281" y="3274"/>
                  </a:moveTo>
                  <a:lnTo>
                    <a:pt x="12281" y="3265"/>
                  </a:lnTo>
                  <a:lnTo>
                    <a:pt x="12281" y="3257"/>
                  </a:lnTo>
                  <a:lnTo>
                    <a:pt x="12281" y="3248"/>
                  </a:lnTo>
                  <a:lnTo>
                    <a:pt x="12272" y="3265"/>
                  </a:lnTo>
                  <a:close/>
                  <a:moveTo>
                    <a:pt x="6458" y="2904"/>
                  </a:moveTo>
                  <a:lnTo>
                    <a:pt x="6458" y="2895"/>
                  </a:lnTo>
                  <a:lnTo>
                    <a:pt x="6440" y="2886"/>
                  </a:lnTo>
                  <a:lnTo>
                    <a:pt x="6432" y="2886"/>
                  </a:lnTo>
                  <a:lnTo>
                    <a:pt x="6432" y="2877"/>
                  </a:lnTo>
                  <a:lnTo>
                    <a:pt x="6423" y="2868"/>
                  </a:lnTo>
                  <a:lnTo>
                    <a:pt x="6414" y="2860"/>
                  </a:lnTo>
                  <a:lnTo>
                    <a:pt x="6405" y="2860"/>
                  </a:lnTo>
                  <a:lnTo>
                    <a:pt x="6405" y="2868"/>
                  </a:lnTo>
                  <a:lnTo>
                    <a:pt x="6396" y="2868"/>
                  </a:lnTo>
                  <a:lnTo>
                    <a:pt x="6379" y="2868"/>
                  </a:lnTo>
                  <a:lnTo>
                    <a:pt x="6352" y="2868"/>
                  </a:lnTo>
                  <a:lnTo>
                    <a:pt x="6334" y="2868"/>
                  </a:lnTo>
                  <a:lnTo>
                    <a:pt x="6352" y="2860"/>
                  </a:lnTo>
                  <a:lnTo>
                    <a:pt x="6352" y="2851"/>
                  </a:lnTo>
                  <a:lnTo>
                    <a:pt x="6343" y="2824"/>
                  </a:lnTo>
                  <a:lnTo>
                    <a:pt x="6334" y="2807"/>
                  </a:lnTo>
                  <a:lnTo>
                    <a:pt x="6326" y="2798"/>
                  </a:lnTo>
                  <a:lnTo>
                    <a:pt x="6317" y="2789"/>
                  </a:lnTo>
                  <a:lnTo>
                    <a:pt x="6308" y="2789"/>
                  </a:lnTo>
                  <a:lnTo>
                    <a:pt x="6290" y="2780"/>
                  </a:lnTo>
                  <a:lnTo>
                    <a:pt x="6282" y="2780"/>
                  </a:lnTo>
                  <a:lnTo>
                    <a:pt x="6255" y="2762"/>
                  </a:lnTo>
                  <a:lnTo>
                    <a:pt x="6237" y="2762"/>
                  </a:lnTo>
                  <a:lnTo>
                    <a:pt x="6229" y="2745"/>
                  </a:lnTo>
                  <a:lnTo>
                    <a:pt x="6220" y="2736"/>
                  </a:lnTo>
                  <a:lnTo>
                    <a:pt x="6202" y="2736"/>
                  </a:lnTo>
                  <a:lnTo>
                    <a:pt x="6193" y="2736"/>
                  </a:lnTo>
                  <a:lnTo>
                    <a:pt x="6176" y="2727"/>
                  </a:lnTo>
                  <a:lnTo>
                    <a:pt x="6167" y="2718"/>
                  </a:lnTo>
                  <a:lnTo>
                    <a:pt x="6167" y="2709"/>
                  </a:lnTo>
                  <a:lnTo>
                    <a:pt x="6149" y="2701"/>
                  </a:lnTo>
                  <a:lnTo>
                    <a:pt x="6140" y="2701"/>
                  </a:lnTo>
                  <a:lnTo>
                    <a:pt x="6123" y="2718"/>
                  </a:lnTo>
                  <a:lnTo>
                    <a:pt x="6123" y="2727"/>
                  </a:lnTo>
                  <a:lnTo>
                    <a:pt x="6114" y="2727"/>
                  </a:lnTo>
                  <a:lnTo>
                    <a:pt x="6105" y="2701"/>
                  </a:lnTo>
                  <a:lnTo>
                    <a:pt x="6087" y="2692"/>
                  </a:lnTo>
                  <a:lnTo>
                    <a:pt x="6096" y="2692"/>
                  </a:lnTo>
                  <a:lnTo>
                    <a:pt x="6096" y="2683"/>
                  </a:lnTo>
                  <a:lnTo>
                    <a:pt x="6105" y="2683"/>
                  </a:lnTo>
                  <a:lnTo>
                    <a:pt x="6096" y="2674"/>
                  </a:lnTo>
                  <a:lnTo>
                    <a:pt x="6096" y="2665"/>
                  </a:lnTo>
                  <a:lnTo>
                    <a:pt x="6087" y="2657"/>
                  </a:lnTo>
                  <a:lnTo>
                    <a:pt x="6079" y="2657"/>
                  </a:lnTo>
                  <a:lnTo>
                    <a:pt x="6070" y="2648"/>
                  </a:lnTo>
                  <a:lnTo>
                    <a:pt x="6061" y="2648"/>
                  </a:lnTo>
                  <a:lnTo>
                    <a:pt x="6052" y="2657"/>
                  </a:lnTo>
                  <a:lnTo>
                    <a:pt x="6035" y="2674"/>
                  </a:lnTo>
                  <a:lnTo>
                    <a:pt x="6035" y="2692"/>
                  </a:lnTo>
                  <a:lnTo>
                    <a:pt x="6026" y="2701"/>
                  </a:lnTo>
                  <a:lnTo>
                    <a:pt x="6026" y="2754"/>
                  </a:lnTo>
                  <a:lnTo>
                    <a:pt x="6017" y="2771"/>
                  </a:lnTo>
                  <a:lnTo>
                    <a:pt x="6008" y="2798"/>
                  </a:lnTo>
                  <a:lnTo>
                    <a:pt x="6008" y="2807"/>
                  </a:lnTo>
                  <a:lnTo>
                    <a:pt x="6008" y="2815"/>
                  </a:lnTo>
                  <a:lnTo>
                    <a:pt x="6008" y="2833"/>
                  </a:lnTo>
                  <a:lnTo>
                    <a:pt x="6017" y="2842"/>
                  </a:lnTo>
                  <a:lnTo>
                    <a:pt x="6017" y="2851"/>
                  </a:lnTo>
                  <a:lnTo>
                    <a:pt x="6017" y="2860"/>
                  </a:lnTo>
                  <a:lnTo>
                    <a:pt x="6008" y="2868"/>
                  </a:lnTo>
                  <a:lnTo>
                    <a:pt x="5973" y="2886"/>
                  </a:lnTo>
                  <a:lnTo>
                    <a:pt x="5964" y="2886"/>
                  </a:lnTo>
                  <a:lnTo>
                    <a:pt x="5964" y="2895"/>
                  </a:lnTo>
                  <a:lnTo>
                    <a:pt x="5955" y="2904"/>
                  </a:lnTo>
                  <a:lnTo>
                    <a:pt x="5946" y="2912"/>
                  </a:lnTo>
                  <a:lnTo>
                    <a:pt x="5946" y="2921"/>
                  </a:lnTo>
                  <a:lnTo>
                    <a:pt x="5955" y="2921"/>
                  </a:lnTo>
                  <a:lnTo>
                    <a:pt x="5973" y="2921"/>
                  </a:lnTo>
                  <a:lnTo>
                    <a:pt x="5990" y="2912"/>
                  </a:lnTo>
                  <a:lnTo>
                    <a:pt x="6017" y="2912"/>
                  </a:lnTo>
                  <a:lnTo>
                    <a:pt x="6052" y="2904"/>
                  </a:lnTo>
                  <a:lnTo>
                    <a:pt x="6052" y="2912"/>
                  </a:lnTo>
                  <a:lnTo>
                    <a:pt x="6061" y="2912"/>
                  </a:lnTo>
                  <a:lnTo>
                    <a:pt x="6070" y="2957"/>
                  </a:lnTo>
                  <a:lnTo>
                    <a:pt x="6070" y="2974"/>
                  </a:lnTo>
                  <a:lnTo>
                    <a:pt x="6079" y="2974"/>
                  </a:lnTo>
                  <a:lnTo>
                    <a:pt x="6096" y="2974"/>
                  </a:lnTo>
                  <a:lnTo>
                    <a:pt x="6114" y="2965"/>
                  </a:lnTo>
                  <a:lnTo>
                    <a:pt x="6123" y="2965"/>
                  </a:lnTo>
                  <a:lnTo>
                    <a:pt x="6140" y="2957"/>
                  </a:lnTo>
                  <a:lnTo>
                    <a:pt x="6140" y="2948"/>
                  </a:lnTo>
                  <a:lnTo>
                    <a:pt x="6149" y="2948"/>
                  </a:lnTo>
                  <a:lnTo>
                    <a:pt x="6158" y="2930"/>
                  </a:lnTo>
                  <a:lnTo>
                    <a:pt x="6158" y="2921"/>
                  </a:lnTo>
                  <a:lnTo>
                    <a:pt x="6167" y="2921"/>
                  </a:lnTo>
                  <a:lnTo>
                    <a:pt x="6176" y="2921"/>
                  </a:lnTo>
                  <a:lnTo>
                    <a:pt x="6184" y="2912"/>
                  </a:lnTo>
                  <a:lnTo>
                    <a:pt x="6202" y="2895"/>
                  </a:lnTo>
                  <a:lnTo>
                    <a:pt x="6211" y="2886"/>
                  </a:lnTo>
                  <a:lnTo>
                    <a:pt x="6211" y="2868"/>
                  </a:lnTo>
                  <a:lnTo>
                    <a:pt x="6220" y="2860"/>
                  </a:lnTo>
                  <a:lnTo>
                    <a:pt x="6237" y="2860"/>
                  </a:lnTo>
                  <a:lnTo>
                    <a:pt x="6246" y="2851"/>
                  </a:lnTo>
                  <a:lnTo>
                    <a:pt x="6255" y="2851"/>
                  </a:lnTo>
                  <a:lnTo>
                    <a:pt x="6255" y="2860"/>
                  </a:lnTo>
                  <a:lnTo>
                    <a:pt x="6255" y="2868"/>
                  </a:lnTo>
                  <a:lnTo>
                    <a:pt x="6264" y="2877"/>
                  </a:lnTo>
                  <a:lnTo>
                    <a:pt x="6290" y="2877"/>
                  </a:lnTo>
                  <a:lnTo>
                    <a:pt x="6299" y="2886"/>
                  </a:lnTo>
                  <a:lnTo>
                    <a:pt x="6299" y="2904"/>
                  </a:lnTo>
                  <a:lnTo>
                    <a:pt x="6317" y="2912"/>
                  </a:lnTo>
                  <a:lnTo>
                    <a:pt x="6334" y="2912"/>
                  </a:lnTo>
                  <a:lnTo>
                    <a:pt x="6379" y="2930"/>
                  </a:lnTo>
                  <a:lnTo>
                    <a:pt x="6387" y="2930"/>
                  </a:lnTo>
                  <a:lnTo>
                    <a:pt x="6396" y="2939"/>
                  </a:lnTo>
                  <a:lnTo>
                    <a:pt x="6405" y="2939"/>
                  </a:lnTo>
                  <a:lnTo>
                    <a:pt x="6405" y="2930"/>
                  </a:lnTo>
                  <a:lnTo>
                    <a:pt x="6423" y="2921"/>
                  </a:lnTo>
                  <a:lnTo>
                    <a:pt x="6440" y="2912"/>
                  </a:lnTo>
                  <a:close/>
                  <a:moveTo>
                    <a:pt x="12237" y="3301"/>
                  </a:moveTo>
                  <a:lnTo>
                    <a:pt x="12245" y="3301"/>
                  </a:lnTo>
                  <a:lnTo>
                    <a:pt x="12245" y="3310"/>
                  </a:lnTo>
                  <a:lnTo>
                    <a:pt x="12254" y="3310"/>
                  </a:lnTo>
                  <a:lnTo>
                    <a:pt x="12263" y="3310"/>
                  </a:lnTo>
                  <a:lnTo>
                    <a:pt x="12263" y="3318"/>
                  </a:lnTo>
                  <a:lnTo>
                    <a:pt x="12263" y="3327"/>
                  </a:lnTo>
                  <a:lnTo>
                    <a:pt x="12254" y="3336"/>
                  </a:lnTo>
                  <a:lnTo>
                    <a:pt x="12263" y="3345"/>
                  </a:lnTo>
                  <a:lnTo>
                    <a:pt x="12263" y="3336"/>
                  </a:lnTo>
                  <a:lnTo>
                    <a:pt x="12263" y="3327"/>
                  </a:lnTo>
                  <a:lnTo>
                    <a:pt x="12272" y="3327"/>
                  </a:lnTo>
                  <a:lnTo>
                    <a:pt x="12272" y="3318"/>
                  </a:lnTo>
                  <a:lnTo>
                    <a:pt x="12272" y="3310"/>
                  </a:lnTo>
                  <a:lnTo>
                    <a:pt x="12272" y="3301"/>
                  </a:lnTo>
                  <a:lnTo>
                    <a:pt x="12281" y="3283"/>
                  </a:lnTo>
                  <a:lnTo>
                    <a:pt x="12272" y="3283"/>
                  </a:lnTo>
                  <a:lnTo>
                    <a:pt x="12263" y="3274"/>
                  </a:lnTo>
                  <a:lnTo>
                    <a:pt x="12263" y="3265"/>
                  </a:lnTo>
                  <a:lnTo>
                    <a:pt x="12263" y="3257"/>
                  </a:lnTo>
                  <a:lnTo>
                    <a:pt x="12254" y="3257"/>
                  </a:lnTo>
                  <a:lnTo>
                    <a:pt x="12254" y="3265"/>
                  </a:lnTo>
                  <a:lnTo>
                    <a:pt x="12245" y="3265"/>
                  </a:lnTo>
                  <a:lnTo>
                    <a:pt x="12245" y="3274"/>
                  </a:lnTo>
                  <a:lnTo>
                    <a:pt x="12254" y="3274"/>
                  </a:lnTo>
                  <a:lnTo>
                    <a:pt x="12254" y="3292"/>
                  </a:lnTo>
                  <a:lnTo>
                    <a:pt x="12245" y="3292"/>
                  </a:lnTo>
                  <a:close/>
                  <a:moveTo>
                    <a:pt x="12722" y="4033"/>
                  </a:moveTo>
                  <a:lnTo>
                    <a:pt x="12731" y="4024"/>
                  </a:lnTo>
                  <a:close/>
                  <a:moveTo>
                    <a:pt x="12634" y="4192"/>
                  </a:moveTo>
                  <a:lnTo>
                    <a:pt x="12642" y="4192"/>
                  </a:lnTo>
                  <a:lnTo>
                    <a:pt x="12651" y="4192"/>
                  </a:lnTo>
                  <a:lnTo>
                    <a:pt x="12660" y="4192"/>
                  </a:lnTo>
                  <a:lnTo>
                    <a:pt x="12651" y="4192"/>
                  </a:lnTo>
                  <a:lnTo>
                    <a:pt x="12651" y="4183"/>
                  </a:lnTo>
                  <a:lnTo>
                    <a:pt x="12634" y="4183"/>
                  </a:lnTo>
                  <a:close/>
                  <a:moveTo>
                    <a:pt x="12713" y="4060"/>
                  </a:moveTo>
                  <a:lnTo>
                    <a:pt x="12713" y="4051"/>
                  </a:lnTo>
                  <a:lnTo>
                    <a:pt x="12713" y="4042"/>
                  </a:lnTo>
                  <a:lnTo>
                    <a:pt x="12704" y="4051"/>
                  </a:lnTo>
                  <a:lnTo>
                    <a:pt x="12704" y="4060"/>
                  </a:lnTo>
                  <a:close/>
                  <a:moveTo>
                    <a:pt x="12175" y="3407"/>
                  </a:moveTo>
                  <a:lnTo>
                    <a:pt x="12184" y="3407"/>
                  </a:lnTo>
                  <a:lnTo>
                    <a:pt x="12175" y="3407"/>
                  </a:lnTo>
                  <a:lnTo>
                    <a:pt x="12166" y="3407"/>
                  </a:lnTo>
                  <a:lnTo>
                    <a:pt x="12166" y="3416"/>
                  </a:lnTo>
                  <a:close/>
                  <a:moveTo>
                    <a:pt x="12166" y="4404"/>
                  </a:moveTo>
                  <a:lnTo>
                    <a:pt x="12175" y="4404"/>
                  </a:lnTo>
                  <a:lnTo>
                    <a:pt x="12175" y="4395"/>
                  </a:lnTo>
                  <a:close/>
                  <a:moveTo>
                    <a:pt x="12193" y="4422"/>
                  </a:moveTo>
                  <a:lnTo>
                    <a:pt x="12193" y="4430"/>
                  </a:lnTo>
                  <a:lnTo>
                    <a:pt x="12201" y="4430"/>
                  </a:lnTo>
                  <a:lnTo>
                    <a:pt x="12210" y="4430"/>
                  </a:lnTo>
                  <a:lnTo>
                    <a:pt x="12210" y="4422"/>
                  </a:lnTo>
                  <a:lnTo>
                    <a:pt x="12201" y="4422"/>
                  </a:lnTo>
                  <a:close/>
                  <a:moveTo>
                    <a:pt x="11972" y="3813"/>
                  </a:moveTo>
                  <a:lnTo>
                    <a:pt x="11981" y="3813"/>
                  </a:lnTo>
                  <a:lnTo>
                    <a:pt x="11981" y="3804"/>
                  </a:lnTo>
                  <a:lnTo>
                    <a:pt x="11981" y="3795"/>
                  </a:lnTo>
                  <a:lnTo>
                    <a:pt x="11981" y="3786"/>
                  </a:lnTo>
                  <a:lnTo>
                    <a:pt x="11972" y="3786"/>
                  </a:lnTo>
                  <a:lnTo>
                    <a:pt x="11963" y="3786"/>
                  </a:lnTo>
                  <a:lnTo>
                    <a:pt x="11963" y="3795"/>
                  </a:lnTo>
                  <a:lnTo>
                    <a:pt x="11963" y="3813"/>
                  </a:lnTo>
                  <a:close/>
                  <a:moveTo>
                    <a:pt x="12263" y="4280"/>
                  </a:moveTo>
                  <a:lnTo>
                    <a:pt x="12254" y="4280"/>
                  </a:lnTo>
                  <a:lnTo>
                    <a:pt x="12245" y="4280"/>
                  </a:lnTo>
                  <a:lnTo>
                    <a:pt x="12245" y="4289"/>
                  </a:lnTo>
                  <a:lnTo>
                    <a:pt x="12263" y="4298"/>
                  </a:lnTo>
                  <a:lnTo>
                    <a:pt x="12272" y="4298"/>
                  </a:lnTo>
                  <a:lnTo>
                    <a:pt x="12272" y="4289"/>
                  </a:lnTo>
                  <a:lnTo>
                    <a:pt x="12281" y="4289"/>
                  </a:lnTo>
                  <a:lnTo>
                    <a:pt x="12272" y="4280"/>
                  </a:lnTo>
                  <a:close/>
                  <a:moveTo>
                    <a:pt x="12113" y="3460"/>
                  </a:moveTo>
                  <a:lnTo>
                    <a:pt x="12122" y="3460"/>
                  </a:lnTo>
                  <a:lnTo>
                    <a:pt x="12122" y="3451"/>
                  </a:lnTo>
                  <a:lnTo>
                    <a:pt x="12113" y="3451"/>
                  </a:lnTo>
                  <a:lnTo>
                    <a:pt x="12113" y="3442"/>
                  </a:lnTo>
                  <a:lnTo>
                    <a:pt x="12104" y="3451"/>
                  </a:lnTo>
                  <a:lnTo>
                    <a:pt x="12113" y="3451"/>
                  </a:lnTo>
                  <a:close/>
                  <a:moveTo>
                    <a:pt x="11945" y="3619"/>
                  </a:moveTo>
                  <a:lnTo>
                    <a:pt x="11945" y="3627"/>
                  </a:lnTo>
                  <a:lnTo>
                    <a:pt x="11945" y="3636"/>
                  </a:lnTo>
                  <a:lnTo>
                    <a:pt x="11937" y="3654"/>
                  </a:lnTo>
                  <a:lnTo>
                    <a:pt x="11928" y="3663"/>
                  </a:lnTo>
                  <a:lnTo>
                    <a:pt x="11937" y="3663"/>
                  </a:lnTo>
                  <a:lnTo>
                    <a:pt x="11928" y="3671"/>
                  </a:lnTo>
                  <a:lnTo>
                    <a:pt x="11910" y="3671"/>
                  </a:lnTo>
                  <a:lnTo>
                    <a:pt x="11910" y="3680"/>
                  </a:lnTo>
                  <a:lnTo>
                    <a:pt x="11919" y="3680"/>
                  </a:lnTo>
                  <a:lnTo>
                    <a:pt x="11919" y="3689"/>
                  </a:lnTo>
                  <a:lnTo>
                    <a:pt x="11928" y="3698"/>
                  </a:lnTo>
                  <a:lnTo>
                    <a:pt x="11937" y="3698"/>
                  </a:lnTo>
                  <a:lnTo>
                    <a:pt x="11945" y="3698"/>
                  </a:lnTo>
                  <a:lnTo>
                    <a:pt x="11972" y="3680"/>
                  </a:lnTo>
                  <a:lnTo>
                    <a:pt x="11981" y="3671"/>
                  </a:lnTo>
                  <a:lnTo>
                    <a:pt x="11972" y="3680"/>
                  </a:lnTo>
                  <a:lnTo>
                    <a:pt x="11963" y="3689"/>
                  </a:lnTo>
                  <a:lnTo>
                    <a:pt x="11963" y="3698"/>
                  </a:lnTo>
                  <a:lnTo>
                    <a:pt x="11954" y="3707"/>
                  </a:lnTo>
                  <a:lnTo>
                    <a:pt x="11954" y="3716"/>
                  </a:lnTo>
                  <a:lnTo>
                    <a:pt x="11954" y="3724"/>
                  </a:lnTo>
                  <a:lnTo>
                    <a:pt x="11945" y="3742"/>
                  </a:lnTo>
                  <a:lnTo>
                    <a:pt x="11945" y="3751"/>
                  </a:lnTo>
                  <a:lnTo>
                    <a:pt x="11945" y="3777"/>
                  </a:lnTo>
                  <a:lnTo>
                    <a:pt x="11954" y="3777"/>
                  </a:lnTo>
                  <a:lnTo>
                    <a:pt x="11945" y="3786"/>
                  </a:lnTo>
                  <a:lnTo>
                    <a:pt x="11937" y="3795"/>
                  </a:lnTo>
                  <a:lnTo>
                    <a:pt x="11937" y="3813"/>
                  </a:lnTo>
                  <a:lnTo>
                    <a:pt x="11937" y="3822"/>
                  </a:lnTo>
                  <a:lnTo>
                    <a:pt x="11945" y="3822"/>
                  </a:lnTo>
                  <a:lnTo>
                    <a:pt x="11963" y="3777"/>
                  </a:lnTo>
                  <a:lnTo>
                    <a:pt x="11963" y="3769"/>
                  </a:lnTo>
                  <a:lnTo>
                    <a:pt x="11963" y="3760"/>
                  </a:lnTo>
                  <a:lnTo>
                    <a:pt x="11963" y="3751"/>
                  </a:lnTo>
                  <a:lnTo>
                    <a:pt x="11972" y="3742"/>
                  </a:lnTo>
                  <a:lnTo>
                    <a:pt x="11981" y="3733"/>
                  </a:lnTo>
                  <a:lnTo>
                    <a:pt x="11990" y="3733"/>
                  </a:lnTo>
                  <a:lnTo>
                    <a:pt x="11981" y="3742"/>
                  </a:lnTo>
                  <a:lnTo>
                    <a:pt x="11972" y="3751"/>
                  </a:lnTo>
                  <a:lnTo>
                    <a:pt x="11972" y="3760"/>
                  </a:lnTo>
                  <a:lnTo>
                    <a:pt x="11972" y="3769"/>
                  </a:lnTo>
                  <a:lnTo>
                    <a:pt x="11972" y="3760"/>
                  </a:lnTo>
                  <a:lnTo>
                    <a:pt x="11981" y="3760"/>
                  </a:lnTo>
                  <a:lnTo>
                    <a:pt x="11990" y="3751"/>
                  </a:lnTo>
                  <a:lnTo>
                    <a:pt x="11998" y="3751"/>
                  </a:lnTo>
                  <a:lnTo>
                    <a:pt x="11998" y="3742"/>
                  </a:lnTo>
                  <a:lnTo>
                    <a:pt x="12007" y="3742"/>
                  </a:lnTo>
                  <a:lnTo>
                    <a:pt x="11998" y="3742"/>
                  </a:lnTo>
                  <a:lnTo>
                    <a:pt x="11998" y="3751"/>
                  </a:lnTo>
                  <a:lnTo>
                    <a:pt x="12016" y="3760"/>
                  </a:lnTo>
                  <a:lnTo>
                    <a:pt x="12025" y="3760"/>
                  </a:lnTo>
                  <a:lnTo>
                    <a:pt x="12007" y="3760"/>
                  </a:lnTo>
                  <a:lnTo>
                    <a:pt x="11998" y="3769"/>
                  </a:lnTo>
                  <a:lnTo>
                    <a:pt x="11998" y="3777"/>
                  </a:lnTo>
                  <a:lnTo>
                    <a:pt x="11998" y="3786"/>
                  </a:lnTo>
                  <a:lnTo>
                    <a:pt x="12007" y="3795"/>
                  </a:lnTo>
                  <a:lnTo>
                    <a:pt x="12016" y="3804"/>
                  </a:lnTo>
                  <a:lnTo>
                    <a:pt x="12007" y="3813"/>
                  </a:lnTo>
                  <a:lnTo>
                    <a:pt x="12007" y="3822"/>
                  </a:lnTo>
                  <a:lnTo>
                    <a:pt x="11990" y="3839"/>
                  </a:lnTo>
                  <a:lnTo>
                    <a:pt x="11990" y="3857"/>
                  </a:lnTo>
                  <a:lnTo>
                    <a:pt x="11981" y="3857"/>
                  </a:lnTo>
                  <a:lnTo>
                    <a:pt x="11981" y="3866"/>
                  </a:lnTo>
                  <a:lnTo>
                    <a:pt x="11981" y="3874"/>
                  </a:lnTo>
                  <a:lnTo>
                    <a:pt x="11990" y="3883"/>
                  </a:lnTo>
                  <a:lnTo>
                    <a:pt x="11998" y="3892"/>
                  </a:lnTo>
                  <a:lnTo>
                    <a:pt x="11998" y="3883"/>
                  </a:lnTo>
                  <a:lnTo>
                    <a:pt x="11998" y="3874"/>
                  </a:lnTo>
                  <a:lnTo>
                    <a:pt x="12007" y="3874"/>
                  </a:lnTo>
                  <a:lnTo>
                    <a:pt x="12016" y="3883"/>
                  </a:lnTo>
                  <a:lnTo>
                    <a:pt x="12025" y="3883"/>
                  </a:lnTo>
                  <a:lnTo>
                    <a:pt x="12034" y="3883"/>
                  </a:lnTo>
                  <a:lnTo>
                    <a:pt x="12043" y="3874"/>
                  </a:lnTo>
                  <a:lnTo>
                    <a:pt x="12051" y="3874"/>
                  </a:lnTo>
                  <a:lnTo>
                    <a:pt x="12051" y="3883"/>
                  </a:lnTo>
                  <a:lnTo>
                    <a:pt x="12060" y="3883"/>
                  </a:lnTo>
                  <a:lnTo>
                    <a:pt x="12069" y="3883"/>
                  </a:lnTo>
                  <a:lnTo>
                    <a:pt x="12069" y="3874"/>
                  </a:lnTo>
                  <a:lnTo>
                    <a:pt x="12078" y="3874"/>
                  </a:lnTo>
                  <a:lnTo>
                    <a:pt x="12087" y="3874"/>
                  </a:lnTo>
                  <a:lnTo>
                    <a:pt x="12087" y="3866"/>
                  </a:lnTo>
                  <a:lnTo>
                    <a:pt x="12095" y="3866"/>
                  </a:lnTo>
                  <a:lnTo>
                    <a:pt x="12104" y="3866"/>
                  </a:lnTo>
                  <a:lnTo>
                    <a:pt x="12131" y="3866"/>
                  </a:lnTo>
                  <a:lnTo>
                    <a:pt x="12122" y="3866"/>
                  </a:lnTo>
                  <a:lnTo>
                    <a:pt x="12104" y="3883"/>
                  </a:lnTo>
                  <a:lnTo>
                    <a:pt x="12095" y="3901"/>
                  </a:lnTo>
                  <a:lnTo>
                    <a:pt x="12095" y="3910"/>
                  </a:lnTo>
                  <a:lnTo>
                    <a:pt x="12104" y="3927"/>
                  </a:lnTo>
                  <a:lnTo>
                    <a:pt x="12113" y="3936"/>
                  </a:lnTo>
                  <a:lnTo>
                    <a:pt x="12122" y="3945"/>
                  </a:lnTo>
                  <a:lnTo>
                    <a:pt x="12131" y="3945"/>
                  </a:lnTo>
                  <a:lnTo>
                    <a:pt x="12140" y="3945"/>
                  </a:lnTo>
                  <a:lnTo>
                    <a:pt x="12148" y="3945"/>
                  </a:lnTo>
                  <a:lnTo>
                    <a:pt x="12148" y="3954"/>
                  </a:lnTo>
                  <a:lnTo>
                    <a:pt x="12148" y="3963"/>
                  </a:lnTo>
                  <a:lnTo>
                    <a:pt x="12140" y="3972"/>
                  </a:lnTo>
                  <a:lnTo>
                    <a:pt x="12131" y="3972"/>
                  </a:lnTo>
                  <a:lnTo>
                    <a:pt x="12131" y="3980"/>
                  </a:lnTo>
                  <a:lnTo>
                    <a:pt x="12140" y="3980"/>
                  </a:lnTo>
                  <a:lnTo>
                    <a:pt x="12140" y="3989"/>
                  </a:lnTo>
                  <a:lnTo>
                    <a:pt x="12131" y="3998"/>
                  </a:lnTo>
                  <a:lnTo>
                    <a:pt x="12131" y="4007"/>
                  </a:lnTo>
                  <a:lnTo>
                    <a:pt x="12140" y="4024"/>
                  </a:lnTo>
                  <a:lnTo>
                    <a:pt x="12148" y="4024"/>
                  </a:lnTo>
                  <a:lnTo>
                    <a:pt x="12157" y="4024"/>
                  </a:lnTo>
                  <a:lnTo>
                    <a:pt x="12148" y="4033"/>
                  </a:lnTo>
                  <a:lnTo>
                    <a:pt x="12140" y="4024"/>
                  </a:lnTo>
                  <a:lnTo>
                    <a:pt x="12131" y="4016"/>
                  </a:lnTo>
                  <a:lnTo>
                    <a:pt x="12122" y="4016"/>
                  </a:lnTo>
                  <a:lnTo>
                    <a:pt x="12131" y="4033"/>
                  </a:lnTo>
                  <a:lnTo>
                    <a:pt x="12113" y="4024"/>
                  </a:lnTo>
                  <a:lnTo>
                    <a:pt x="12104" y="4024"/>
                  </a:lnTo>
                  <a:lnTo>
                    <a:pt x="12095" y="4024"/>
                  </a:lnTo>
                  <a:lnTo>
                    <a:pt x="12087" y="4033"/>
                  </a:lnTo>
                  <a:lnTo>
                    <a:pt x="12078" y="4024"/>
                  </a:lnTo>
                  <a:lnTo>
                    <a:pt x="12078" y="4033"/>
                  </a:lnTo>
                  <a:lnTo>
                    <a:pt x="12051" y="4033"/>
                  </a:lnTo>
                  <a:lnTo>
                    <a:pt x="12043" y="4042"/>
                  </a:lnTo>
                  <a:lnTo>
                    <a:pt x="12043" y="4051"/>
                  </a:lnTo>
                  <a:lnTo>
                    <a:pt x="12034" y="4051"/>
                  </a:lnTo>
                  <a:lnTo>
                    <a:pt x="12034" y="4060"/>
                  </a:lnTo>
                  <a:lnTo>
                    <a:pt x="12025" y="4060"/>
                  </a:lnTo>
                  <a:lnTo>
                    <a:pt x="12016" y="4069"/>
                  </a:lnTo>
                  <a:lnTo>
                    <a:pt x="12016" y="4077"/>
                  </a:lnTo>
                  <a:lnTo>
                    <a:pt x="12025" y="4077"/>
                  </a:lnTo>
                  <a:lnTo>
                    <a:pt x="12025" y="4069"/>
                  </a:lnTo>
                  <a:lnTo>
                    <a:pt x="12034" y="4069"/>
                  </a:lnTo>
                  <a:lnTo>
                    <a:pt x="12043" y="4069"/>
                  </a:lnTo>
                  <a:lnTo>
                    <a:pt x="12060" y="4069"/>
                  </a:lnTo>
                  <a:lnTo>
                    <a:pt x="12051" y="4069"/>
                  </a:lnTo>
                  <a:lnTo>
                    <a:pt x="12051" y="4077"/>
                  </a:lnTo>
                  <a:lnTo>
                    <a:pt x="12060" y="4086"/>
                  </a:lnTo>
                  <a:lnTo>
                    <a:pt x="12060" y="4095"/>
                  </a:lnTo>
                  <a:lnTo>
                    <a:pt x="12060" y="4104"/>
                  </a:lnTo>
                  <a:lnTo>
                    <a:pt x="12069" y="4104"/>
                  </a:lnTo>
                  <a:lnTo>
                    <a:pt x="12060" y="4113"/>
                  </a:lnTo>
                  <a:lnTo>
                    <a:pt x="12060" y="4122"/>
                  </a:lnTo>
                  <a:lnTo>
                    <a:pt x="12051" y="4130"/>
                  </a:lnTo>
                  <a:lnTo>
                    <a:pt x="12034" y="4139"/>
                  </a:lnTo>
                  <a:lnTo>
                    <a:pt x="12025" y="4139"/>
                  </a:lnTo>
                  <a:lnTo>
                    <a:pt x="11998" y="4157"/>
                  </a:lnTo>
                  <a:lnTo>
                    <a:pt x="11981" y="4157"/>
                  </a:lnTo>
                  <a:lnTo>
                    <a:pt x="11981" y="4166"/>
                  </a:lnTo>
                  <a:lnTo>
                    <a:pt x="11972" y="4166"/>
                  </a:lnTo>
                  <a:lnTo>
                    <a:pt x="11972" y="4175"/>
                  </a:lnTo>
                  <a:lnTo>
                    <a:pt x="11981" y="4175"/>
                  </a:lnTo>
                  <a:lnTo>
                    <a:pt x="11981" y="4183"/>
                  </a:lnTo>
                  <a:lnTo>
                    <a:pt x="11998" y="4192"/>
                  </a:lnTo>
                  <a:lnTo>
                    <a:pt x="12007" y="4192"/>
                  </a:lnTo>
                  <a:lnTo>
                    <a:pt x="12016" y="4183"/>
                  </a:lnTo>
                  <a:lnTo>
                    <a:pt x="12025" y="4183"/>
                  </a:lnTo>
                  <a:lnTo>
                    <a:pt x="12034" y="4183"/>
                  </a:lnTo>
                  <a:lnTo>
                    <a:pt x="12043" y="4183"/>
                  </a:lnTo>
                  <a:lnTo>
                    <a:pt x="12043" y="4192"/>
                  </a:lnTo>
                  <a:lnTo>
                    <a:pt x="12060" y="4192"/>
                  </a:lnTo>
                  <a:lnTo>
                    <a:pt x="12051" y="4192"/>
                  </a:lnTo>
                  <a:lnTo>
                    <a:pt x="12043" y="4201"/>
                  </a:lnTo>
                  <a:lnTo>
                    <a:pt x="12051" y="4201"/>
                  </a:lnTo>
                  <a:lnTo>
                    <a:pt x="12060" y="4201"/>
                  </a:lnTo>
                  <a:lnTo>
                    <a:pt x="12069" y="4201"/>
                  </a:lnTo>
                  <a:lnTo>
                    <a:pt x="12078" y="4201"/>
                  </a:lnTo>
                  <a:lnTo>
                    <a:pt x="12095" y="4219"/>
                  </a:lnTo>
                  <a:lnTo>
                    <a:pt x="12113" y="4219"/>
                  </a:lnTo>
                  <a:lnTo>
                    <a:pt x="12122" y="4219"/>
                  </a:lnTo>
                  <a:lnTo>
                    <a:pt x="12131" y="4210"/>
                  </a:lnTo>
                  <a:lnTo>
                    <a:pt x="12140" y="4201"/>
                  </a:lnTo>
                  <a:lnTo>
                    <a:pt x="12157" y="4201"/>
                  </a:lnTo>
                  <a:lnTo>
                    <a:pt x="12166" y="4192"/>
                  </a:lnTo>
                  <a:lnTo>
                    <a:pt x="12175" y="4192"/>
                  </a:lnTo>
                  <a:lnTo>
                    <a:pt x="12175" y="4183"/>
                  </a:lnTo>
                  <a:lnTo>
                    <a:pt x="12166" y="4201"/>
                  </a:lnTo>
                  <a:lnTo>
                    <a:pt x="12157" y="4201"/>
                  </a:lnTo>
                  <a:lnTo>
                    <a:pt x="12148" y="4210"/>
                  </a:lnTo>
                  <a:lnTo>
                    <a:pt x="12148" y="4219"/>
                  </a:lnTo>
                  <a:lnTo>
                    <a:pt x="12131" y="4227"/>
                  </a:lnTo>
                  <a:lnTo>
                    <a:pt x="12131" y="4236"/>
                  </a:lnTo>
                  <a:lnTo>
                    <a:pt x="12122" y="4236"/>
                  </a:lnTo>
                  <a:lnTo>
                    <a:pt x="12113" y="4236"/>
                  </a:lnTo>
                  <a:lnTo>
                    <a:pt x="12095" y="4236"/>
                  </a:lnTo>
                  <a:lnTo>
                    <a:pt x="12078" y="4236"/>
                  </a:lnTo>
                  <a:lnTo>
                    <a:pt x="12051" y="4236"/>
                  </a:lnTo>
                  <a:lnTo>
                    <a:pt x="12043" y="4254"/>
                  </a:lnTo>
                  <a:lnTo>
                    <a:pt x="12025" y="4254"/>
                  </a:lnTo>
                  <a:lnTo>
                    <a:pt x="12025" y="4263"/>
                  </a:lnTo>
                  <a:lnTo>
                    <a:pt x="12025" y="4272"/>
                  </a:lnTo>
                  <a:lnTo>
                    <a:pt x="12025" y="4280"/>
                  </a:lnTo>
                  <a:lnTo>
                    <a:pt x="11998" y="4298"/>
                  </a:lnTo>
                  <a:lnTo>
                    <a:pt x="11990" y="4298"/>
                  </a:lnTo>
                  <a:lnTo>
                    <a:pt x="11990" y="4307"/>
                  </a:lnTo>
                  <a:lnTo>
                    <a:pt x="11981" y="4316"/>
                  </a:lnTo>
                  <a:lnTo>
                    <a:pt x="11963" y="4325"/>
                  </a:lnTo>
                  <a:lnTo>
                    <a:pt x="11945" y="4333"/>
                  </a:lnTo>
                  <a:lnTo>
                    <a:pt x="11945" y="4342"/>
                  </a:lnTo>
                  <a:lnTo>
                    <a:pt x="11945" y="4351"/>
                  </a:lnTo>
                  <a:lnTo>
                    <a:pt x="11945" y="4342"/>
                  </a:lnTo>
                  <a:lnTo>
                    <a:pt x="11954" y="4342"/>
                  </a:lnTo>
                  <a:lnTo>
                    <a:pt x="11963" y="4342"/>
                  </a:lnTo>
                  <a:lnTo>
                    <a:pt x="11972" y="4351"/>
                  </a:lnTo>
                  <a:lnTo>
                    <a:pt x="11981" y="4351"/>
                  </a:lnTo>
                  <a:lnTo>
                    <a:pt x="11990" y="4342"/>
                  </a:lnTo>
                  <a:lnTo>
                    <a:pt x="11990" y="4333"/>
                  </a:lnTo>
                  <a:lnTo>
                    <a:pt x="12007" y="4325"/>
                  </a:lnTo>
                  <a:lnTo>
                    <a:pt x="12025" y="4316"/>
                  </a:lnTo>
                  <a:lnTo>
                    <a:pt x="12034" y="4316"/>
                  </a:lnTo>
                  <a:lnTo>
                    <a:pt x="12043" y="4316"/>
                  </a:lnTo>
                  <a:lnTo>
                    <a:pt x="12051" y="4316"/>
                  </a:lnTo>
                  <a:lnTo>
                    <a:pt x="12060" y="4316"/>
                  </a:lnTo>
                  <a:lnTo>
                    <a:pt x="12069" y="4325"/>
                  </a:lnTo>
                  <a:lnTo>
                    <a:pt x="12078" y="4333"/>
                  </a:lnTo>
                  <a:lnTo>
                    <a:pt x="12087" y="4333"/>
                  </a:lnTo>
                  <a:lnTo>
                    <a:pt x="12095" y="4325"/>
                  </a:lnTo>
                  <a:lnTo>
                    <a:pt x="12095" y="4307"/>
                  </a:lnTo>
                  <a:lnTo>
                    <a:pt x="12104" y="4298"/>
                  </a:lnTo>
                  <a:lnTo>
                    <a:pt x="12104" y="4289"/>
                  </a:lnTo>
                  <a:lnTo>
                    <a:pt x="12140" y="4280"/>
                  </a:lnTo>
                  <a:lnTo>
                    <a:pt x="12148" y="4280"/>
                  </a:lnTo>
                  <a:lnTo>
                    <a:pt x="12157" y="4280"/>
                  </a:lnTo>
                  <a:lnTo>
                    <a:pt x="12166" y="4289"/>
                  </a:lnTo>
                  <a:lnTo>
                    <a:pt x="12175" y="4289"/>
                  </a:lnTo>
                  <a:lnTo>
                    <a:pt x="12175" y="4298"/>
                  </a:lnTo>
                  <a:lnTo>
                    <a:pt x="12184" y="4289"/>
                  </a:lnTo>
                  <a:lnTo>
                    <a:pt x="12210" y="4298"/>
                  </a:lnTo>
                  <a:lnTo>
                    <a:pt x="12210" y="4289"/>
                  </a:lnTo>
                  <a:lnTo>
                    <a:pt x="12210" y="4280"/>
                  </a:lnTo>
                  <a:lnTo>
                    <a:pt x="12219" y="4280"/>
                  </a:lnTo>
                  <a:lnTo>
                    <a:pt x="12237" y="4280"/>
                  </a:lnTo>
                  <a:lnTo>
                    <a:pt x="12245" y="4280"/>
                  </a:lnTo>
                  <a:lnTo>
                    <a:pt x="12263" y="4272"/>
                  </a:lnTo>
                  <a:lnTo>
                    <a:pt x="12254" y="4263"/>
                  </a:lnTo>
                  <a:lnTo>
                    <a:pt x="12263" y="4272"/>
                  </a:lnTo>
                  <a:lnTo>
                    <a:pt x="12272" y="4272"/>
                  </a:lnTo>
                  <a:lnTo>
                    <a:pt x="12281" y="4272"/>
                  </a:lnTo>
                  <a:lnTo>
                    <a:pt x="12290" y="4280"/>
                  </a:lnTo>
                  <a:lnTo>
                    <a:pt x="12298" y="4280"/>
                  </a:lnTo>
                  <a:lnTo>
                    <a:pt x="12325" y="4272"/>
                  </a:lnTo>
                  <a:lnTo>
                    <a:pt x="12342" y="4272"/>
                  </a:lnTo>
                  <a:lnTo>
                    <a:pt x="12369" y="4280"/>
                  </a:lnTo>
                  <a:lnTo>
                    <a:pt x="12378" y="4280"/>
                  </a:lnTo>
                  <a:lnTo>
                    <a:pt x="12387" y="4272"/>
                  </a:lnTo>
                  <a:lnTo>
                    <a:pt x="12395" y="4272"/>
                  </a:lnTo>
                  <a:lnTo>
                    <a:pt x="12404" y="4263"/>
                  </a:lnTo>
                  <a:lnTo>
                    <a:pt x="12413" y="4263"/>
                  </a:lnTo>
                  <a:lnTo>
                    <a:pt x="12431" y="4263"/>
                  </a:lnTo>
                  <a:lnTo>
                    <a:pt x="12431" y="4254"/>
                  </a:lnTo>
                  <a:lnTo>
                    <a:pt x="12457" y="4245"/>
                  </a:lnTo>
                  <a:lnTo>
                    <a:pt x="12457" y="4236"/>
                  </a:lnTo>
                  <a:lnTo>
                    <a:pt x="12466" y="4227"/>
                  </a:lnTo>
                  <a:lnTo>
                    <a:pt x="12466" y="4219"/>
                  </a:lnTo>
                  <a:lnTo>
                    <a:pt x="12457" y="4219"/>
                  </a:lnTo>
                  <a:lnTo>
                    <a:pt x="12448" y="4219"/>
                  </a:lnTo>
                  <a:lnTo>
                    <a:pt x="12431" y="4219"/>
                  </a:lnTo>
                  <a:lnTo>
                    <a:pt x="12422" y="4219"/>
                  </a:lnTo>
                  <a:lnTo>
                    <a:pt x="12404" y="4219"/>
                  </a:lnTo>
                  <a:lnTo>
                    <a:pt x="12404" y="4210"/>
                  </a:lnTo>
                  <a:lnTo>
                    <a:pt x="12395" y="4210"/>
                  </a:lnTo>
                  <a:lnTo>
                    <a:pt x="12387" y="4210"/>
                  </a:lnTo>
                  <a:lnTo>
                    <a:pt x="12395" y="4210"/>
                  </a:lnTo>
                  <a:lnTo>
                    <a:pt x="12404" y="4201"/>
                  </a:lnTo>
                  <a:lnTo>
                    <a:pt x="12413" y="4201"/>
                  </a:lnTo>
                  <a:lnTo>
                    <a:pt x="12422" y="4201"/>
                  </a:lnTo>
                  <a:lnTo>
                    <a:pt x="12422" y="4192"/>
                  </a:lnTo>
                  <a:lnTo>
                    <a:pt x="12413" y="4183"/>
                  </a:lnTo>
                  <a:lnTo>
                    <a:pt x="12431" y="4175"/>
                  </a:lnTo>
                  <a:lnTo>
                    <a:pt x="12440" y="4183"/>
                  </a:lnTo>
                  <a:lnTo>
                    <a:pt x="12448" y="4175"/>
                  </a:lnTo>
                  <a:lnTo>
                    <a:pt x="12448" y="4166"/>
                  </a:lnTo>
                  <a:lnTo>
                    <a:pt x="12448" y="4157"/>
                  </a:lnTo>
                  <a:lnTo>
                    <a:pt x="12457" y="4166"/>
                  </a:lnTo>
                  <a:lnTo>
                    <a:pt x="12466" y="4157"/>
                  </a:lnTo>
                  <a:lnTo>
                    <a:pt x="12475" y="4148"/>
                  </a:lnTo>
                  <a:lnTo>
                    <a:pt x="12475" y="4139"/>
                  </a:lnTo>
                  <a:lnTo>
                    <a:pt x="12475" y="4130"/>
                  </a:lnTo>
                  <a:lnTo>
                    <a:pt x="12484" y="4122"/>
                  </a:lnTo>
                  <a:lnTo>
                    <a:pt x="12484" y="4113"/>
                  </a:lnTo>
                  <a:lnTo>
                    <a:pt x="12484" y="4104"/>
                  </a:lnTo>
                  <a:lnTo>
                    <a:pt x="12484" y="4095"/>
                  </a:lnTo>
                  <a:lnTo>
                    <a:pt x="12484" y="4086"/>
                  </a:lnTo>
                  <a:lnTo>
                    <a:pt x="12457" y="4069"/>
                  </a:lnTo>
                  <a:lnTo>
                    <a:pt x="12448" y="4069"/>
                  </a:lnTo>
                  <a:lnTo>
                    <a:pt x="12440" y="4060"/>
                  </a:lnTo>
                  <a:lnTo>
                    <a:pt x="12431" y="4060"/>
                  </a:lnTo>
                  <a:lnTo>
                    <a:pt x="12422" y="4060"/>
                  </a:lnTo>
                  <a:lnTo>
                    <a:pt x="12413" y="4060"/>
                  </a:lnTo>
                  <a:lnTo>
                    <a:pt x="12395" y="4060"/>
                  </a:lnTo>
                  <a:lnTo>
                    <a:pt x="12395" y="4069"/>
                  </a:lnTo>
                  <a:lnTo>
                    <a:pt x="12387" y="4077"/>
                  </a:lnTo>
                  <a:lnTo>
                    <a:pt x="12378" y="4077"/>
                  </a:lnTo>
                  <a:lnTo>
                    <a:pt x="12360" y="4069"/>
                  </a:lnTo>
                  <a:lnTo>
                    <a:pt x="12369" y="4060"/>
                  </a:lnTo>
                  <a:lnTo>
                    <a:pt x="12378" y="4051"/>
                  </a:lnTo>
                  <a:lnTo>
                    <a:pt x="12387" y="4042"/>
                  </a:lnTo>
                  <a:lnTo>
                    <a:pt x="12378" y="4024"/>
                  </a:lnTo>
                  <a:lnTo>
                    <a:pt x="12369" y="4016"/>
                  </a:lnTo>
                  <a:lnTo>
                    <a:pt x="12334" y="3989"/>
                  </a:lnTo>
                  <a:lnTo>
                    <a:pt x="12325" y="3989"/>
                  </a:lnTo>
                  <a:lnTo>
                    <a:pt x="12307" y="3989"/>
                  </a:lnTo>
                  <a:lnTo>
                    <a:pt x="12316" y="3989"/>
                  </a:lnTo>
                  <a:lnTo>
                    <a:pt x="12325" y="3989"/>
                  </a:lnTo>
                  <a:lnTo>
                    <a:pt x="12334" y="3989"/>
                  </a:lnTo>
                  <a:lnTo>
                    <a:pt x="12342" y="3989"/>
                  </a:lnTo>
                  <a:lnTo>
                    <a:pt x="12351" y="3998"/>
                  </a:lnTo>
                  <a:lnTo>
                    <a:pt x="12360" y="3998"/>
                  </a:lnTo>
                  <a:lnTo>
                    <a:pt x="12369" y="3998"/>
                  </a:lnTo>
                  <a:lnTo>
                    <a:pt x="12360" y="3989"/>
                  </a:lnTo>
                  <a:lnTo>
                    <a:pt x="12351" y="3972"/>
                  </a:lnTo>
                  <a:lnTo>
                    <a:pt x="12342" y="3963"/>
                  </a:lnTo>
                  <a:lnTo>
                    <a:pt x="12342" y="3954"/>
                  </a:lnTo>
                  <a:lnTo>
                    <a:pt x="12351" y="3945"/>
                  </a:lnTo>
                  <a:lnTo>
                    <a:pt x="12342" y="3936"/>
                  </a:lnTo>
                  <a:lnTo>
                    <a:pt x="12334" y="3927"/>
                  </a:lnTo>
                  <a:lnTo>
                    <a:pt x="12316" y="3919"/>
                  </a:lnTo>
                  <a:lnTo>
                    <a:pt x="12307" y="3910"/>
                  </a:lnTo>
                  <a:lnTo>
                    <a:pt x="12298" y="3901"/>
                  </a:lnTo>
                  <a:lnTo>
                    <a:pt x="12272" y="3892"/>
                  </a:lnTo>
                  <a:lnTo>
                    <a:pt x="12263" y="3892"/>
                  </a:lnTo>
                  <a:lnTo>
                    <a:pt x="12263" y="3883"/>
                  </a:lnTo>
                  <a:lnTo>
                    <a:pt x="12254" y="3857"/>
                  </a:lnTo>
                  <a:lnTo>
                    <a:pt x="12245" y="3830"/>
                  </a:lnTo>
                  <a:lnTo>
                    <a:pt x="12237" y="3804"/>
                  </a:lnTo>
                  <a:lnTo>
                    <a:pt x="12237" y="3795"/>
                  </a:lnTo>
                  <a:lnTo>
                    <a:pt x="12228" y="3795"/>
                  </a:lnTo>
                  <a:lnTo>
                    <a:pt x="12219" y="3786"/>
                  </a:lnTo>
                  <a:lnTo>
                    <a:pt x="12210" y="3777"/>
                  </a:lnTo>
                  <a:lnTo>
                    <a:pt x="12201" y="3769"/>
                  </a:lnTo>
                  <a:lnTo>
                    <a:pt x="12166" y="3751"/>
                  </a:lnTo>
                  <a:lnTo>
                    <a:pt x="12148" y="3751"/>
                  </a:lnTo>
                  <a:lnTo>
                    <a:pt x="12140" y="3760"/>
                  </a:lnTo>
                  <a:lnTo>
                    <a:pt x="12131" y="3760"/>
                  </a:lnTo>
                  <a:lnTo>
                    <a:pt x="12095" y="3751"/>
                  </a:lnTo>
                  <a:lnTo>
                    <a:pt x="12087" y="3751"/>
                  </a:lnTo>
                  <a:lnTo>
                    <a:pt x="12078" y="3742"/>
                  </a:lnTo>
                  <a:lnTo>
                    <a:pt x="12087" y="3751"/>
                  </a:lnTo>
                  <a:lnTo>
                    <a:pt x="12104" y="3751"/>
                  </a:lnTo>
                  <a:lnTo>
                    <a:pt x="12113" y="3751"/>
                  </a:lnTo>
                  <a:lnTo>
                    <a:pt x="12122" y="3751"/>
                  </a:lnTo>
                  <a:lnTo>
                    <a:pt x="12122" y="3742"/>
                  </a:lnTo>
                  <a:lnTo>
                    <a:pt x="12140" y="3733"/>
                  </a:lnTo>
                  <a:lnTo>
                    <a:pt x="12157" y="3733"/>
                  </a:lnTo>
                  <a:lnTo>
                    <a:pt x="12157" y="3724"/>
                  </a:lnTo>
                  <a:lnTo>
                    <a:pt x="12166" y="3724"/>
                  </a:lnTo>
                  <a:lnTo>
                    <a:pt x="12148" y="3716"/>
                  </a:lnTo>
                  <a:lnTo>
                    <a:pt x="12131" y="3716"/>
                  </a:lnTo>
                  <a:lnTo>
                    <a:pt x="12122" y="3716"/>
                  </a:lnTo>
                  <a:lnTo>
                    <a:pt x="12113" y="3716"/>
                  </a:lnTo>
                  <a:lnTo>
                    <a:pt x="12122" y="3716"/>
                  </a:lnTo>
                  <a:lnTo>
                    <a:pt x="12131" y="3707"/>
                  </a:lnTo>
                  <a:lnTo>
                    <a:pt x="12157" y="3707"/>
                  </a:lnTo>
                  <a:lnTo>
                    <a:pt x="12157" y="3698"/>
                  </a:lnTo>
                  <a:lnTo>
                    <a:pt x="12166" y="3698"/>
                  </a:lnTo>
                  <a:lnTo>
                    <a:pt x="12175" y="3689"/>
                  </a:lnTo>
                  <a:lnTo>
                    <a:pt x="12184" y="3680"/>
                  </a:lnTo>
                  <a:lnTo>
                    <a:pt x="12193" y="3663"/>
                  </a:lnTo>
                  <a:lnTo>
                    <a:pt x="12201" y="3636"/>
                  </a:lnTo>
                  <a:lnTo>
                    <a:pt x="12210" y="3636"/>
                  </a:lnTo>
                  <a:lnTo>
                    <a:pt x="12210" y="3627"/>
                  </a:lnTo>
                  <a:lnTo>
                    <a:pt x="12219" y="3610"/>
                  </a:lnTo>
                  <a:lnTo>
                    <a:pt x="12228" y="3601"/>
                  </a:lnTo>
                  <a:lnTo>
                    <a:pt x="12219" y="3583"/>
                  </a:lnTo>
                  <a:lnTo>
                    <a:pt x="12210" y="3583"/>
                  </a:lnTo>
                  <a:lnTo>
                    <a:pt x="12201" y="3574"/>
                  </a:lnTo>
                  <a:lnTo>
                    <a:pt x="12193" y="3574"/>
                  </a:lnTo>
                  <a:lnTo>
                    <a:pt x="12148" y="3574"/>
                  </a:lnTo>
                  <a:lnTo>
                    <a:pt x="12140" y="3574"/>
                  </a:lnTo>
                  <a:lnTo>
                    <a:pt x="12131" y="3583"/>
                  </a:lnTo>
                  <a:lnTo>
                    <a:pt x="12113" y="3574"/>
                  </a:lnTo>
                  <a:lnTo>
                    <a:pt x="12104" y="3574"/>
                  </a:lnTo>
                  <a:lnTo>
                    <a:pt x="12095" y="3583"/>
                  </a:lnTo>
                  <a:lnTo>
                    <a:pt x="12078" y="3583"/>
                  </a:lnTo>
                  <a:lnTo>
                    <a:pt x="12069" y="3592"/>
                  </a:lnTo>
                  <a:lnTo>
                    <a:pt x="12051" y="3592"/>
                  </a:lnTo>
                  <a:lnTo>
                    <a:pt x="12060" y="3583"/>
                  </a:lnTo>
                  <a:lnTo>
                    <a:pt x="12069" y="3566"/>
                  </a:lnTo>
                  <a:lnTo>
                    <a:pt x="12078" y="3566"/>
                  </a:lnTo>
                  <a:lnTo>
                    <a:pt x="12069" y="3566"/>
                  </a:lnTo>
                  <a:lnTo>
                    <a:pt x="12060" y="3557"/>
                  </a:lnTo>
                  <a:lnTo>
                    <a:pt x="12060" y="3548"/>
                  </a:lnTo>
                  <a:lnTo>
                    <a:pt x="12078" y="3539"/>
                  </a:lnTo>
                  <a:lnTo>
                    <a:pt x="12104" y="3521"/>
                  </a:lnTo>
                  <a:lnTo>
                    <a:pt x="12122" y="3513"/>
                  </a:lnTo>
                  <a:lnTo>
                    <a:pt x="12131" y="3504"/>
                  </a:lnTo>
                  <a:lnTo>
                    <a:pt x="12131" y="3495"/>
                  </a:lnTo>
                  <a:lnTo>
                    <a:pt x="12131" y="3486"/>
                  </a:lnTo>
                  <a:lnTo>
                    <a:pt x="12131" y="3477"/>
                  </a:lnTo>
                  <a:lnTo>
                    <a:pt x="12122" y="3477"/>
                  </a:lnTo>
                  <a:lnTo>
                    <a:pt x="12104" y="3477"/>
                  </a:lnTo>
                  <a:lnTo>
                    <a:pt x="12087" y="3477"/>
                  </a:lnTo>
                  <a:lnTo>
                    <a:pt x="12078" y="3486"/>
                  </a:lnTo>
                  <a:lnTo>
                    <a:pt x="12051" y="3486"/>
                  </a:lnTo>
                  <a:lnTo>
                    <a:pt x="12034" y="3486"/>
                  </a:lnTo>
                  <a:lnTo>
                    <a:pt x="12025" y="3486"/>
                  </a:lnTo>
                  <a:lnTo>
                    <a:pt x="12016" y="3486"/>
                  </a:lnTo>
                  <a:lnTo>
                    <a:pt x="12007" y="3486"/>
                  </a:lnTo>
                  <a:lnTo>
                    <a:pt x="11998" y="3477"/>
                  </a:lnTo>
                  <a:lnTo>
                    <a:pt x="11990" y="3486"/>
                  </a:lnTo>
                  <a:lnTo>
                    <a:pt x="11981" y="3495"/>
                  </a:lnTo>
                  <a:lnTo>
                    <a:pt x="11981" y="3504"/>
                  </a:lnTo>
                  <a:lnTo>
                    <a:pt x="11990" y="3513"/>
                  </a:lnTo>
                  <a:lnTo>
                    <a:pt x="11990" y="3521"/>
                  </a:lnTo>
                  <a:lnTo>
                    <a:pt x="11972" y="3521"/>
                  </a:lnTo>
                  <a:lnTo>
                    <a:pt x="11963" y="3521"/>
                  </a:lnTo>
                  <a:lnTo>
                    <a:pt x="11963" y="3530"/>
                  </a:lnTo>
                  <a:lnTo>
                    <a:pt x="11963" y="3539"/>
                  </a:lnTo>
                  <a:lnTo>
                    <a:pt x="11981" y="3557"/>
                  </a:lnTo>
                  <a:lnTo>
                    <a:pt x="11972" y="3557"/>
                  </a:lnTo>
                  <a:lnTo>
                    <a:pt x="11963" y="3557"/>
                  </a:lnTo>
                  <a:lnTo>
                    <a:pt x="11945" y="3557"/>
                  </a:lnTo>
                  <a:lnTo>
                    <a:pt x="11945" y="3566"/>
                  </a:lnTo>
                  <a:lnTo>
                    <a:pt x="11937" y="3566"/>
                  </a:lnTo>
                  <a:lnTo>
                    <a:pt x="11937" y="3583"/>
                  </a:lnTo>
                  <a:lnTo>
                    <a:pt x="11937" y="3592"/>
                  </a:lnTo>
                  <a:lnTo>
                    <a:pt x="11945" y="3592"/>
                  </a:lnTo>
                  <a:lnTo>
                    <a:pt x="11937" y="3592"/>
                  </a:lnTo>
                  <a:lnTo>
                    <a:pt x="11937" y="3601"/>
                  </a:lnTo>
                  <a:lnTo>
                    <a:pt x="11928" y="3601"/>
                  </a:lnTo>
                  <a:lnTo>
                    <a:pt x="11928" y="3610"/>
                  </a:lnTo>
                  <a:close/>
                  <a:moveTo>
                    <a:pt x="12140" y="3460"/>
                  </a:moveTo>
                  <a:lnTo>
                    <a:pt x="12140" y="3468"/>
                  </a:lnTo>
                  <a:lnTo>
                    <a:pt x="12140" y="3460"/>
                  </a:lnTo>
                  <a:lnTo>
                    <a:pt x="12148" y="3460"/>
                  </a:lnTo>
                  <a:lnTo>
                    <a:pt x="12140" y="3451"/>
                  </a:lnTo>
                  <a:lnTo>
                    <a:pt x="12131" y="3460"/>
                  </a:lnTo>
                  <a:close/>
                  <a:moveTo>
                    <a:pt x="12113" y="3442"/>
                  </a:moveTo>
                  <a:lnTo>
                    <a:pt x="12122" y="3433"/>
                  </a:lnTo>
                  <a:lnTo>
                    <a:pt x="12122" y="3442"/>
                  </a:lnTo>
                  <a:lnTo>
                    <a:pt x="12140" y="3442"/>
                  </a:lnTo>
                  <a:lnTo>
                    <a:pt x="12148" y="3451"/>
                  </a:lnTo>
                  <a:lnTo>
                    <a:pt x="12157" y="3442"/>
                  </a:lnTo>
                  <a:lnTo>
                    <a:pt x="12148" y="3442"/>
                  </a:lnTo>
                  <a:lnTo>
                    <a:pt x="12140" y="3433"/>
                  </a:lnTo>
                  <a:lnTo>
                    <a:pt x="12131" y="3433"/>
                  </a:lnTo>
                  <a:lnTo>
                    <a:pt x="12140" y="3433"/>
                  </a:lnTo>
                  <a:lnTo>
                    <a:pt x="12140" y="3424"/>
                  </a:lnTo>
                  <a:lnTo>
                    <a:pt x="12131" y="3424"/>
                  </a:lnTo>
                  <a:lnTo>
                    <a:pt x="12122" y="3424"/>
                  </a:lnTo>
                  <a:lnTo>
                    <a:pt x="12113" y="3424"/>
                  </a:lnTo>
                  <a:lnTo>
                    <a:pt x="12113" y="3433"/>
                  </a:lnTo>
                  <a:close/>
                  <a:moveTo>
                    <a:pt x="12934" y="2948"/>
                  </a:moveTo>
                  <a:lnTo>
                    <a:pt x="12942" y="2948"/>
                  </a:lnTo>
                  <a:lnTo>
                    <a:pt x="12951" y="2948"/>
                  </a:lnTo>
                  <a:lnTo>
                    <a:pt x="12960" y="2948"/>
                  </a:lnTo>
                  <a:lnTo>
                    <a:pt x="12960" y="2939"/>
                  </a:lnTo>
                  <a:lnTo>
                    <a:pt x="12951" y="2939"/>
                  </a:lnTo>
                  <a:lnTo>
                    <a:pt x="12942" y="2939"/>
                  </a:lnTo>
                  <a:lnTo>
                    <a:pt x="12934" y="2939"/>
                  </a:lnTo>
                  <a:close/>
                  <a:moveTo>
                    <a:pt x="13612" y="2251"/>
                  </a:moveTo>
                  <a:lnTo>
                    <a:pt x="13612" y="2259"/>
                  </a:lnTo>
                  <a:lnTo>
                    <a:pt x="13621" y="2251"/>
                  </a:lnTo>
                  <a:lnTo>
                    <a:pt x="13630" y="2242"/>
                  </a:lnTo>
                  <a:lnTo>
                    <a:pt x="13638" y="2233"/>
                  </a:lnTo>
                  <a:lnTo>
                    <a:pt x="13647" y="2233"/>
                  </a:lnTo>
                  <a:lnTo>
                    <a:pt x="13665" y="2233"/>
                  </a:lnTo>
                  <a:lnTo>
                    <a:pt x="13674" y="2233"/>
                  </a:lnTo>
                  <a:lnTo>
                    <a:pt x="13674" y="2224"/>
                  </a:lnTo>
                  <a:lnTo>
                    <a:pt x="13674" y="2215"/>
                  </a:lnTo>
                  <a:lnTo>
                    <a:pt x="13682" y="2215"/>
                  </a:lnTo>
                  <a:lnTo>
                    <a:pt x="13682" y="2206"/>
                  </a:lnTo>
                  <a:lnTo>
                    <a:pt x="13682" y="2198"/>
                  </a:lnTo>
                  <a:lnTo>
                    <a:pt x="13682" y="2189"/>
                  </a:lnTo>
                  <a:lnTo>
                    <a:pt x="13674" y="2189"/>
                  </a:lnTo>
                  <a:lnTo>
                    <a:pt x="13665" y="2189"/>
                  </a:lnTo>
                  <a:lnTo>
                    <a:pt x="13656" y="2189"/>
                  </a:lnTo>
                  <a:lnTo>
                    <a:pt x="13647" y="2180"/>
                  </a:lnTo>
                  <a:lnTo>
                    <a:pt x="13638" y="2180"/>
                  </a:lnTo>
                  <a:lnTo>
                    <a:pt x="13638" y="2189"/>
                  </a:lnTo>
                  <a:lnTo>
                    <a:pt x="13630" y="2189"/>
                  </a:lnTo>
                  <a:lnTo>
                    <a:pt x="13621" y="2189"/>
                  </a:lnTo>
                  <a:lnTo>
                    <a:pt x="13621" y="2198"/>
                  </a:lnTo>
                  <a:lnTo>
                    <a:pt x="13630" y="2198"/>
                  </a:lnTo>
                  <a:lnTo>
                    <a:pt x="13638" y="2206"/>
                  </a:lnTo>
                  <a:lnTo>
                    <a:pt x="13630" y="2206"/>
                  </a:lnTo>
                  <a:lnTo>
                    <a:pt x="13612" y="2206"/>
                  </a:lnTo>
                  <a:lnTo>
                    <a:pt x="13603" y="2206"/>
                  </a:lnTo>
                  <a:lnTo>
                    <a:pt x="13603" y="2215"/>
                  </a:lnTo>
                  <a:lnTo>
                    <a:pt x="13603" y="2224"/>
                  </a:lnTo>
                  <a:lnTo>
                    <a:pt x="13603" y="2233"/>
                  </a:lnTo>
                  <a:lnTo>
                    <a:pt x="13603" y="2242"/>
                  </a:lnTo>
                  <a:lnTo>
                    <a:pt x="13594" y="2242"/>
                  </a:lnTo>
                  <a:lnTo>
                    <a:pt x="13594" y="2251"/>
                  </a:lnTo>
                  <a:lnTo>
                    <a:pt x="13603" y="2251"/>
                  </a:lnTo>
                  <a:close/>
                  <a:moveTo>
                    <a:pt x="13700" y="2189"/>
                  </a:moveTo>
                  <a:lnTo>
                    <a:pt x="13709" y="2189"/>
                  </a:lnTo>
                  <a:lnTo>
                    <a:pt x="13735" y="2180"/>
                  </a:lnTo>
                  <a:lnTo>
                    <a:pt x="13735" y="2171"/>
                  </a:lnTo>
                  <a:lnTo>
                    <a:pt x="13744" y="2162"/>
                  </a:lnTo>
                  <a:lnTo>
                    <a:pt x="13753" y="2162"/>
                  </a:lnTo>
                  <a:lnTo>
                    <a:pt x="13762" y="2153"/>
                  </a:lnTo>
                  <a:lnTo>
                    <a:pt x="13771" y="2153"/>
                  </a:lnTo>
                  <a:lnTo>
                    <a:pt x="13780" y="2153"/>
                  </a:lnTo>
                  <a:lnTo>
                    <a:pt x="13788" y="2136"/>
                  </a:lnTo>
                  <a:lnTo>
                    <a:pt x="13797" y="2127"/>
                  </a:lnTo>
                  <a:lnTo>
                    <a:pt x="13788" y="2118"/>
                  </a:lnTo>
                  <a:lnTo>
                    <a:pt x="13788" y="2127"/>
                  </a:lnTo>
                  <a:lnTo>
                    <a:pt x="13780" y="2127"/>
                  </a:lnTo>
                  <a:lnTo>
                    <a:pt x="13771" y="2118"/>
                  </a:lnTo>
                  <a:lnTo>
                    <a:pt x="13771" y="2101"/>
                  </a:lnTo>
                  <a:lnTo>
                    <a:pt x="13771" y="2092"/>
                  </a:lnTo>
                  <a:lnTo>
                    <a:pt x="13762" y="2092"/>
                  </a:lnTo>
                  <a:lnTo>
                    <a:pt x="13762" y="2109"/>
                  </a:lnTo>
                  <a:lnTo>
                    <a:pt x="13753" y="2109"/>
                  </a:lnTo>
                  <a:lnTo>
                    <a:pt x="13762" y="2118"/>
                  </a:lnTo>
                  <a:lnTo>
                    <a:pt x="13753" y="2118"/>
                  </a:lnTo>
                  <a:lnTo>
                    <a:pt x="13744" y="2127"/>
                  </a:lnTo>
                  <a:lnTo>
                    <a:pt x="13744" y="2136"/>
                  </a:lnTo>
                  <a:lnTo>
                    <a:pt x="13727" y="2145"/>
                  </a:lnTo>
                  <a:lnTo>
                    <a:pt x="13735" y="2153"/>
                  </a:lnTo>
                  <a:lnTo>
                    <a:pt x="13727" y="2153"/>
                  </a:lnTo>
                  <a:lnTo>
                    <a:pt x="13718" y="2153"/>
                  </a:lnTo>
                  <a:lnTo>
                    <a:pt x="13709" y="2153"/>
                  </a:lnTo>
                  <a:lnTo>
                    <a:pt x="13700" y="2162"/>
                  </a:lnTo>
                  <a:lnTo>
                    <a:pt x="13700" y="2171"/>
                  </a:lnTo>
                  <a:lnTo>
                    <a:pt x="13682" y="2180"/>
                  </a:lnTo>
                  <a:lnTo>
                    <a:pt x="13691" y="2189"/>
                  </a:lnTo>
                  <a:close/>
                  <a:moveTo>
                    <a:pt x="13427" y="2303"/>
                  </a:moveTo>
                  <a:lnTo>
                    <a:pt x="13444" y="2303"/>
                  </a:lnTo>
                  <a:lnTo>
                    <a:pt x="13453" y="2303"/>
                  </a:lnTo>
                  <a:lnTo>
                    <a:pt x="13462" y="2312"/>
                  </a:lnTo>
                  <a:lnTo>
                    <a:pt x="13480" y="2303"/>
                  </a:lnTo>
                  <a:lnTo>
                    <a:pt x="13488" y="2303"/>
                  </a:lnTo>
                  <a:lnTo>
                    <a:pt x="13488" y="2286"/>
                  </a:lnTo>
                  <a:lnTo>
                    <a:pt x="13488" y="2277"/>
                  </a:lnTo>
                  <a:lnTo>
                    <a:pt x="13471" y="2268"/>
                  </a:lnTo>
                  <a:lnTo>
                    <a:pt x="13471" y="2259"/>
                  </a:lnTo>
                  <a:lnTo>
                    <a:pt x="13462" y="2259"/>
                  </a:lnTo>
                  <a:lnTo>
                    <a:pt x="13462" y="2268"/>
                  </a:lnTo>
                  <a:lnTo>
                    <a:pt x="13453" y="2268"/>
                  </a:lnTo>
                  <a:lnTo>
                    <a:pt x="13444" y="2268"/>
                  </a:lnTo>
                  <a:lnTo>
                    <a:pt x="13444" y="2277"/>
                  </a:lnTo>
                  <a:lnTo>
                    <a:pt x="13444" y="2286"/>
                  </a:lnTo>
                  <a:lnTo>
                    <a:pt x="13435" y="2286"/>
                  </a:lnTo>
                  <a:lnTo>
                    <a:pt x="13427" y="2277"/>
                  </a:lnTo>
                  <a:lnTo>
                    <a:pt x="13427" y="2286"/>
                  </a:lnTo>
                  <a:lnTo>
                    <a:pt x="13409" y="2295"/>
                  </a:lnTo>
                  <a:lnTo>
                    <a:pt x="13418" y="2303"/>
                  </a:lnTo>
                  <a:close/>
                  <a:moveTo>
                    <a:pt x="12722" y="3204"/>
                  </a:moveTo>
                  <a:lnTo>
                    <a:pt x="12722" y="3195"/>
                  </a:lnTo>
                  <a:lnTo>
                    <a:pt x="12713" y="3195"/>
                  </a:lnTo>
                  <a:lnTo>
                    <a:pt x="12713" y="3204"/>
                  </a:lnTo>
                  <a:lnTo>
                    <a:pt x="12713" y="3213"/>
                  </a:lnTo>
                  <a:close/>
                  <a:moveTo>
                    <a:pt x="24702" y="2153"/>
                  </a:moveTo>
                  <a:lnTo>
                    <a:pt x="24719" y="2162"/>
                  </a:lnTo>
                  <a:lnTo>
                    <a:pt x="24728" y="2171"/>
                  </a:lnTo>
                  <a:lnTo>
                    <a:pt x="24772" y="2180"/>
                  </a:lnTo>
                  <a:lnTo>
                    <a:pt x="24799" y="2180"/>
                  </a:lnTo>
                  <a:lnTo>
                    <a:pt x="24799" y="2162"/>
                  </a:lnTo>
                  <a:lnTo>
                    <a:pt x="24808" y="2153"/>
                  </a:lnTo>
                  <a:lnTo>
                    <a:pt x="24808" y="2145"/>
                  </a:lnTo>
                  <a:lnTo>
                    <a:pt x="24737" y="2127"/>
                  </a:lnTo>
                  <a:lnTo>
                    <a:pt x="24719" y="2127"/>
                  </a:lnTo>
                  <a:lnTo>
                    <a:pt x="24710" y="2127"/>
                  </a:lnTo>
                  <a:lnTo>
                    <a:pt x="24693" y="2136"/>
                  </a:lnTo>
                  <a:lnTo>
                    <a:pt x="24693" y="2145"/>
                  </a:lnTo>
                  <a:lnTo>
                    <a:pt x="24693" y="2153"/>
                  </a:lnTo>
                  <a:close/>
                  <a:moveTo>
                    <a:pt x="13409" y="2365"/>
                  </a:moveTo>
                  <a:lnTo>
                    <a:pt x="13435" y="2356"/>
                  </a:lnTo>
                  <a:lnTo>
                    <a:pt x="13453" y="2348"/>
                  </a:lnTo>
                  <a:lnTo>
                    <a:pt x="13462" y="2348"/>
                  </a:lnTo>
                  <a:lnTo>
                    <a:pt x="13471" y="2348"/>
                  </a:lnTo>
                  <a:lnTo>
                    <a:pt x="13480" y="2339"/>
                  </a:lnTo>
                  <a:lnTo>
                    <a:pt x="13488" y="2339"/>
                  </a:lnTo>
                  <a:lnTo>
                    <a:pt x="13488" y="2348"/>
                  </a:lnTo>
                  <a:lnTo>
                    <a:pt x="13506" y="2339"/>
                  </a:lnTo>
                  <a:lnTo>
                    <a:pt x="13515" y="2330"/>
                  </a:lnTo>
                  <a:lnTo>
                    <a:pt x="13524" y="2330"/>
                  </a:lnTo>
                  <a:lnTo>
                    <a:pt x="13524" y="2339"/>
                  </a:lnTo>
                  <a:lnTo>
                    <a:pt x="13533" y="2330"/>
                  </a:lnTo>
                  <a:lnTo>
                    <a:pt x="13550" y="2321"/>
                  </a:lnTo>
                  <a:lnTo>
                    <a:pt x="13559" y="2312"/>
                  </a:lnTo>
                  <a:lnTo>
                    <a:pt x="13568" y="2303"/>
                  </a:lnTo>
                  <a:lnTo>
                    <a:pt x="13577" y="2295"/>
                  </a:lnTo>
                  <a:lnTo>
                    <a:pt x="13568" y="2286"/>
                  </a:lnTo>
                  <a:lnTo>
                    <a:pt x="13568" y="2277"/>
                  </a:lnTo>
                  <a:lnTo>
                    <a:pt x="13559" y="2277"/>
                  </a:lnTo>
                  <a:lnTo>
                    <a:pt x="13550" y="2277"/>
                  </a:lnTo>
                  <a:lnTo>
                    <a:pt x="13541" y="2277"/>
                  </a:lnTo>
                  <a:lnTo>
                    <a:pt x="13541" y="2286"/>
                  </a:lnTo>
                  <a:lnTo>
                    <a:pt x="13541" y="2295"/>
                  </a:lnTo>
                  <a:lnTo>
                    <a:pt x="13524" y="2303"/>
                  </a:lnTo>
                  <a:lnTo>
                    <a:pt x="13515" y="2312"/>
                  </a:lnTo>
                  <a:lnTo>
                    <a:pt x="13515" y="2303"/>
                  </a:lnTo>
                  <a:lnTo>
                    <a:pt x="13524" y="2295"/>
                  </a:lnTo>
                  <a:lnTo>
                    <a:pt x="13524" y="2277"/>
                  </a:lnTo>
                  <a:lnTo>
                    <a:pt x="13524" y="2268"/>
                  </a:lnTo>
                  <a:lnTo>
                    <a:pt x="13524" y="2259"/>
                  </a:lnTo>
                  <a:lnTo>
                    <a:pt x="13515" y="2251"/>
                  </a:lnTo>
                  <a:lnTo>
                    <a:pt x="13533" y="2242"/>
                  </a:lnTo>
                  <a:lnTo>
                    <a:pt x="13541" y="2233"/>
                  </a:lnTo>
                  <a:lnTo>
                    <a:pt x="13541" y="2224"/>
                  </a:lnTo>
                  <a:lnTo>
                    <a:pt x="13533" y="2215"/>
                  </a:lnTo>
                  <a:lnTo>
                    <a:pt x="13524" y="2224"/>
                  </a:lnTo>
                  <a:lnTo>
                    <a:pt x="13515" y="2233"/>
                  </a:lnTo>
                  <a:lnTo>
                    <a:pt x="13506" y="2242"/>
                  </a:lnTo>
                  <a:lnTo>
                    <a:pt x="13497" y="2251"/>
                  </a:lnTo>
                  <a:lnTo>
                    <a:pt x="13488" y="2259"/>
                  </a:lnTo>
                  <a:lnTo>
                    <a:pt x="13488" y="2268"/>
                  </a:lnTo>
                  <a:lnTo>
                    <a:pt x="13497" y="2268"/>
                  </a:lnTo>
                  <a:lnTo>
                    <a:pt x="13497" y="2277"/>
                  </a:lnTo>
                  <a:lnTo>
                    <a:pt x="13497" y="2286"/>
                  </a:lnTo>
                  <a:lnTo>
                    <a:pt x="13488" y="2303"/>
                  </a:lnTo>
                  <a:lnTo>
                    <a:pt x="13471" y="2330"/>
                  </a:lnTo>
                  <a:lnTo>
                    <a:pt x="13427" y="2339"/>
                  </a:lnTo>
                  <a:lnTo>
                    <a:pt x="13418" y="2339"/>
                  </a:lnTo>
                  <a:lnTo>
                    <a:pt x="13409" y="2356"/>
                  </a:lnTo>
                  <a:close/>
                  <a:moveTo>
                    <a:pt x="24199" y="2233"/>
                  </a:moveTo>
                  <a:lnTo>
                    <a:pt x="24199" y="2242"/>
                  </a:lnTo>
                  <a:lnTo>
                    <a:pt x="24208" y="2251"/>
                  </a:lnTo>
                  <a:lnTo>
                    <a:pt x="24216" y="2251"/>
                  </a:lnTo>
                  <a:lnTo>
                    <a:pt x="24225" y="2259"/>
                  </a:lnTo>
                  <a:lnTo>
                    <a:pt x="24225" y="2268"/>
                  </a:lnTo>
                  <a:lnTo>
                    <a:pt x="24234" y="2259"/>
                  </a:lnTo>
                  <a:lnTo>
                    <a:pt x="24225" y="2259"/>
                  </a:lnTo>
                  <a:lnTo>
                    <a:pt x="24216" y="2242"/>
                  </a:lnTo>
                  <a:lnTo>
                    <a:pt x="24216" y="2233"/>
                  </a:lnTo>
                  <a:lnTo>
                    <a:pt x="24216" y="2224"/>
                  </a:lnTo>
                  <a:lnTo>
                    <a:pt x="24216" y="2206"/>
                  </a:lnTo>
                  <a:lnTo>
                    <a:pt x="24234" y="2198"/>
                  </a:lnTo>
                  <a:lnTo>
                    <a:pt x="24234" y="2189"/>
                  </a:lnTo>
                  <a:lnTo>
                    <a:pt x="24234" y="2180"/>
                  </a:lnTo>
                  <a:lnTo>
                    <a:pt x="24234" y="2171"/>
                  </a:lnTo>
                  <a:lnTo>
                    <a:pt x="24225" y="2171"/>
                  </a:lnTo>
                  <a:lnTo>
                    <a:pt x="24225" y="2180"/>
                  </a:lnTo>
                  <a:lnTo>
                    <a:pt x="24216" y="2189"/>
                  </a:lnTo>
                  <a:lnTo>
                    <a:pt x="24199" y="2198"/>
                  </a:lnTo>
                  <a:lnTo>
                    <a:pt x="24199" y="2206"/>
                  </a:lnTo>
                  <a:lnTo>
                    <a:pt x="24208" y="2215"/>
                  </a:lnTo>
                  <a:close/>
                  <a:moveTo>
                    <a:pt x="15906" y="2268"/>
                  </a:moveTo>
                  <a:lnTo>
                    <a:pt x="15915" y="2286"/>
                  </a:lnTo>
                  <a:lnTo>
                    <a:pt x="15932" y="2295"/>
                  </a:lnTo>
                  <a:lnTo>
                    <a:pt x="15950" y="2295"/>
                  </a:lnTo>
                  <a:lnTo>
                    <a:pt x="15976" y="2286"/>
                  </a:lnTo>
                  <a:lnTo>
                    <a:pt x="16003" y="2277"/>
                  </a:lnTo>
                  <a:lnTo>
                    <a:pt x="16020" y="2259"/>
                  </a:lnTo>
                  <a:lnTo>
                    <a:pt x="16029" y="2251"/>
                  </a:lnTo>
                  <a:lnTo>
                    <a:pt x="16038" y="2242"/>
                  </a:lnTo>
                  <a:lnTo>
                    <a:pt x="16047" y="2242"/>
                  </a:lnTo>
                  <a:lnTo>
                    <a:pt x="16047" y="2251"/>
                  </a:lnTo>
                  <a:lnTo>
                    <a:pt x="16056" y="2251"/>
                  </a:lnTo>
                  <a:lnTo>
                    <a:pt x="16056" y="2233"/>
                  </a:lnTo>
                  <a:lnTo>
                    <a:pt x="16047" y="2224"/>
                  </a:lnTo>
                  <a:lnTo>
                    <a:pt x="16029" y="2215"/>
                  </a:lnTo>
                  <a:lnTo>
                    <a:pt x="15976" y="2189"/>
                  </a:lnTo>
                  <a:lnTo>
                    <a:pt x="15959" y="2189"/>
                  </a:lnTo>
                  <a:lnTo>
                    <a:pt x="15950" y="2198"/>
                  </a:lnTo>
                  <a:lnTo>
                    <a:pt x="15932" y="2198"/>
                  </a:lnTo>
                  <a:lnTo>
                    <a:pt x="15915" y="2215"/>
                  </a:lnTo>
                  <a:lnTo>
                    <a:pt x="15906" y="2224"/>
                  </a:lnTo>
                  <a:lnTo>
                    <a:pt x="15906" y="2233"/>
                  </a:lnTo>
                  <a:lnTo>
                    <a:pt x="15906" y="2242"/>
                  </a:lnTo>
                  <a:lnTo>
                    <a:pt x="15906" y="2251"/>
                  </a:lnTo>
                  <a:lnTo>
                    <a:pt x="15906" y="2259"/>
                  </a:lnTo>
                  <a:close/>
                  <a:moveTo>
                    <a:pt x="15491" y="2551"/>
                  </a:moveTo>
                  <a:lnTo>
                    <a:pt x="15500" y="2551"/>
                  </a:lnTo>
                  <a:lnTo>
                    <a:pt x="15491" y="2542"/>
                  </a:lnTo>
                  <a:lnTo>
                    <a:pt x="15482" y="2533"/>
                  </a:lnTo>
                  <a:lnTo>
                    <a:pt x="15482" y="2542"/>
                  </a:lnTo>
                  <a:close/>
                  <a:moveTo>
                    <a:pt x="13338" y="2383"/>
                  </a:moveTo>
                  <a:lnTo>
                    <a:pt x="13338" y="2374"/>
                  </a:lnTo>
                  <a:lnTo>
                    <a:pt x="13347" y="2374"/>
                  </a:lnTo>
                  <a:lnTo>
                    <a:pt x="13347" y="2383"/>
                  </a:lnTo>
                  <a:lnTo>
                    <a:pt x="13356" y="2374"/>
                  </a:lnTo>
                  <a:lnTo>
                    <a:pt x="13365" y="2374"/>
                  </a:lnTo>
                  <a:lnTo>
                    <a:pt x="13374" y="2374"/>
                  </a:lnTo>
                  <a:lnTo>
                    <a:pt x="13374" y="2365"/>
                  </a:lnTo>
                  <a:lnTo>
                    <a:pt x="13391" y="2365"/>
                  </a:lnTo>
                  <a:lnTo>
                    <a:pt x="13391" y="2356"/>
                  </a:lnTo>
                  <a:lnTo>
                    <a:pt x="13383" y="2356"/>
                  </a:lnTo>
                  <a:lnTo>
                    <a:pt x="13374" y="2348"/>
                  </a:lnTo>
                  <a:lnTo>
                    <a:pt x="13365" y="2348"/>
                  </a:lnTo>
                  <a:lnTo>
                    <a:pt x="13356" y="2356"/>
                  </a:lnTo>
                  <a:lnTo>
                    <a:pt x="13347" y="2365"/>
                  </a:lnTo>
                  <a:lnTo>
                    <a:pt x="13338" y="2365"/>
                  </a:lnTo>
                  <a:lnTo>
                    <a:pt x="13330" y="2374"/>
                  </a:lnTo>
                  <a:lnTo>
                    <a:pt x="13330" y="2383"/>
                  </a:lnTo>
                  <a:close/>
                  <a:moveTo>
                    <a:pt x="13233" y="2683"/>
                  </a:moveTo>
                  <a:lnTo>
                    <a:pt x="13241" y="2674"/>
                  </a:lnTo>
                  <a:lnTo>
                    <a:pt x="13233" y="2674"/>
                  </a:lnTo>
                  <a:lnTo>
                    <a:pt x="13233" y="2665"/>
                  </a:lnTo>
                  <a:lnTo>
                    <a:pt x="13224" y="2674"/>
                  </a:lnTo>
                  <a:lnTo>
                    <a:pt x="13224" y="2683"/>
                  </a:lnTo>
                  <a:close/>
                  <a:moveTo>
                    <a:pt x="13172" y="2771"/>
                  </a:moveTo>
                  <a:lnTo>
                    <a:pt x="13181" y="2771"/>
                  </a:lnTo>
                  <a:lnTo>
                    <a:pt x="13181" y="2762"/>
                  </a:lnTo>
                  <a:lnTo>
                    <a:pt x="13172" y="2754"/>
                  </a:lnTo>
                  <a:lnTo>
                    <a:pt x="13154" y="2762"/>
                  </a:lnTo>
                  <a:lnTo>
                    <a:pt x="13145" y="2771"/>
                  </a:lnTo>
                  <a:lnTo>
                    <a:pt x="13154" y="2771"/>
                  </a:lnTo>
                  <a:close/>
                  <a:moveTo>
                    <a:pt x="12034" y="3919"/>
                  </a:moveTo>
                  <a:lnTo>
                    <a:pt x="12025" y="3919"/>
                  </a:lnTo>
                  <a:lnTo>
                    <a:pt x="12016" y="3936"/>
                  </a:lnTo>
                  <a:lnTo>
                    <a:pt x="12007" y="3945"/>
                  </a:lnTo>
                  <a:lnTo>
                    <a:pt x="12007" y="3954"/>
                  </a:lnTo>
                  <a:lnTo>
                    <a:pt x="12016" y="3954"/>
                  </a:lnTo>
                  <a:lnTo>
                    <a:pt x="12034" y="3936"/>
                  </a:lnTo>
                  <a:lnTo>
                    <a:pt x="12043" y="3936"/>
                  </a:lnTo>
                  <a:close/>
                  <a:moveTo>
                    <a:pt x="12978" y="2912"/>
                  </a:moveTo>
                  <a:lnTo>
                    <a:pt x="13004" y="2904"/>
                  </a:lnTo>
                  <a:lnTo>
                    <a:pt x="13004" y="2895"/>
                  </a:lnTo>
                  <a:lnTo>
                    <a:pt x="12995" y="2904"/>
                  </a:lnTo>
                  <a:lnTo>
                    <a:pt x="12978" y="2904"/>
                  </a:lnTo>
                  <a:lnTo>
                    <a:pt x="12969" y="2912"/>
                  </a:lnTo>
                  <a:close/>
                  <a:moveTo>
                    <a:pt x="13321" y="2392"/>
                  </a:moveTo>
                  <a:lnTo>
                    <a:pt x="13321" y="2383"/>
                  </a:lnTo>
                  <a:lnTo>
                    <a:pt x="13321" y="2374"/>
                  </a:lnTo>
                  <a:lnTo>
                    <a:pt x="13312" y="2383"/>
                  </a:lnTo>
                  <a:lnTo>
                    <a:pt x="13303" y="2392"/>
                  </a:lnTo>
                  <a:lnTo>
                    <a:pt x="13303" y="2409"/>
                  </a:lnTo>
                  <a:lnTo>
                    <a:pt x="13312" y="2401"/>
                  </a:lnTo>
                  <a:close/>
                  <a:moveTo>
                    <a:pt x="13277" y="2639"/>
                  </a:moveTo>
                  <a:lnTo>
                    <a:pt x="13268" y="2639"/>
                  </a:lnTo>
                  <a:lnTo>
                    <a:pt x="13268" y="2648"/>
                  </a:lnTo>
                  <a:lnTo>
                    <a:pt x="13277" y="2648"/>
                  </a:lnTo>
                  <a:lnTo>
                    <a:pt x="13294" y="2639"/>
                  </a:lnTo>
                  <a:lnTo>
                    <a:pt x="13294" y="2630"/>
                  </a:lnTo>
                  <a:lnTo>
                    <a:pt x="13285" y="2630"/>
                  </a:lnTo>
                  <a:lnTo>
                    <a:pt x="13277" y="2630"/>
                  </a:lnTo>
                  <a:close/>
                  <a:moveTo>
                    <a:pt x="13285" y="2621"/>
                  </a:moveTo>
                  <a:lnTo>
                    <a:pt x="13285" y="2612"/>
                  </a:lnTo>
                  <a:lnTo>
                    <a:pt x="13277" y="2612"/>
                  </a:lnTo>
                  <a:lnTo>
                    <a:pt x="13268" y="2612"/>
                  </a:lnTo>
                  <a:lnTo>
                    <a:pt x="13268" y="2621"/>
                  </a:lnTo>
                  <a:lnTo>
                    <a:pt x="13259" y="2630"/>
                  </a:lnTo>
                  <a:lnTo>
                    <a:pt x="13268" y="2630"/>
                  </a:lnTo>
                  <a:close/>
                  <a:moveTo>
                    <a:pt x="12731" y="3283"/>
                  </a:moveTo>
                  <a:lnTo>
                    <a:pt x="12722" y="3274"/>
                  </a:lnTo>
                  <a:lnTo>
                    <a:pt x="12722" y="3283"/>
                  </a:lnTo>
                  <a:lnTo>
                    <a:pt x="12722" y="3292"/>
                  </a:lnTo>
                  <a:lnTo>
                    <a:pt x="12722" y="3301"/>
                  </a:lnTo>
                  <a:lnTo>
                    <a:pt x="12722" y="3310"/>
                  </a:lnTo>
                  <a:lnTo>
                    <a:pt x="12731" y="3310"/>
                  </a:lnTo>
                  <a:lnTo>
                    <a:pt x="12731" y="3292"/>
                  </a:lnTo>
                  <a:close/>
                  <a:moveTo>
                    <a:pt x="7587" y="3045"/>
                  </a:moveTo>
                  <a:lnTo>
                    <a:pt x="7587" y="3054"/>
                  </a:lnTo>
                  <a:lnTo>
                    <a:pt x="7605" y="3063"/>
                  </a:lnTo>
                  <a:lnTo>
                    <a:pt x="7614" y="3063"/>
                  </a:lnTo>
                  <a:lnTo>
                    <a:pt x="7614" y="3054"/>
                  </a:lnTo>
                  <a:lnTo>
                    <a:pt x="7623" y="3045"/>
                  </a:lnTo>
                  <a:lnTo>
                    <a:pt x="7614" y="3045"/>
                  </a:lnTo>
                  <a:lnTo>
                    <a:pt x="7605" y="3045"/>
                  </a:lnTo>
                  <a:lnTo>
                    <a:pt x="7596" y="3045"/>
                  </a:lnTo>
                  <a:lnTo>
                    <a:pt x="7587" y="3045"/>
                  </a:lnTo>
                  <a:lnTo>
                    <a:pt x="7596" y="3045"/>
                  </a:lnTo>
                  <a:close/>
                  <a:moveTo>
                    <a:pt x="7578" y="3115"/>
                  </a:moveTo>
                  <a:lnTo>
                    <a:pt x="7570" y="3107"/>
                  </a:lnTo>
                  <a:lnTo>
                    <a:pt x="7561" y="3115"/>
                  </a:lnTo>
                  <a:lnTo>
                    <a:pt x="7570" y="3124"/>
                  </a:lnTo>
                  <a:lnTo>
                    <a:pt x="7587" y="3133"/>
                  </a:lnTo>
                  <a:lnTo>
                    <a:pt x="7587" y="3124"/>
                  </a:lnTo>
                  <a:close/>
                  <a:moveTo>
                    <a:pt x="7808" y="3592"/>
                  </a:moveTo>
                  <a:lnTo>
                    <a:pt x="7799" y="3592"/>
                  </a:lnTo>
                  <a:lnTo>
                    <a:pt x="7799" y="3601"/>
                  </a:lnTo>
                  <a:lnTo>
                    <a:pt x="7817" y="3610"/>
                  </a:lnTo>
                  <a:lnTo>
                    <a:pt x="7825" y="3610"/>
                  </a:lnTo>
                  <a:lnTo>
                    <a:pt x="7825" y="3592"/>
                  </a:lnTo>
                  <a:lnTo>
                    <a:pt x="7817" y="3592"/>
                  </a:lnTo>
                  <a:close/>
                  <a:moveTo>
                    <a:pt x="7552" y="3142"/>
                  </a:moveTo>
                  <a:lnTo>
                    <a:pt x="7552" y="3151"/>
                  </a:lnTo>
                  <a:lnTo>
                    <a:pt x="7570" y="3168"/>
                  </a:lnTo>
                  <a:lnTo>
                    <a:pt x="7578" y="3168"/>
                  </a:lnTo>
                  <a:lnTo>
                    <a:pt x="7587" y="3168"/>
                  </a:lnTo>
                  <a:lnTo>
                    <a:pt x="7587" y="3177"/>
                  </a:lnTo>
                  <a:lnTo>
                    <a:pt x="7596" y="3177"/>
                  </a:lnTo>
                  <a:lnTo>
                    <a:pt x="7596" y="3168"/>
                  </a:lnTo>
                  <a:lnTo>
                    <a:pt x="7605" y="3168"/>
                  </a:lnTo>
                  <a:lnTo>
                    <a:pt x="7605" y="3160"/>
                  </a:lnTo>
                  <a:lnTo>
                    <a:pt x="7605" y="3151"/>
                  </a:lnTo>
                  <a:lnTo>
                    <a:pt x="7596" y="3142"/>
                  </a:lnTo>
                  <a:lnTo>
                    <a:pt x="7587" y="3142"/>
                  </a:lnTo>
                  <a:lnTo>
                    <a:pt x="7570" y="3142"/>
                  </a:lnTo>
                  <a:close/>
                  <a:moveTo>
                    <a:pt x="7367" y="2171"/>
                  </a:moveTo>
                  <a:lnTo>
                    <a:pt x="7358" y="2171"/>
                  </a:lnTo>
                  <a:lnTo>
                    <a:pt x="7349" y="2171"/>
                  </a:lnTo>
                  <a:lnTo>
                    <a:pt x="7340" y="2180"/>
                  </a:lnTo>
                  <a:lnTo>
                    <a:pt x="7367" y="2189"/>
                  </a:lnTo>
                  <a:lnTo>
                    <a:pt x="7367" y="2180"/>
                  </a:lnTo>
                  <a:lnTo>
                    <a:pt x="7376" y="2180"/>
                  </a:lnTo>
                  <a:lnTo>
                    <a:pt x="7376" y="2171"/>
                  </a:lnTo>
                  <a:close/>
                  <a:moveTo>
                    <a:pt x="11628" y="4148"/>
                  </a:moveTo>
                  <a:lnTo>
                    <a:pt x="11619" y="4157"/>
                  </a:lnTo>
                  <a:lnTo>
                    <a:pt x="11610" y="4157"/>
                  </a:lnTo>
                  <a:lnTo>
                    <a:pt x="11601" y="4157"/>
                  </a:lnTo>
                  <a:lnTo>
                    <a:pt x="11593" y="4175"/>
                  </a:lnTo>
                  <a:lnTo>
                    <a:pt x="11601" y="4175"/>
                  </a:lnTo>
                  <a:lnTo>
                    <a:pt x="11610" y="4183"/>
                  </a:lnTo>
                  <a:lnTo>
                    <a:pt x="11619" y="4183"/>
                  </a:lnTo>
                  <a:lnTo>
                    <a:pt x="11654" y="4175"/>
                  </a:lnTo>
                  <a:lnTo>
                    <a:pt x="11637" y="4175"/>
                  </a:lnTo>
                  <a:lnTo>
                    <a:pt x="11637" y="4183"/>
                  </a:lnTo>
                  <a:lnTo>
                    <a:pt x="11628" y="4183"/>
                  </a:lnTo>
                  <a:lnTo>
                    <a:pt x="11619" y="4192"/>
                  </a:lnTo>
                  <a:lnTo>
                    <a:pt x="11610" y="4201"/>
                  </a:lnTo>
                  <a:lnTo>
                    <a:pt x="11619" y="4192"/>
                  </a:lnTo>
                  <a:lnTo>
                    <a:pt x="11628" y="4192"/>
                  </a:lnTo>
                  <a:lnTo>
                    <a:pt x="11654" y="4192"/>
                  </a:lnTo>
                  <a:lnTo>
                    <a:pt x="11646" y="4201"/>
                  </a:lnTo>
                  <a:lnTo>
                    <a:pt x="11637" y="4210"/>
                  </a:lnTo>
                  <a:lnTo>
                    <a:pt x="11646" y="4210"/>
                  </a:lnTo>
                  <a:lnTo>
                    <a:pt x="11654" y="4201"/>
                  </a:lnTo>
                  <a:lnTo>
                    <a:pt x="11663" y="4201"/>
                  </a:lnTo>
                  <a:lnTo>
                    <a:pt x="11672" y="4210"/>
                  </a:lnTo>
                  <a:lnTo>
                    <a:pt x="11707" y="4201"/>
                  </a:lnTo>
                  <a:lnTo>
                    <a:pt x="11716" y="4192"/>
                  </a:lnTo>
                  <a:lnTo>
                    <a:pt x="11725" y="4192"/>
                  </a:lnTo>
                  <a:lnTo>
                    <a:pt x="11734" y="4183"/>
                  </a:lnTo>
                  <a:lnTo>
                    <a:pt x="11743" y="4183"/>
                  </a:lnTo>
                  <a:lnTo>
                    <a:pt x="11743" y="4175"/>
                  </a:lnTo>
                  <a:lnTo>
                    <a:pt x="11743" y="4166"/>
                  </a:lnTo>
                  <a:lnTo>
                    <a:pt x="11751" y="4166"/>
                  </a:lnTo>
                  <a:lnTo>
                    <a:pt x="11751" y="4175"/>
                  </a:lnTo>
                  <a:lnTo>
                    <a:pt x="11760" y="4175"/>
                  </a:lnTo>
                  <a:lnTo>
                    <a:pt x="11769" y="4175"/>
                  </a:lnTo>
                  <a:lnTo>
                    <a:pt x="11778" y="4166"/>
                  </a:lnTo>
                  <a:lnTo>
                    <a:pt x="11796" y="4157"/>
                  </a:lnTo>
                  <a:lnTo>
                    <a:pt x="11804" y="4148"/>
                  </a:lnTo>
                  <a:lnTo>
                    <a:pt x="11813" y="4148"/>
                  </a:lnTo>
                  <a:lnTo>
                    <a:pt x="11831" y="4148"/>
                  </a:lnTo>
                  <a:lnTo>
                    <a:pt x="11840" y="4148"/>
                  </a:lnTo>
                  <a:lnTo>
                    <a:pt x="11840" y="4139"/>
                  </a:lnTo>
                  <a:lnTo>
                    <a:pt x="11848" y="4130"/>
                  </a:lnTo>
                  <a:lnTo>
                    <a:pt x="11848" y="4139"/>
                  </a:lnTo>
                  <a:lnTo>
                    <a:pt x="11857" y="4139"/>
                  </a:lnTo>
                  <a:lnTo>
                    <a:pt x="11866" y="4139"/>
                  </a:lnTo>
                  <a:lnTo>
                    <a:pt x="11875" y="4139"/>
                  </a:lnTo>
                  <a:lnTo>
                    <a:pt x="11884" y="4139"/>
                  </a:lnTo>
                  <a:lnTo>
                    <a:pt x="11893" y="4130"/>
                  </a:lnTo>
                  <a:lnTo>
                    <a:pt x="11884" y="4122"/>
                  </a:lnTo>
                  <a:lnTo>
                    <a:pt x="11893" y="4122"/>
                  </a:lnTo>
                  <a:lnTo>
                    <a:pt x="11901" y="4104"/>
                  </a:lnTo>
                  <a:lnTo>
                    <a:pt x="11901" y="4095"/>
                  </a:lnTo>
                  <a:lnTo>
                    <a:pt x="11901" y="4086"/>
                  </a:lnTo>
                  <a:lnTo>
                    <a:pt x="11910" y="4077"/>
                  </a:lnTo>
                  <a:lnTo>
                    <a:pt x="11910" y="4069"/>
                  </a:lnTo>
                  <a:lnTo>
                    <a:pt x="11919" y="4069"/>
                  </a:lnTo>
                  <a:lnTo>
                    <a:pt x="11910" y="4051"/>
                  </a:lnTo>
                  <a:lnTo>
                    <a:pt x="11910" y="4042"/>
                  </a:lnTo>
                  <a:lnTo>
                    <a:pt x="11910" y="4033"/>
                  </a:lnTo>
                  <a:lnTo>
                    <a:pt x="11901" y="4024"/>
                  </a:lnTo>
                  <a:lnTo>
                    <a:pt x="11910" y="4024"/>
                  </a:lnTo>
                  <a:lnTo>
                    <a:pt x="11910" y="4016"/>
                  </a:lnTo>
                  <a:lnTo>
                    <a:pt x="11910" y="4007"/>
                  </a:lnTo>
                  <a:lnTo>
                    <a:pt x="11910" y="3998"/>
                  </a:lnTo>
                  <a:lnTo>
                    <a:pt x="11901" y="3998"/>
                  </a:lnTo>
                  <a:lnTo>
                    <a:pt x="11901" y="3980"/>
                  </a:lnTo>
                  <a:lnTo>
                    <a:pt x="11893" y="3972"/>
                  </a:lnTo>
                  <a:lnTo>
                    <a:pt x="11893" y="3963"/>
                  </a:lnTo>
                  <a:lnTo>
                    <a:pt x="11893" y="3954"/>
                  </a:lnTo>
                  <a:lnTo>
                    <a:pt x="11901" y="3963"/>
                  </a:lnTo>
                  <a:lnTo>
                    <a:pt x="11901" y="3954"/>
                  </a:lnTo>
                  <a:lnTo>
                    <a:pt x="11910" y="3954"/>
                  </a:lnTo>
                  <a:lnTo>
                    <a:pt x="11919" y="3954"/>
                  </a:lnTo>
                  <a:lnTo>
                    <a:pt x="11928" y="3945"/>
                  </a:lnTo>
                  <a:lnTo>
                    <a:pt x="11928" y="3936"/>
                  </a:lnTo>
                  <a:lnTo>
                    <a:pt x="11937" y="3936"/>
                  </a:lnTo>
                  <a:lnTo>
                    <a:pt x="11945" y="3927"/>
                  </a:lnTo>
                  <a:lnTo>
                    <a:pt x="11945" y="3919"/>
                  </a:lnTo>
                  <a:lnTo>
                    <a:pt x="11945" y="3910"/>
                  </a:lnTo>
                  <a:lnTo>
                    <a:pt x="11937" y="3901"/>
                  </a:lnTo>
                  <a:lnTo>
                    <a:pt x="11945" y="3901"/>
                  </a:lnTo>
                  <a:lnTo>
                    <a:pt x="11945" y="3910"/>
                  </a:lnTo>
                  <a:lnTo>
                    <a:pt x="11954" y="3910"/>
                  </a:lnTo>
                  <a:lnTo>
                    <a:pt x="11954" y="3919"/>
                  </a:lnTo>
                  <a:lnTo>
                    <a:pt x="11954" y="3910"/>
                  </a:lnTo>
                  <a:lnTo>
                    <a:pt x="11954" y="3901"/>
                  </a:lnTo>
                  <a:lnTo>
                    <a:pt x="11954" y="3892"/>
                  </a:lnTo>
                  <a:lnTo>
                    <a:pt x="11945" y="3892"/>
                  </a:lnTo>
                  <a:lnTo>
                    <a:pt x="11937" y="3892"/>
                  </a:lnTo>
                  <a:lnTo>
                    <a:pt x="11928" y="3892"/>
                  </a:lnTo>
                  <a:lnTo>
                    <a:pt x="11937" y="3883"/>
                  </a:lnTo>
                  <a:lnTo>
                    <a:pt x="11937" y="3874"/>
                  </a:lnTo>
                  <a:lnTo>
                    <a:pt x="11928" y="3866"/>
                  </a:lnTo>
                  <a:lnTo>
                    <a:pt x="11919" y="3857"/>
                  </a:lnTo>
                  <a:lnTo>
                    <a:pt x="11910" y="3839"/>
                  </a:lnTo>
                  <a:lnTo>
                    <a:pt x="11901" y="3839"/>
                  </a:lnTo>
                  <a:lnTo>
                    <a:pt x="11893" y="3830"/>
                  </a:lnTo>
                  <a:lnTo>
                    <a:pt x="11884" y="3830"/>
                  </a:lnTo>
                  <a:lnTo>
                    <a:pt x="11866" y="3839"/>
                  </a:lnTo>
                  <a:lnTo>
                    <a:pt x="11857" y="3839"/>
                  </a:lnTo>
                  <a:lnTo>
                    <a:pt x="11848" y="3839"/>
                  </a:lnTo>
                  <a:lnTo>
                    <a:pt x="11840" y="3848"/>
                  </a:lnTo>
                  <a:lnTo>
                    <a:pt x="11840" y="3857"/>
                  </a:lnTo>
                  <a:lnTo>
                    <a:pt x="11831" y="3848"/>
                  </a:lnTo>
                  <a:lnTo>
                    <a:pt x="11840" y="3839"/>
                  </a:lnTo>
                  <a:lnTo>
                    <a:pt x="11848" y="3830"/>
                  </a:lnTo>
                  <a:lnTo>
                    <a:pt x="11840" y="3830"/>
                  </a:lnTo>
                  <a:lnTo>
                    <a:pt x="11831" y="3830"/>
                  </a:lnTo>
                  <a:lnTo>
                    <a:pt x="11822" y="3822"/>
                  </a:lnTo>
                  <a:lnTo>
                    <a:pt x="11813" y="3822"/>
                  </a:lnTo>
                  <a:lnTo>
                    <a:pt x="11822" y="3830"/>
                  </a:lnTo>
                  <a:lnTo>
                    <a:pt x="11813" y="3830"/>
                  </a:lnTo>
                  <a:lnTo>
                    <a:pt x="11804" y="3830"/>
                  </a:lnTo>
                  <a:lnTo>
                    <a:pt x="11804" y="3839"/>
                  </a:lnTo>
                  <a:lnTo>
                    <a:pt x="11804" y="3848"/>
                  </a:lnTo>
                  <a:lnTo>
                    <a:pt x="11804" y="3857"/>
                  </a:lnTo>
                  <a:lnTo>
                    <a:pt x="11796" y="3857"/>
                  </a:lnTo>
                  <a:lnTo>
                    <a:pt x="11796" y="3848"/>
                  </a:lnTo>
                  <a:lnTo>
                    <a:pt x="11804" y="3848"/>
                  </a:lnTo>
                  <a:lnTo>
                    <a:pt x="11804" y="3839"/>
                  </a:lnTo>
                  <a:lnTo>
                    <a:pt x="11796" y="3839"/>
                  </a:lnTo>
                  <a:lnTo>
                    <a:pt x="11796" y="3830"/>
                  </a:lnTo>
                  <a:lnTo>
                    <a:pt x="11787" y="3830"/>
                  </a:lnTo>
                  <a:lnTo>
                    <a:pt x="11787" y="3839"/>
                  </a:lnTo>
                  <a:lnTo>
                    <a:pt x="11769" y="3839"/>
                  </a:lnTo>
                  <a:lnTo>
                    <a:pt x="11760" y="3839"/>
                  </a:lnTo>
                  <a:lnTo>
                    <a:pt x="11751" y="3839"/>
                  </a:lnTo>
                  <a:lnTo>
                    <a:pt x="11751" y="3848"/>
                  </a:lnTo>
                  <a:lnTo>
                    <a:pt x="11743" y="3848"/>
                  </a:lnTo>
                  <a:lnTo>
                    <a:pt x="11743" y="3857"/>
                  </a:lnTo>
                  <a:lnTo>
                    <a:pt x="11743" y="3866"/>
                  </a:lnTo>
                  <a:lnTo>
                    <a:pt x="11734" y="3874"/>
                  </a:lnTo>
                  <a:lnTo>
                    <a:pt x="11734" y="3883"/>
                  </a:lnTo>
                  <a:lnTo>
                    <a:pt x="11725" y="3883"/>
                  </a:lnTo>
                  <a:lnTo>
                    <a:pt x="11716" y="3883"/>
                  </a:lnTo>
                  <a:lnTo>
                    <a:pt x="11716" y="3892"/>
                  </a:lnTo>
                  <a:lnTo>
                    <a:pt x="11734" y="3901"/>
                  </a:lnTo>
                  <a:lnTo>
                    <a:pt x="11760" y="3892"/>
                  </a:lnTo>
                  <a:lnTo>
                    <a:pt x="11751" y="3901"/>
                  </a:lnTo>
                  <a:lnTo>
                    <a:pt x="11751" y="3910"/>
                  </a:lnTo>
                  <a:lnTo>
                    <a:pt x="11743" y="3910"/>
                  </a:lnTo>
                  <a:lnTo>
                    <a:pt x="11734" y="3919"/>
                  </a:lnTo>
                  <a:lnTo>
                    <a:pt x="11725" y="3919"/>
                  </a:lnTo>
                  <a:lnTo>
                    <a:pt x="11725" y="3927"/>
                  </a:lnTo>
                  <a:lnTo>
                    <a:pt x="11734" y="3936"/>
                  </a:lnTo>
                  <a:lnTo>
                    <a:pt x="11725" y="3936"/>
                  </a:lnTo>
                  <a:lnTo>
                    <a:pt x="11716" y="3936"/>
                  </a:lnTo>
                  <a:lnTo>
                    <a:pt x="11698" y="3927"/>
                  </a:lnTo>
                  <a:lnTo>
                    <a:pt x="11690" y="3927"/>
                  </a:lnTo>
                  <a:lnTo>
                    <a:pt x="11690" y="3936"/>
                  </a:lnTo>
                  <a:lnTo>
                    <a:pt x="11672" y="3927"/>
                  </a:lnTo>
                  <a:lnTo>
                    <a:pt x="11654" y="3927"/>
                  </a:lnTo>
                  <a:lnTo>
                    <a:pt x="11646" y="3927"/>
                  </a:lnTo>
                  <a:lnTo>
                    <a:pt x="11637" y="3936"/>
                  </a:lnTo>
                  <a:lnTo>
                    <a:pt x="11628" y="3936"/>
                  </a:lnTo>
                  <a:lnTo>
                    <a:pt x="11619" y="3927"/>
                  </a:lnTo>
                  <a:lnTo>
                    <a:pt x="11619" y="3936"/>
                  </a:lnTo>
                  <a:lnTo>
                    <a:pt x="11619" y="3945"/>
                  </a:lnTo>
                  <a:lnTo>
                    <a:pt x="11628" y="3936"/>
                  </a:lnTo>
                  <a:lnTo>
                    <a:pt x="11628" y="3945"/>
                  </a:lnTo>
                  <a:lnTo>
                    <a:pt x="11628" y="3954"/>
                  </a:lnTo>
                  <a:lnTo>
                    <a:pt x="11637" y="3954"/>
                  </a:lnTo>
                  <a:lnTo>
                    <a:pt x="11637" y="3963"/>
                  </a:lnTo>
                  <a:lnTo>
                    <a:pt x="11628" y="3963"/>
                  </a:lnTo>
                  <a:lnTo>
                    <a:pt x="11628" y="3972"/>
                  </a:lnTo>
                  <a:lnTo>
                    <a:pt x="11646" y="3972"/>
                  </a:lnTo>
                  <a:lnTo>
                    <a:pt x="11654" y="3972"/>
                  </a:lnTo>
                  <a:lnTo>
                    <a:pt x="11654" y="3980"/>
                  </a:lnTo>
                  <a:lnTo>
                    <a:pt x="11646" y="3980"/>
                  </a:lnTo>
                  <a:lnTo>
                    <a:pt x="11628" y="3989"/>
                  </a:lnTo>
                  <a:lnTo>
                    <a:pt x="11637" y="3998"/>
                  </a:lnTo>
                  <a:lnTo>
                    <a:pt x="11646" y="3998"/>
                  </a:lnTo>
                  <a:lnTo>
                    <a:pt x="11628" y="3998"/>
                  </a:lnTo>
                  <a:lnTo>
                    <a:pt x="11619" y="4007"/>
                  </a:lnTo>
                  <a:lnTo>
                    <a:pt x="11610" y="4007"/>
                  </a:lnTo>
                  <a:lnTo>
                    <a:pt x="11619" y="4007"/>
                  </a:lnTo>
                  <a:lnTo>
                    <a:pt x="11619" y="4016"/>
                  </a:lnTo>
                  <a:lnTo>
                    <a:pt x="11628" y="4016"/>
                  </a:lnTo>
                  <a:lnTo>
                    <a:pt x="11637" y="4016"/>
                  </a:lnTo>
                  <a:lnTo>
                    <a:pt x="11628" y="4024"/>
                  </a:lnTo>
                  <a:lnTo>
                    <a:pt x="11637" y="4024"/>
                  </a:lnTo>
                  <a:lnTo>
                    <a:pt x="11646" y="4024"/>
                  </a:lnTo>
                  <a:lnTo>
                    <a:pt x="11654" y="4024"/>
                  </a:lnTo>
                  <a:lnTo>
                    <a:pt x="11654" y="4033"/>
                  </a:lnTo>
                  <a:lnTo>
                    <a:pt x="11663" y="4033"/>
                  </a:lnTo>
                  <a:lnTo>
                    <a:pt x="11690" y="4033"/>
                  </a:lnTo>
                  <a:lnTo>
                    <a:pt x="11698" y="4042"/>
                  </a:lnTo>
                  <a:lnTo>
                    <a:pt x="11690" y="4042"/>
                  </a:lnTo>
                  <a:lnTo>
                    <a:pt x="11681" y="4051"/>
                  </a:lnTo>
                  <a:lnTo>
                    <a:pt x="11672" y="4051"/>
                  </a:lnTo>
                  <a:lnTo>
                    <a:pt x="11663" y="4069"/>
                  </a:lnTo>
                  <a:lnTo>
                    <a:pt x="11663" y="4077"/>
                  </a:lnTo>
                  <a:lnTo>
                    <a:pt x="11654" y="4077"/>
                  </a:lnTo>
                  <a:lnTo>
                    <a:pt x="11646" y="4095"/>
                  </a:lnTo>
                  <a:lnTo>
                    <a:pt x="11628" y="4104"/>
                  </a:lnTo>
                  <a:lnTo>
                    <a:pt x="11637" y="4104"/>
                  </a:lnTo>
                  <a:lnTo>
                    <a:pt x="11654" y="4095"/>
                  </a:lnTo>
                  <a:lnTo>
                    <a:pt x="11663" y="4095"/>
                  </a:lnTo>
                  <a:lnTo>
                    <a:pt x="11681" y="4095"/>
                  </a:lnTo>
                  <a:lnTo>
                    <a:pt x="11690" y="4095"/>
                  </a:lnTo>
                  <a:lnTo>
                    <a:pt x="11698" y="4086"/>
                  </a:lnTo>
                  <a:lnTo>
                    <a:pt x="11716" y="4095"/>
                  </a:lnTo>
                  <a:lnTo>
                    <a:pt x="11690" y="4095"/>
                  </a:lnTo>
                  <a:lnTo>
                    <a:pt x="11672" y="4104"/>
                  </a:lnTo>
                  <a:lnTo>
                    <a:pt x="11654" y="4104"/>
                  </a:lnTo>
                  <a:lnTo>
                    <a:pt x="11646" y="4104"/>
                  </a:lnTo>
                  <a:lnTo>
                    <a:pt x="11637" y="4113"/>
                  </a:lnTo>
                  <a:lnTo>
                    <a:pt x="11628" y="4122"/>
                  </a:lnTo>
                  <a:lnTo>
                    <a:pt x="11637" y="4122"/>
                  </a:lnTo>
                  <a:lnTo>
                    <a:pt x="11637" y="4130"/>
                  </a:lnTo>
                  <a:lnTo>
                    <a:pt x="11628" y="4139"/>
                  </a:lnTo>
                  <a:lnTo>
                    <a:pt x="11619" y="4130"/>
                  </a:lnTo>
                  <a:lnTo>
                    <a:pt x="11610" y="4130"/>
                  </a:lnTo>
                  <a:lnTo>
                    <a:pt x="11593" y="4139"/>
                  </a:lnTo>
                  <a:lnTo>
                    <a:pt x="11593" y="4148"/>
                  </a:lnTo>
                  <a:lnTo>
                    <a:pt x="11601" y="4148"/>
                  </a:lnTo>
                  <a:close/>
                  <a:moveTo>
                    <a:pt x="5743" y="1880"/>
                  </a:moveTo>
                  <a:lnTo>
                    <a:pt x="5743" y="1889"/>
                  </a:lnTo>
                  <a:lnTo>
                    <a:pt x="5752" y="1915"/>
                  </a:lnTo>
                  <a:lnTo>
                    <a:pt x="5752" y="1924"/>
                  </a:lnTo>
                  <a:lnTo>
                    <a:pt x="5752" y="1933"/>
                  </a:lnTo>
                  <a:lnTo>
                    <a:pt x="5761" y="1933"/>
                  </a:lnTo>
                  <a:lnTo>
                    <a:pt x="5787" y="1950"/>
                  </a:lnTo>
                  <a:lnTo>
                    <a:pt x="5814" y="1959"/>
                  </a:lnTo>
                  <a:lnTo>
                    <a:pt x="5849" y="1959"/>
                  </a:lnTo>
                  <a:lnTo>
                    <a:pt x="5885" y="1959"/>
                  </a:lnTo>
                  <a:lnTo>
                    <a:pt x="5902" y="1968"/>
                  </a:lnTo>
                  <a:lnTo>
                    <a:pt x="5920" y="1977"/>
                  </a:lnTo>
                  <a:lnTo>
                    <a:pt x="5937" y="1986"/>
                  </a:lnTo>
                  <a:lnTo>
                    <a:pt x="5955" y="1995"/>
                  </a:lnTo>
                  <a:lnTo>
                    <a:pt x="5946" y="1995"/>
                  </a:lnTo>
                  <a:lnTo>
                    <a:pt x="5920" y="2003"/>
                  </a:lnTo>
                  <a:lnTo>
                    <a:pt x="5902" y="2003"/>
                  </a:lnTo>
                  <a:lnTo>
                    <a:pt x="5885" y="2003"/>
                  </a:lnTo>
                  <a:lnTo>
                    <a:pt x="5867" y="1995"/>
                  </a:lnTo>
                  <a:lnTo>
                    <a:pt x="5849" y="1986"/>
                  </a:lnTo>
                  <a:lnTo>
                    <a:pt x="5840" y="1986"/>
                  </a:lnTo>
                  <a:lnTo>
                    <a:pt x="5814" y="1986"/>
                  </a:lnTo>
                  <a:lnTo>
                    <a:pt x="5787" y="1986"/>
                  </a:lnTo>
                  <a:lnTo>
                    <a:pt x="5779" y="1986"/>
                  </a:lnTo>
                  <a:lnTo>
                    <a:pt x="5787" y="1986"/>
                  </a:lnTo>
                  <a:lnTo>
                    <a:pt x="5787" y="1995"/>
                  </a:lnTo>
                  <a:lnTo>
                    <a:pt x="5796" y="2021"/>
                  </a:lnTo>
                  <a:lnTo>
                    <a:pt x="5796" y="2030"/>
                  </a:lnTo>
                  <a:lnTo>
                    <a:pt x="5823" y="2056"/>
                  </a:lnTo>
                  <a:lnTo>
                    <a:pt x="5832" y="2065"/>
                  </a:lnTo>
                  <a:lnTo>
                    <a:pt x="5840" y="2065"/>
                  </a:lnTo>
                  <a:lnTo>
                    <a:pt x="5858" y="2065"/>
                  </a:lnTo>
                  <a:lnTo>
                    <a:pt x="5876" y="2074"/>
                  </a:lnTo>
                  <a:lnTo>
                    <a:pt x="5893" y="2092"/>
                  </a:lnTo>
                  <a:lnTo>
                    <a:pt x="5902" y="2092"/>
                  </a:lnTo>
                  <a:lnTo>
                    <a:pt x="5911" y="2083"/>
                  </a:lnTo>
                  <a:lnTo>
                    <a:pt x="5920" y="2083"/>
                  </a:lnTo>
                  <a:lnTo>
                    <a:pt x="5929" y="2083"/>
                  </a:lnTo>
                  <a:lnTo>
                    <a:pt x="5946" y="2083"/>
                  </a:lnTo>
                  <a:lnTo>
                    <a:pt x="5955" y="2083"/>
                  </a:lnTo>
                  <a:lnTo>
                    <a:pt x="5955" y="2074"/>
                  </a:lnTo>
                  <a:lnTo>
                    <a:pt x="5946" y="2074"/>
                  </a:lnTo>
                  <a:lnTo>
                    <a:pt x="5955" y="2074"/>
                  </a:lnTo>
                  <a:lnTo>
                    <a:pt x="5973" y="2074"/>
                  </a:lnTo>
                  <a:lnTo>
                    <a:pt x="5982" y="2074"/>
                  </a:lnTo>
                  <a:lnTo>
                    <a:pt x="5990" y="2074"/>
                  </a:lnTo>
                  <a:lnTo>
                    <a:pt x="6008" y="2065"/>
                  </a:lnTo>
                  <a:lnTo>
                    <a:pt x="5999" y="2074"/>
                  </a:lnTo>
                  <a:lnTo>
                    <a:pt x="5999" y="2083"/>
                  </a:lnTo>
                  <a:lnTo>
                    <a:pt x="5999" y="2092"/>
                  </a:lnTo>
                  <a:lnTo>
                    <a:pt x="6008" y="2101"/>
                  </a:lnTo>
                  <a:lnTo>
                    <a:pt x="6008" y="2109"/>
                  </a:lnTo>
                  <a:lnTo>
                    <a:pt x="6026" y="2109"/>
                  </a:lnTo>
                  <a:lnTo>
                    <a:pt x="6052" y="2118"/>
                  </a:lnTo>
                  <a:lnTo>
                    <a:pt x="6079" y="2109"/>
                  </a:lnTo>
                  <a:lnTo>
                    <a:pt x="6105" y="2118"/>
                  </a:lnTo>
                  <a:lnTo>
                    <a:pt x="6114" y="2118"/>
                  </a:lnTo>
                  <a:lnTo>
                    <a:pt x="6123" y="2118"/>
                  </a:lnTo>
                  <a:lnTo>
                    <a:pt x="6123" y="2127"/>
                  </a:lnTo>
                  <a:lnTo>
                    <a:pt x="6140" y="2127"/>
                  </a:lnTo>
                  <a:lnTo>
                    <a:pt x="6193" y="2136"/>
                  </a:lnTo>
                  <a:lnTo>
                    <a:pt x="6220" y="2136"/>
                  </a:lnTo>
                  <a:lnTo>
                    <a:pt x="6246" y="2127"/>
                  </a:lnTo>
                  <a:lnTo>
                    <a:pt x="6264" y="2127"/>
                  </a:lnTo>
                  <a:lnTo>
                    <a:pt x="6290" y="2145"/>
                  </a:lnTo>
                  <a:lnTo>
                    <a:pt x="6308" y="2145"/>
                  </a:lnTo>
                  <a:lnTo>
                    <a:pt x="6317" y="2145"/>
                  </a:lnTo>
                  <a:lnTo>
                    <a:pt x="6334" y="2145"/>
                  </a:lnTo>
                  <a:lnTo>
                    <a:pt x="6361" y="2136"/>
                  </a:lnTo>
                  <a:lnTo>
                    <a:pt x="6405" y="2162"/>
                  </a:lnTo>
                  <a:lnTo>
                    <a:pt x="6414" y="2153"/>
                  </a:lnTo>
                  <a:lnTo>
                    <a:pt x="6405" y="2145"/>
                  </a:lnTo>
                  <a:lnTo>
                    <a:pt x="6387" y="2127"/>
                  </a:lnTo>
                  <a:lnTo>
                    <a:pt x="6379" y="2127"/>
                  </a:lnTo>
                  <a:lnTo>
                    <a:pt x="6370" y="2127"/>
                  </a:lnTo>
                  <a:lnTo>
                    <a:pt x="6361" y="2118"/>
                  </a:lnTo>
                  <a:lnTo>
                    <a:pt x="6352" y="2118"/>
                  </a:lnTo>
                  <a:lnTo>
                    <a:pt x="6361" y="2109"/>
                  </a:lnTo>
                  <a:lnTo>
                    <a:pt x="6396" y="2118"/>
                  </a:lnTo>
                  <a:lnTo>
                    <a:pt x="6414" y="2118"/>
                  </a:lnTo>
                  <a:lnTo>
                    <a:pt x="6432" y="2118"/>
                  </a:lnTo>
                  <a:lnTo>
                    <a:pt x="6449" y="2127"/>
                  </a:lnTo>
                  <a:lnTo>
                    <a:pt x="6458" y="2127"/>
                  </a:lnTo>
                  <a:lnTo>
                    <a:pt x="6467" y="2127"/>
                  </a:lnTo>
                  <a:lnTo>
                    <a:pt x="6502" y="2145"/>
                  </a:lnTo>
                  <a:lnTo>
                    <a:pt x="6511" y="2145"/>
                  </a:lnTo>
                  <a:lnTo>
                    <a:pt x="6529" y="2145"/>
                  </a:lnTo>
                  <a:lnTo>
                    <a:pt x="6546" y="2136"/>
                  </a:lnTo>
                  <a:lnTo>
                    <a:pt x="6555" y="2127"/>
                  </a:lnTo>
                  <a:lnTo>
                    <a:pt x="6564" y="2127"/>
                  </a:lnTo>
                  <a:lnTo>
                    <a:pt x="6564" y="2118"/>
                  </a:lnTo>
                  <a:lnTo>
                    <a:pt x="6564" y="2109"/>
                  </a:lnTo>
                  <a:lnTo>
                    <a:pt x="6564" y="2101"/>
                  </a:lnTo>
                  <a:lnTo>
                    <a:pt x="6564" y="2092"/>
                  </a:lnTo>
                  <a:lnTo>
                    <a:pt x="6555" y="2092"/>
                  </a:lnTo>
                  <a:lnTo>
                    <a:pt x="6546" y="2083"/>
                  </a:lnTo>
                  <a:lnTo>
                    <a:pt x="6529" y="2074"/>
                  </a:lnTo>
                  <a:lnTo>
                    <a:pt x="6520" y="2074"/>
                  </a:lnTo>
                  <a:lnTo>
                    <a:pt x="6520" y="2065"/>
                  </a:lnTo>
                  <a:lnTo>
                    <a:pt x="6529" y="2065"/>
                  </a:lnTo>
                  <a:lnTo>
                    <a:pt x="6529" y="2056"/>
                  </a:lnTo>
                  <a:lnTo>
                    <a:pt x="6537" y="2048"/>
                  </a:lnTo>
                  <a:lnTo>
                    <a:pt x="6546" y="2048"/>
                  </a:lnTo>
                  <a:lnTo>
                    <a:pt x="6555" y="2048"/>
                  </a:lnTo>
                  <a:lnTo>
                    <a:pt x="6555" y="2056"/>
                  </a:lnTo>
                  <a:lnTo>
                    <a:pt x="6564" y="2065"/>
                  </a:lnTo>
                  <a:lnTo>
                    <a:pt x="6581" y="2083"/>
                  </a:lnTo>
                  <a:lnTo>
                    <a:pt x="6590" y="2083"/>
                  </a:lnTo>
                  <a:lnTo>
                    <a:pt x="6599" y="2101"/>
                  </a:lnTo>
                  <a:lnTo>
                    <a:pt x="6608" y="2101"/>
                  </a:lnTo>
                  <a:lnTo>
                    <a:pt x="6617" y="2101"/>
                  </a:lnTo>
                  <a:lnTo>
                    <a:pt x="6634" y="2092"/>
                  </a:lnTo>
                  <a:lnTo>
                    <a:pt x="6643" y="2092"/>
                  </a:lnTo>
                  <a:lnTo>
                    <a:pt x="6643" y="2101"/>
                  </a:lnTo>
                  <a:lnTo>
                    <a:pt x="6652" y="2118"/>
                  </a:lnTo>
                  <a:lnTo>
                    <a:pt x="6652" y="2136"/>
                  </a:lnTo>
                  <a:lnTo>
                    <a:pt x="6652" y="2145"/>
                  </a:lnTo>
                  <a:lnTo>
                    <a:pt x="6661" y="2145"/>
                  </a:lnTo>
                  <a:lnTo>
                    <a:pt x="6679" y="2145"/>
                  </a:lnTo>
                  <a:lnTo>
                    <a:pt x="6696" y="2145"/>
                  </a:lnTo>
                  <a:lnTo>
                    <a:pt x="6696" y="2153"/>
                  </a:lnTo>
                  <a:lnTo>
                    <a:pt x="6705" y="2153"/>
                  </a:lnTo>
                  <a:lnTo>
                    <a:pt x="6705" y="2162"/>
                  </a:lnTo>
                  <a:lnTo>
                    <a:pt x="6696" y="2171"/>
                  </a:lnTo>
                  <a:lnTo>
                    <a:pt x="6687" y="2171"/>
                  </a:lnTo>
                  <a:lnTo>
                    <a:pt x="6696" y="2180"/>
                  </a:lnTo>
                  <a:lnTo>
                    <a:pt x="6705" y="2180"/>
                  </a:lnTo>
                  <a:lnTo>
                    <a:pt x="6714" y="2180"/>
                  </a:lnTo>
                  <a:lnTo>
                    <a:pt x="6723" y="2180"/>
                  </a:lnTo>
                  <a:lnTo>
                    <a:pt x="6731" y="2171"/>
                  </a:lnTo>
                  <a:lnTo>
                    <a:pt x="6740" y="2171"/>
                  </a:lnTo>
                  <a:lnTo>
                    <a:pt x="6758" y="2171"/>
                  </a:lnTo>
                  <a:lnTo>
                    <a:pt x="6740" y="2180"/>
                  </a:lnTo>
                  <a:lnTo>
                    <a:pt x="6731" y="2180"/>
                  </a:lnTo>
                  <a:lnTo>
                    <a:pt x="6731" y="2189"/>
                  </a:lnTo>
                  <a:lnTo>
                    <a:pt x="6740" y="2198"/>
                  </a:lnTo>
                  <a:lnTo>
                    <a:pt x="6749" y="2206"/>
                  </a:lnTo>
                  <a:lnTo>
                    <a:pt x="6758" y="2206"/>
                  </a:lnTo>
                  <a:lnTo>
                    <a:pt x="6767" y="2206"/>
                  </a:lnTo>
                  <a:lnTo>
                    <a:pt x="6784" y="2215"/>
                  </a:lnTo>
                  <a:lnTo>
                    <a:pt x="6793" y="2215"/>
                  </a:lnTo>
                  <a:lnTo>
                    <a:pt x="6793" y="2233"/>
                  </a:lnTo>
                  <a:lnTo>
                    <a:pt x="6784" y="2242"/>
                  </a:lnTo>
                  <a:lnTo>
                    <a:pt x="6784" y="2251"/>
                  </a:lnTo>
                  <a:lnTo>
                    <a:pt x="6776" y="2251"/>
                  </a:lnTo>
                  <a:lnTo>
                    <a:pt x="6767" y="2251"/>
                  </a:lnTo>
                  <a:lnTo>
                    <a:pt x="6740" y="2251"/>
                  </a:lnTo>
                  <a:lnTo>
                    <a:pt x="6731" y="2251"/>
                  </a:lnTo>
                  <a:lnTo>
                    <a:pt x="6731" y="2259"/>
                  </a:lnTo>
                  <a:lnTo>
                    <a:pt x="6731" y="2277"/>
                  </a:lnTo>
                  <a:lnTo>
                    <a:pt x="6723" y="2286"/>
                  </a:lnTo>
                  <a:lnTo>
                    <a:pt x="6723" y="2295"/>
                  </a:lnTo>
                  <a:lnTo>
                    <a:pt x="6731" y="2295"/>
                  </a:lnTo>
                  <a:lnTo>
                    <a:pt x="6740" y="2295"/>
                  </a:lnTo>
                  <a:lnTo>
                    <a:pt x="6758" y="2295"/>
                  </a:lnTo>
                  <a:lnTo>
                    <a:pt x="6784" y="2277"/>
                  </a:lnTo>
                  <a:lnTo>
                    <a:pt x="6802" y="2268"/>
                  </a:lnTo>
                  <a:lnTo>
                    <a:pt x="6802" y="2259"/>
                  </a:lnTo>
                  <a:lnTo>
                    <a:pt x="6811" y="2259"/>
                  </a:lnTo>
                  <a:lnTo>
                    <a:pt x="6820" y="2268"/>
                  </a:lnTo>
                  <a:lnTo>
                    <a:pt x="6829" y="2268"/>
                  </a:lnTo>
                  <a:lnTo>
                    <a:pt x="6837" y="2268"/>
                  </a:lnTo>
                  <a:lnTo>
                    <a:pt x="6846" y="2251"/>
                  </a:lnTo>
                  <a:lnTo>
                    <a:pt x="6855" y="2251"/>
                  </a:lnTo>
                  <a:lnTo>
                    <a:pt x="6864" y="2251"/>
                  </a:lnTo>
                  <a:lnTo>
                    <a:pt x="6864" y="2259"/>
                  </a:lnTo>
                  <a:lnTo>
                    <a:pt x="6855" y="2259"/>
                  </a:lnTo>
                  <a:lnTo>
                    <a:pt x="6846" y="2259"/>
                  </a:lnTo>
                  <a:lnTo>
                    <a:pt x="6846" y="2268"/>
                  </a:lnTo>
                  <a:lnTo>
                    <a:pt x="6855" y="2268"/>
                  </a:lnTo>
                  <a:lnTo>
                    <a:pt x="6864" y="2268"/>
                  </a:lnTo>
                  <a:lnTo>
                    <a:pt x="6855" y="2277"/>
                  </a:lnTo>
                  <a:lnTo>
                    <a:pt x="6855" y="2286"/>
                  </a:lnTo>
                  <a:lnTo>
                    <a:pt x="6864" y="2286"/>
                  </a:lnTo>
                  <a:lnTo>
                    <a:pt x="6873" y="2295"/>
                  </a:lnTo>
                  <a:lnTo>
                    <a:pt x="6890" y="2312"/>
                  </a:lnTo>
                  <a:lnTo>
                    <a:pt x="6899" y="2312"/>
                  </a:lnTo>
                  <a:lnTo>
                    <a:pt x="6908" y="2321"/>
                  </a:lnTo>
                  <a:lnTo>
                    <a:pt x="6917" y="2312"/>
                  </a:lnTo>
                  <a:lnTo>
                    <a:pt x="6908" y="2295"/>
                  </a:lnTo>
                  <a:lnTo>
                    <a:pt x="6917" y="2295"/>
                  </a:lnTo>
                  <a:lnTo>
                    <a:pt x="6926" y="2295"/>
                  </a:lnTo>
                  <a:lnTo>
                    <a:pt x="6934" y="2295"/>
                  </a:lnTo>
                  <a:lnTo>
                    <a:pt x="6934" y="2303"/>
                  </a:lnTo>
                  <a:lnTo>
                    <a:pt x="6934" y="2312"/>
                  </a:lnTo>
                  <a:lnTo>
                    <a:pt x="6934" y="2321"/>
                  </a:lnTo>
                  <a:lnTo>
                    <a:pt x="6926" y="2330"/>
                  </a:lnTo>
                  <a:lnTo>
                    <a:pt x="6934" y="2339"/>
                  </a:lnTo>
                  <a:lnTo>
                    <a:pt x="6934" y="2348"/>
                  </a:lnTo>
                  <a:lnTo>
                    <a:pt x="6943" y="2348"/>
                  </a:lnTo>
                  <a:lnTo>
                    <a:pt x="6952" y="2348"/>
                  </a:lnTo>
                  <a:lnTo>
                    <a:pt x="6970" y="2339"/>
                  </a:lnTo>
                  <a:lnTo>
                    <a:pt x="6970" y="2348"/>
                  </a:lnTo>
                  <a:lnTo>
                    <a:pt x="6987" y="2374"/>
                  </a:lnTo>
                  <a:lnTo>
                    <a:pt x="6996" y="2392"/>
                  </a:lnTo>
                  <a:lnTo>
                    <a:pt x="7014" y="2409"/>
                  </a:lnTo>
                  <a:lnTo>
                    <a:pt x="7023" y="2427"/>
                  </a:lnTo>
                  <a:lnTo>
                    <a:pt x="7040" y="2471"/>
                  </a:lnTo>
                  <a:lnTo>
                    <a:pt x="7049" y="2471"/>
                  </a:lnTo>
                  <a:lnTo>
                    <a:pt x="7049" y="2480"/>
                  </a:lnTo>
                  <a:lnTo>
                    <a:pt x="7040" y="2498"/>
                  </a:lnTo>
                  <a:lnTo>
                    <a:pt x="7031" y="2498"/>
                  </a:lnTo>
                  <a:lnTo>
                    <a:pt x="7014" y="2506"/>
                  </a:lnTo>
                  <a:lnTo>
                    <a:pt x="7005" y="2506"/>
                  </a:lnTo>
                  <a:lnTo>
                    <a:pt x="6996" y="2524"/>
                  </a:lnTo>
                  <a:lnTo>
                    <a:pt x="6996" y="2533"/>
                  </a:lnTo>
                  <a:lnTo>
                    <a:pt x="6996" y="2542"/>
                  </a:lnTo>
                  <a:lnTo>
                    <a:pt x="6987" y="2542"/>
                  </a:lnTo>
                  <a:lnTo>
                    <a:pt x="6978" y="2551"/>
                  </a:lnTo>
                  <a:lnTo>
                    <a:pt x="6970" y="2551"/>
                  </a:lnTo>
                  <a:lnTo>
                    <a:pt x="6970" y="2559"/>
                  </a:lnTo>
                  <a:lnTo>
                    <a:pt x="6961" y="2559"/>
                  </a:lnTo>
                  <a:lnTo>
                    <a:pt x="6952" y="2568"/>
                  </a:lnTo>
                  <a:lnTo>
                    <a:pt x="6926" y="2586"/>
                  </a:lnTo>
                  <a:lnTo>
                    <a:pt x="6890" y="2612"/>
                  </a:lnTo>
                  <a:lnTo>
                    <a:pt x="6890" y="2621"/>
                  </a:lnTo>
                  <a:lnTo>
                    <a:pt x="6899" y="2630"/>
                  </a:lnTo>
                  <a:lnTo>
                    <a:pt x="6917" y="2648"/>
                  </a:lnTo>
                  <a:lnTo>
                    <a:pt x="6934" y="2657"/>
                  </a:lnTo>
                  <a:lnTo>
                    <a:pt x="6934" y="2665"/>
                  </a:lnTo>
                  <a:lnTo>
                    <a:pt x="6943" y="2674"/>
                  </a:lnTo>
                  <a:lnTo>
                    <a:pt x="6952" y="2692"/>
                  </a:lnTo>
                  <a:lnTo>
                    <a:pt x="6952" y="2701"/>
                  </a:lnTo>
                  <a:lnTo>
                    <a:pt x="6943" y="2701"/>
                  </a:lnTo>
                  <a:lnTo>
                    <a:pt x="6926" y="2692"/>
                  </a:lnTo>
                  <a:lnTo>
                    <a:pt x="6917" y="2692"/>
                  </a:lnTo>
                  <a:lnTo>
                    <a:pt x="6908" y="2692"/>
                  </a:lnTo>
                  <a:lnTo>
                    <a:pt x="6899" y="2701"/>
                  </a:lnTo>
                  <a:lnTo>
                    <a:pt x="6890" y="2709"/>
                  </a:lnTo>
                  <a:lnTo>
                    <a:pt x="6881" y="2709"/>
                  </a:lnTo>
                  <a:lnTo>
                    <a:pt x="6873" y="2709"/>
                  </a:lnTo>
                  <a:lnTo>
                    <a:pt x="6855" y="2709"/>
                  </a:lnTo>
                  <a:lnTo>
                    <a:pt x="6846" y="2709"/>
                  </a:lnTo>
                  <a:lnTo>
                    <a:pt x="6837" y="2709"/>
                  </a:lnTo>
                  <a:lnTo>
                    <a:pt x="6837" y="2718"/>
                  </a:lnTo>
                  <a:lnTo>
                    <a:pt x="6829" y="2718"/>
                  </a:lnTo>
                  <a:lnTo>
                    <a:pt x="6820" y="2718"/>
                  </a:lnTo>
                  <a:lnTo>
                    <a:pt x="6793" y="2718"/>
                  </a:lnTo>
                  <a:lnTo>
                    <a:pt x="6784" y="2718"/>
                  </a:lnTo>
                  <a:lnTo>
                    <a:pt x="6784" y="2727"/>
                  </a:lnTo>
                  <a:lnTo>
                    <a:pt x="6811" y="2736"/>
                  </a:lnTo>
                  <a:lnTo>
                    <a:pt x="6811" y="2745"/>
                  </a:lnTo>
                  <a:lnTo>
                    <a:pt x="6820" y="2745"/>
                  </a:lnTo>
                  <a:lnTo>
                    <a:pt x="6820" y="2754"/>
                  </a:lnTo>
                  <a:lnTo>
                    <a:pt x="6820" y="2762"/>
                  </a:lnTo>
                  <a:lnTo>
                    <a:pt x="6811" y="2762"/>
                  </a:lnTo>
                  <a:lnTo>
                    <a:pt x="6811" y="2771"/>
                  </a:lnTo>
                  <a:lnTo>
                    <a:pt x="6802" y="2771"/>
                  </a:lnTo>
                  <a:lnTo>
                    <a:pt x="6802" y="2762"/>
                  </a:lnTo>
                  <a:lnTo>
                    <a:pt x="6811" y="2754"/>
                  </a:lnTo>
                  <a:lnTo>
                    <a:pt x="6802" y="2745"/>
                  </a:lnTo>
                  <a:lnTo>
                    <a:pt x="6793" y="2736"/>
                  </a:lnTo>
                  <a:lnTo>
                    <a:pt x="6784" y="2727"/>
                  </a:lnTo>
                  <a:lnTo>
                    <a:pt x="6767" y="2718"/>
                  </a:lnTo>
                  <a:lnTo>
                    <a:pt x="6731" y="2709"/>
                  </a:lnTo>
                  <a:lnTo>
                    <a:pt x="6714" y="2701"/>
                  </a:lnTo>
                  <a:lnTo>
                    <a:pt x="6705" y="2701"/>
                  </a:lnTo>
                  <a:lnTo>
                    <a:pt x="6687" y="2701"/>
                  </a:lnTo>
                  <a:lnTo>
                    <a:pt x="6679" y="2701"/>
                  </a:lnTo>
                  <a:lnTo>
                    <a:pt x="6670" y="2701"/>
                  </a:lnTo>
                  <a:lnTo>
                    <a:pt x="6670" y="2709"/>
                  </a:lnTo>
                  <a:lnTo>
                    <a:pt x="6661" y="2709"/>
                  </a:lnTo>
                  <a:lnTo>
                    <a:pt x="6661" y="2718"/>
                  </a:lnTo>
                  <a:lnTo>
                    <a:pt x="6670" y="2727"/>
                  </a:lnTo>
                  <a:lnTo>
                    <a:pt x="6661" y="2736"/>
                  </a:lnTo>
                  <a:lnTo>
                    <a:pt x="6634" y="2745"/>
                  </a:lnTo>
                  <a:lnTo>
                    <a:pt x="6626" y="2754"/>
                  </a:lnTo>
                  <a:lnTo>
                    <a:pt x="6617" y="2754"/>
                  </a:lnTo>
                  <a:lnTo>
                    <a:pt x="6617" y="2762"/>
                  </a:lnTo>
                  <a:lnTo>
                    <a:pt x="6617" y="2780"/>
                  </a:lnTo>
                  <a:lnTo>
                    <a:pt x="6608" y="2780"/>
                  </a:lnTo>
                  <a:lnTo>
                    <a:pt x="6608" y="2789"/>
                  </a:lnTo>
                  <a:lnTo>
                    <a:pt x="6608" y="2798"/>
                  </a:lnTo>
                  <a:lnTo>
                    <a:pt x="6617" y="2815"/>
                  </a:lnTo>
                  <a:lnTo>
                    <a:pt x="6626" y="2815"/>
                  </a:lnTo>
                  <a:lnTo>
                    <a:pt x="6643" y="2833"/>
                  </a:lnTo>
                  <a:lnTo>
                    <a:pt x="6652" y="2833"/>
                  </a:lnTo>
                  <a:lnTo>
                    <a:pt x="6661" y="2833"/>
                  </a:lnTo>
                  <a:lnTo>
                    <a:pt x="6670" y="2842"/>
                  </a:lnTo>
                  <a:lnTo>
                    <a:pt x="6679" y="2842"/>
                  </a:lnTo>
                  <a:lnTo>
                    <a:pt x="6687" y="2842"/>
                  </a:lnTo>
                  <a:lnTo>
                    <a:pt x="6696" y="2842"/>
                  </a:lnTo>
                  <a:lnTo>
                    <a:pt x="6705" y="2842"/>
                  </a:lnTo>
                  <a:lnTo>
                    <a:pt x="6714" y="2842"/>
                  </a:lnTo>
                  <a:lnTo>
                    <a:pt x="6723" y="2842"/>
                  </a:lnTo>
                  <a:lnTo>
                    <a:pt x="6731" y="2842"/>
                  </a:lnTo>
                  <a:lnTo>
                    <a:pt x="6740" y="2842"/>
                  </a:lnTo>
                  <a:lnTo>
                    <a:pt x="6767" y="2833"/>
                  </a:lnTo>
                  <a:lnTo>
                    <a:pt x="6767" y="2824"/>
                  </a:lnTo>
                  <a:lnTo>
                    <a:pt x="6784" y="2824"/>
                  </a:lnTo>
                  <a:lnTo>
                    <a:pt x="6793" y="2815"/>
                  </a:lnTo>
                  <a:lnTo>
                    <a:pt x="6811" y="2807"/>
                  </a:lnTo>
                  <a:lnTo>
                    <a:pt x="6820" y="2815"/>
                  </a:lnTo>
                  <a:lnTo>
                    <a:pt x="6829" y="2815"/>
                  </a:lnTo>
                  <a:lnTo>
                    <a:pt x="6837" y="2815"/>
                  </a:lnTo>
                  <a:lnTo>
                    <a:pt x="6855" y="2815"/>
                  </a:lnTo>
                  <a:lnTo>
                    <a:pt x="6864" y="2815"/>
                  </a:lnTo>
                  <a:lnTo>
                    <a:pt x="6873" y="2807"/>
                  </a:lnTo>
                  <a:lnTo>
                    <a:pt x="6864" y="2798"/>
                  </a:lnTo>
                  <a:lnTo>
                    <a:pt x="6855" y="2789"/>
                  </a:lnTo>
                  <a:lnTo>
                    <a:pt x="6846" y="2780"/>
                  </a:lnTo>
                  <a:lnTo>
                    <a:pt x="6855" y="2780"/>
                  </a:lnTo>
                  <a:lnTo>
                    <a:pt x="6864" y="2780"/>
                  </a:lnTo>
                  <a:lnTo>
                    <a:pt x="6864" y="2771"/>
                  </a:lnTo>
                  <a:lnTo>
                    <a:pt x="6873" y="2780"/>
                  </a:lnTo>
                  <a:lnTo>
                    <a:pt x="6881" y="2789"/>
                  </a:lnTo>
                  <a:lnTo>
                    <a:pt x="6881" y="2798"/>
                  </a:lnTo>
                  <a:lnTo>
                    <a:pt x="6890" y="2798"/>
                  </a:lnTo>
                  <a:lnTo>
                    <a:pt x="6899" y="2798"/>
                  </a:lnTo>
                  <a:lnTo>
                    <a:pt x="6908" y="2798"/>
                  </a:lnTo>
                  <a:lnTo>
                    <a:pt x="6908" y="2815"/>
                  </a:lnTo>
                  <a:lnTo>
                    <a:pt x="6908" y="2824"/>
                  </a:lnTo>
                  <a:lnTo>
                    <a:pt x="6917" y="2824"/>
                  </a:lnTo>
                  <a:lnTo>
                    <a:pt x="6926" y="2815"/>
                  </a:lnTo>
                  <a:lnTo>
                    <a:pt x="6926" y="2807"/>
                  </a:lnTo>
                  <a:lnTo>
                    <a:pt x="6934" y="2807"/>
                  </a:lnTo>
                  <a:lnTo>
                    <a:pt x="6943" y="2798"/>
                  </a:lnTo>
                  <a:lnTo>
                    <a:pt x="6961" y="2807"/>
                  </a:lnTo>
                  <a:lnTo>
                    <a:pt x="6970" y="2807"/>
                  </a:lnTo>
                  <a:lnTo>
                    <a:pt x="6961" y="2824"/>
                  </a:lnTo>
                  <a:lnTo>
                    <a:pt x="6970" y="2833"/>
                  </a:lnTo>
                  <a:lnTo>
                    <a:pt x="6978" y="2842"/>
                  </a:lnTo>
                  <a:lnTo>
                    <a:pt x="6996" y="2860"/>
                  </a:lnTo>
                  <a:lnTo>
                    <a:pt x="7014" y="2868"/>
                  </a:lnTo>
                  <a:lnTo>
                    <a:pt x="7014" y="2877"/>
                  </a:lnTo>
                  <a:lnTo>
                    <a:pt x="7023" y="2886"/>
                  </a:lnTo>
                  <a:lnTo>
                    <a:pt x="7031" y="2895"/>
                  </a:lnTo>
                  <a:lnTo>
                    <a:pt x="7049" y="2886"/>
                  </a:lnTo>
                  <a:lnTo>
                    <a:pt x="7049" y="2895"/>
                  </a:lnTo>
                  <a:lnTo>
                    <a:pt x="7040" y="2904"/>
                  </a:lnTo>
                  <a:lnTo>
                    <a:pt x="7049" y="2904"/>
                  </a:lnTo>
                  <a:lnTo>
                    <a:pt x="7076" y="2904"/>
                  </a:lnTo>
                  <a:lnTo>
                    <a:pt x="7084" y="2904"/>
                  </a:lnTo>
                  <a:lnTo>
                    <a:pt x="7093" y="2912"/>
                  </a:lnTo>
                  <a:lnTo>
                    <a:pt x="7093" y="2921"/>
                  </a:lnTo>
                  <a:lnTo>
                    <a:pt x="7102" y="2921"/>
                  </a:lnTo>
                  <a:lnTo>
                    <a:pt x="7111" y="2921"/>
                  </a:lnTo>
                  <a:lnTo>
                    <a:pt x="7102" y="2930"/>
                  </a:lnTo>
                  <a:lnTo>
                    <a:pt x="7093" y="2939"/>
                  </a:lnTo>
                  <a:lnTo>
                    <a:pt x="7084" y="2939"/>
                  </a:lnTo>
                  <a:lnTo>
                    <a:pt x="7076" y="2939"/>
                  </a:lnTo>
                  <a:lnTo>
                    <a:pt x="7067" y="2939"/>
                  </a:lnTo>
                  <a:lnTo>
                    <a:pt x="7076" y="2948"/>
                  </a:lnTo>
                  <a:lnTo>
                    <a:pt x="7093" y="2965"/>
                  </a:lnTo>
                  <a:lnTo>
                    <a:pt x="7102" y="2974"/>
                  </a:lnTo>
                  <a:lnTo>
                    <a:pt x="7111" y="2983"/>
                  </a:lnTo>
                  <a:lnTo>
                    <a:pt x="7120" y="2983"/>
                  </a:lnTo>
                  <a:lnTo>
                    <a:pt x="7137" y="2974"/>
                  </a:lnTo>
                  <a:lnTo>
                    <a:pt x="7146" y="2974"/>
                  </a:lnTo>
                  <a:lnTo>
                    <a:pt x="7128" y="2992"/>
                  </a:lnTo>
                  <a:lnTo>
                    <a:pt x="7137" y="2992"/>
                  </a:lnTo>
                  <a:lnTo>
                    <a:pt x="7155" y="3001"/>
                  </a:lnTo>
                  <a:lnTo>
                    <a:pt x="7173" y="3001"/>
                  </a:lnTo>
                  <a:lnTo>
                    <a:pt x="7190" y="3010"/>
                  </a:lnTo>
                  <a:lnTo>
                    <a:pt x="7199" y="3018"/>
                  </a:lnTo>
                  <a:lnTo>
                    <a:pt x="7208" y="3018"/>
                  </a:lnTo>
                  <a:lnTo>
                    <a:pt x="7217" y="3018"/>
                  </a:lnTo>
                  <a:lnTo>
                    <a:pt x="7226" y="3010"/>
                  </a:lnTo>
                  <a:lnTo>
                    <a:pt x="7243" y="3018"/>
                  </a:lnTo>
                  <a:lnTo>
                    <a:pt x="7261" y="3036"/>
                  </a:lnTo>
                  <a:lnTo>
                    <a:pt x="7278" y="3054"/>
                  </a:lnTo>
                  <a:lnTo>
                    <a:pt x="7278" y="3063"/>
                  </a:lnTo>
                  <a:lnTo>
                    <a:pt x="7305" y="3071"/>
                  </a:lnTo>
                  <a:lnTo>
                    <a:pt x="7314" y="3071"/>
                  </a:lnTo>
                  <a:lnTo>
                    <a:pt x="7323" y="3071"/>
                  </a:lnTo>
                  <a:lnTo>
                    <a:pt x="7331" y="3080"/>
                  </a:lnTo>
                  <a:lnTo>
                    <a:pt x="7402" y="3089"/>
                  </a:lnTo>
                  <a:lnTo>
                    <a:pt x="7411" y="3089"/>
                  </a:lnTo>
                  <a:lnTo>
                    <a:pt x="7420" y="3098"/>
                  </a:lnTo>
                  <a:lnTo>
                    <a:pt x="7446" y="3107"/>
                  </a:lnTo>
                  <a:lnTo>
                    <a:pt x="7464" y="3115"/>
                  </a:lnTo>
                  <a:lnTo>
                    <a:pt x="7473" y="3115"/>
                  </a:lnTo>
                  <a:lnTo>
                    <a:pt x="7481" y="3115"/>
                  </a:lnTo>
                  <a:lnTo>
                    <a:pt x="7490" y="3115"/>
                  </a:lnTo>
                  <a:lnTo>
                    <a:pt x="7499" y="3115"/>
                  </a:lnTo>
                  <a:lnTo>
                    <a:pt x="7499" y="3107"/>
                  </a:lnTo>
                  <a:lnTo>
                    <a:pt x="7499" y="3098"/>
                  </a:lnTo>
                  <a:lnTo>
                    <a:pt x="7499" y="3089"/>
                  </a:lnTo>
                  <a:lnTo>
                    <a:pt x="7508" y="3089"/>
                  </a:lnTo>
                  <a:lnTo>
                    <a:pt x="7508" y="3080"/>
                  </a:lnTo>
                  <a:lnTo>
                    <a:pt x="7499" y="3080"/>
                  </a:lnTo>
                  <a:lnTo>
                    <a:pt x="7481" y="3071"/>
                  </a:lnTo>
                  <a:lnTo>
                    <a:pt x="7481" y="3063"/>
                  </a:lnTo>
                  <a:lnTo>
                    <a:pt x="7473" y="3054"/>
                  </a:lnTo>
                  <a:lnTo>
                    <a:pt x="7464" y="3045"/>
                  </a:lnTo>
                  <a:lnTo>
                    <a:pt x="7455" y="3036"/>
                  </a:lnTo>
                  <a:lnTo>
                    <a:pt x="7437" y="3027"/>
                  </a:lnTo>
                  <a:lnTo>
                    <a:pt x="7420" y="3010"/>
                  </a:lnTo>
                  <a:lnTo>
                    <a:pt x="7411" y="3010"/>
                  </a:lnTo>
                  <a:lnTo>
                    <a:pt x="7402" y="3001"/>
                  </a:lnTo>
                  <a:lnTo>
                    <a:pt x="7402" y="2992"/>
                  </a:lnTo>
                  <a:lnTo>
                    <a:pt x="7376" y="2992"/>
                  </a:lnTo>
                  <a:lnTo>
                    <a:pt x="7376" y="2983"/>
                  </a:lnTo>
                  <a:lnTo>
                    <a:pt x="7384" y="2983"/>
                  </a:lnTo>
                  <a:lnTo>
                    <a:pt x="7376" y="2974"/>
                  </a:lnTo>
                  <a:lnTo>
                    <a:pt x="7367" y="2974"/>
                  </a:lnTo>
                  <a:lnTo>
                    <a:pt x="7349" y="2965"/>
                  </a:lnTo>
                  <a:lnTo>
                    <a:pt x="7340" y="2965"/>
                  </a:lnTo>
                  <a:lnTo>
                    <a:pt x="7331" y="2948"/>
                  </a:lnTo>
                  <a:lnTo>
                    <a:pt x="7323" y="2939"/>
                  </a:lnTo>
                  <a:lnTo>
                    <a:pt x="7314" y="2930"/>
                  </a:lnTo>
                  <a:lnTo>
                    <a:pt x="7305" y="2921"/>
                  </a:lnTo>
                  <a:lnTo>
                    <a:pt x="7296" y="2904"/>
                  </a:lnTo>
                  <a:lnTo>
                    <a:pt x="7314" y="2904"/>
                  </a:lnTo>
                  <a:lnTo>
                    <a:pt x="7323" y="2904"/>
                  </a:lnTo>
                  <a:lnTo>
                    <a:pt x="7340" y="2912"/>
                  </a:lnTo>
                  <a:lnTo>
                    <a:pt x="7367" y="2939"/>
                  </a:lnTo>
                  <a:lnTo>
                    <a:pt x="7376" y="2939"/>
                  </a:lnTo>
                  <a:lnTo>
                    <a:pt x="7376" y="2930"/>
                  </a:lnTo>
                  <a:lnTo>
                    <a:pt x="7376" y="2912"/>
                  </a:lnTo>
                  <a:lnTo>
                    <a:pt x="7367" y="2904"/>
                  </a:lnTo>
                  <a:lnTo>
                    <a:pt x="7384" y="2912"/>
                  </a:lnTo>
                  <a:lnTo>
                    <a:pt x="7393" y="2930"/>
                  </a:lnTo>
                  <a:lnTo>
                    <a:pt x="7411" y="2948"/>
                  </a:lnTo>
                  <a:lnTo>
                    <a:pt x="7420" y="2957"/>
                  </a:lnTo>
                  <a:lnTo>
                    <a:pt x="7428" y="2957"/>
                  </a:lnTo>
                  <a:lnTo>
                    <a:pt x="7437" y="2957"/>
                  </a:lnTo>
                  <a:lnTo>
                    <a:pt x="7437" y="2965"/>
                  </a:lnTo>
                  <a:lnTo>
                    <a:pt x="7446" y="2965"/>
                  </a:lnTo>
                  <a:lnTo>
                    <a:pt x="7446" y="2974"/>
                  </a:lnTo>
                  <a:lnTo>
                    <a:pt x="7455" y="2974"/>
                  </a:lnTo>
                  <a:lnTo>
                    <a:pt x="7455" y="2983"/>
                  </a:lnTo>
                  <a:lnTo>
                    <a:pt x="7464" y="2983"/>
                  </a:lnTo>
                  <a:lnTo>
                    <a:pt x="7464" y="2974"/>
                  </a:lnTo>
                  <a:lnTo>
                    <a:pt x="7455" y="2965"/>
                  </a:lnTo>
                  <a:lnTo>
                    <a:pt x="7455" y="2957"/>
                  </a:lnTo>
                  <a:lnTo>
                    <a:pt x="7464" y="2965"/>
                  </a:lnTo>
                  <a:lnTo>
                    <a:pt x="7473" y="2974"/>
                  </a:lnTo>
                  <a:lnTo>
                    <a:pt x="7473" y="2983"/>
                  </a:lnTo>
                  <a:lnTo>
                    <a:pt x="7481" y="2992"/>
                  </a:lnTo>
                  <a:lnTo>
                    <a:pt x="7490" y="2992"/>
                  </a:lnTo>
                  <a:lnTo>
                    <a:pt x="7490" y="2983"/>
                  </a:lnTo>
                  <a:lnTo>
                    <a:pt x="7490" y="2974"/>
                  </a:lnTo>
                  <a:lnTo>
                    <a:pt x="7508" y="2992"/>
                  </a:lnTo>
                  <a:lnTo>
                    <a:pt x="7517" y="3001"/>
                  </a:lnTo>
                  <a:lnTo>
                    <a:pt x="7525" y="3001"/>
                  </a:lnTo>
                  <a:lnTo>
                    <a:pt x="7534" y="3001"/>
                  </a:lnTo>
                  <a:lnTo>
                    <a:pt x="7552" y="3018"/>
                  </a:lnTo>
                  <a:lnTo>
                    <a:pt x="7561" y="3018"/>
                  </a:lnTo>
                  <a:lnTo>
                    <a:pt x="7570" y="3027"/>
                  </a:lnTo>
                  <a:lnTo>
                    <a:pt x="7570" y="3036"/>
                  </a:lnTo>
                  <a:lnTo>
                    <a:pt x="7578" y="3027"/>
                  </a:lnTo>
                  <a:lnTo>
                    <a:pt x="7570" y="3001"/>
                  </a:lnTo>
                  <a:lnTo>
                    <a:pt x="7570" y="2992"/>
                  </a:lnTo>
                  <a:lnTo>
                    <a:pt x="7587" y="3001"/>
                  </a:lnTo>
                  <a:lnTo>
                    <a:pt x="7596" y="3001"/>
                  </a:lnTo>
                  <a:lnTo>
                    <a:pt x="7605" y="3001"/>
                  </a:lnTo>
                  <a:lnTo>
                    <a:pt x="7596" y="2992"/>
                  </a:lnTo>
                  <a:lnTo>
                    <a:pt x="7596" y="2983"/>
                  </a:lnTo>
                  <a:lnTo>
                    <a:pt x="7587" y="2974"/>
                  </a:lnTo>
                  <a:lnTo>
                    <a:pt x="7578" y="2965"/>
                  </a:lnTo>
                  <a:lnTo>
                    <a:pt x="7578" y="2957"/>
                  </a:lnTo>
                  <a:lnTo>
                    <a:pt x="7578" y="2948"/>
                  </a:lnTo>
                  <a:lnTo>
                    <a:pt x="7578" y="2939"/>
                  </a:lnTo>
                  <a:lnTo>
                    <a:pt x="7570" y="2921"/>
                  </a:lnTo>
                  <a:lnTo>
                    <a:pt x="7570" y="2912"/>
                  </a:lnTo>
                  <a:lnTo>
                    <a:pt x="7570" y="2904"/>
                  </a:lnTo>
                  <a:lnTo>
                    <a:pt x="7578" y="2912"/>
                  </a:lnTo>
                  <a:lnTo>
                    <a:pt x="7587" y="2921"/>
                  </a:lnTo>
                  <a:lnTo>
                    <a:pt x="7587" y="2930"/>
                  </a:lnTo>
                  <a:lnTo>
                    <a:pt x="7605" y="2957"/>
                  </a:lnTo>
                  <a:lnTo>
                    <a:pt x="7605" y="2965"/>
                  </a:lnTo>
                  <a:lnTo>
                    <a:pt x="7614" y="2965"/>
                  </a:lnTo>
                  <a:lnTo>
                    <a:pt x="7614" y="2957"/>
                  </a:lnTo>
                  <a:lnTo>
                    <a:pt x="7614" y="2948"/>
                  </a:lnTo>
                  <a:lnTo>
                    <a:pt x="7614" y="2939"/>
                  </a:lnTo>
                  <a:lnTo>
                    <a:pt x="7614" y="2921"/>
                  </a:lnTo>
                  <a:lnTo>
                    <a:pt x="7614" y="2912"/>
                  </a:lnTo>
                  <a:lnTo>
                    <a:pt x="7623" y="2904"/>
                  </a:lnTo>
                  <a:lnTo>
                    <a:pt x="7614" y="2895"/>
                  </a:lnTo>
                  <a:lnTo>
                    <a:pt x="7614" y="2886"/>
                  </a:lnTo>
                  <a:lnTo>
                    <a:pt x="7605" y="2886"/>
                  </a:lnTo>
                  <a:lnTo>
                    <a:pt x="7596" y="2886"/>
                  </a:lnTo>
                  <a:lnTo>
                    <a:pt x="7605" y="2877"/>
                  </a:lnTo>
                  <a:lnTo>
                    <a:pt x="7605" y="2868"/>
                  </a:lnTo>
                  <a:lnTo>
                    <a:pt x="7596" y="2868"/>
                  </a:lnTo>
                  <a:lnTo>
                    <a:pt x="7587" y="2868"/>
                  </a:lnTo>
                  <a:lnTo>
                    <a:pt x="7578" y="2868"/>
                  </a:lnTo>
                  <a:lnTo>
                    <a:pt x="7570" y="2868"/>
                  </a:lnTo>
                  <a:lnTo>
                    <a:pt x="7570" y="2860"/>
                  </a:lnTo>
                  <a:lnTo>
                    <a:pt x="7561" y="2851"/>
                  </a:lnTo>
                  <a:lnTo>
                    <a:pt x="7552" y="2842"/>
                  </a:lnTo>
                  <a:lnTo>
                    <a:pt x="7534" y="2842"/>
                  </a:lnTo>
                  <a:lnTo>
                    <a:pt x="7534" y="2833"/>
                  </a:lnTo>
                  <a:lnTo>
                    <a:pt x="7543" y="2833"/>
                  </a:lnTo>
                  <a:lnTo>
                    <a:pt x="7552" y="2833"/>
                  </a:lnTo>
                  <a:lnTo>
                    <a:pt x="7561" y="2842"/>
                  </a:lnTo>
                  <a:lnTo>
                    <a:pt x="7578" y="2824"/>
                  </a:lnTo>
                  <a:lnTo>
                    <a:pt x="7570" y="2815"/>
                  </a:lnTo>
                  <a:lnTo>
                    <a:pt x="7543" y="2815"/>
                  </a:lnTo>
                  <a:lnTo>
                    <a:pt x="7552" y="2807"/>
                  </a:lnTo>
                  <a:lnTo>
                    <a:pt x="7561" y="2798"/>
                  </a:lnTo>
                  <a:lnTo>
                    <a:pt x="7552" y="2789"/>
                  </a:lnTo>
                  <a:lnTo>
                    <a:pt x="7543" y="2789"/>
                  </a:lnTo>
                  <a:lnTo>
                    <a:pt x="7534" y="2789"/>
                  </a:lnTo>
                  <a:lnTo>
                    <a:pt x="7534" y="2780"/>
                  </a:lnTo>
                  <a:lnTo>
                    <a:pt x="7525" y="2771"/>
                  </a:lnTo>
                  <a:lnTo>
                    <a:pt x="7508" y="2771"/>
                  </a:lnTo>
                  <a:lnTo>
                    <a:pt x="7499" y="2780"/>
                  </a:lnTo>
                  <a:lnTo>
                    <a:pt x="7499" y="2789"/>
                  </a:lnTo>
                  <a:lnTo>
                    <a:pt x="7490" y="2789"/>
                  </a:lnTo>
                  <a:lnTo>
                    <a:pt x="7481" y="2780"/>
                  </a:lnTo>
                  <a:lnTo>
                    <a:pt x="7490" y="2771"/>
                  </a:lnTo>
                  <a:lnTo>
                    <a:pt x="7481" y="2762"/>
                  </a:lnTo>
                  <a:lnTo>
                    <a:pt x="7464" y="2762"/>
                  </a:lnTo>
                  <a:lnTo>
                    <a:pt x="7464" y="2754"/>
                  </a:lnTo>
                  <a:lnTo>
                    <a:pt x="7455" y="2754"/>
                  </a:lnTo>
                  <a:lnTo>
                    <a:pt x="7455" y="2780"/>
                  </a:lnTo>
                  <a:lnTo>
                    <a:pt x="7455" y="2771"/>
                  </a:lnTo>
                  <a:lnTo>
                    <a:pt x="7446" y="2754"/>
                  </a:lnTo>
                  <a:lnTo>
                    <a:pt x="7446" y="2745"/>
                  </a:lnTo>
                  <a:lnTo>
                    <a:pt x="7437" y="2745"/>
                  </a:lnTo>
                  <a:lnTo>
                    <a:pt x="7437" y="2736"/>
                  </a:lnTo>
                  <a:lnTo>
                    <a:pt x="7428" y="2736"/>
                  </a:lnTo>
                  <a:lnTo>
                    <a:pt x="7428" y="2727"/>
                  </a:lnTo>
                  <a:lnTo>
                    <a:pt x="7420" y="2718"/>
                  </a:lnTo>
                  <a:lnTo>
                    <a:pt x="7411" y="2709"/>
                  </a:lnTo>
                  <a:lnTo>
                    <a:pt x="7420" y="2701"/>
                  </a:lnTo>
                  <a:lnTo>
                    <a:pt x="7411" y="2701"/>
                  </a:lnTo>
                  <a:lnTo>
                    <a:pt x="7411" y="2692"/>
                  </a:lnTo>
                  <a:lnTo>
                    <a:pt x="7402" y="2683"/>
                  </a:lnTo>
                  <a:lnTo>
                    <a:pt x="7393" y="2683"/>
                  </a:lnTo>
                  <a:lnTo>
                    <a:pt x="7393" y="2674"/>
                  </a:lnTo>
                  <a:lnTo>
                    <a:pt x="7384" y="2674"/>
                  </a:lnTo>
                  <a:lnTo>
                    <a:pt x="7384" y="2683"/>
                  </a:lnTo>
                  <a:lnTo>
                    <a:pt x="7367" y="2683"/>
                  </a:lnTo>
                  <a:lnTo>
                    <a:pt x="7358" y="2683"/>
                  </a:lnTo>
                  <a:lnTo>
                    <a:pt x="7367" y="2683"/>
                  </a:lnTo>
                  <a:lnTo>
                    <a:pt x="7367" y="2665"/>
                  </a:lnTo>
                  <a:lnTo>
                    <a:pt x="7367" y="2657"/>
                  </a:lnTo>
                  <a:lnTo>
                    <a:pt x="7358" y="2657"/>
                  </a:lnTo>
                  <a:lnTo>
                    <a:pt x="7349" y="2657"/>
                  </a:lnTo>
                  <a:lnTo>
                    <a:pt x="7349" y="2648"/>
                  </a:lnTo>
                  <a:lnTo>
                    <a:pt x="7340" y="2639"/>
                  </a:lnTo>
                  <a:lnTo>
                    <a:pt x="7340" y="2630"/>
                  </a:lnTo>
                  <a:lnTo>
                    <a:pt x="7340" y="2621"/>
                  </a:lnTo>
                  <a:lnTo>
                    <a:pt x="7323" y="2612"/>
                  </a:lnTo>
                  <a:lnTo>
                    <a:pt x="7314" y="2612"/>
                  </a:lnTo>
                  <a:lnTo>
                    <a:pt x="7305" y="2612"/>
                  </a:lnTo>
                  <a:lnTo>
                    <a:pt x="7323" y="2604"/>
                  </a:lnTo>
                  <a:lnTo>
                    <a:pt x="7349" y="2621"/>
                  </a:lnTo>
                  <a:lnTo>
                    <a:pt x="7358" y="2630"/>
                  </a:lnTo>
                  <a:lnTo>
                    <a:pt x="7376" y="2639"/>
                  </a:lnTo>
                  <a:lnTo>
                    <a:pt x="7393" y="2648"/>
                  </a:lnTo>
                  <a:lnTo>
                    <a:pt x="7402" y="2648"/>
                  </a:lnTo>
                  <a:lnTo>
                    <a:pt x="7411" y="2639"/>
                  </a:lnTo>
                  <a:lnTo>
                    <a:pt x="7420" y="2630"/>
                  </a:lnTo>
                  <a:lnTo>
                    <a:pt x="7411" y="2621"/>
                  </a:lnTo>
                  <a:lnTo>
                    <a:pt x="7393" y="2612"/>
                  </a:lnTo>
                  <a:lnTo>
                    <a:pt x="7384" y="2604"/>
                  </a:lnTo>
                  <a:lnTo>
                    <a:pt x="7376" y="2586"/>
                  </a:lnTo>
                  <a:lnTo>
                    <a:pt x="7367" y="2577"/>
                  </a:lnTo>
                  <a:lnTo>
                    <a:pt x="7376" y="2577"/>
                  </a:lnTo>
                  <a:lnTo>
                    <a:pt x="7393" y="2586"/>
                  </a:lnTo>
                  <a:lnTo>
                    <a:pt x="7402" y="2595"/>
                  </a:lnTo>
                  <a:lnTo>
                    <a:pt x="7411" y="2595"/>
                  </a:lnTo>
                  <a:lnTo>
                    <a:pt x="7420" y="2595"/>
                  </a:lnTo>
                  <a:lnTo>
                    <a:pt x="7420" y="2577"/>
                  </a:lnTo>
                  <a:lnTo>
                    <a:pt x="7411" y="2568"/>
                  </a:lnTo>
                  <a:lnTo>
                    <a:pt x="7420" y="2568"/>
                  </a:lnTo>
                  <a:lnTo>
                    <a:pt x="7428" y="2568"/>
                  </a:lnTo>
                  <a:lnTo>
                    <a:pt x="7437" y="2568"/>
                  </a:lnTo>
                  <a:lnTo>
                    <a:pt x="7437" y="2559"/>
                  </a:lnTo>
                  <a:lnTo>
                    <a:pt x="7428" y="2559"/>
                  </a:lnTo>
                  <a:lnTo>
                    <a:pt x="7437" y="2559"/>
                  </a:lnTo>
                  <a:lnTo>
                    <a:pt x="7446" y="2559"/>
                  </a:lnTo>
                  <a:lnTo>
                    <a:pt x="7446" y="2568"/>
                  </a:lnTo>
                  <a:lnTo>
                    <a:pt x="7455" y="2577"/>
                  </a:lnTo>
                  <a:lnTo>
                    <a:pt x="7473" y="2604"/>
                  </a:lnTo>
                  <a:lnTo>
                    <a:pt x="7481" y="2604"/>
                  </a:lnTo>
                  <a:lnTo>
                    <a:pt x="7490" y="2612"/>
                  </a:lnTo>
                  <a:lnTo>
                    <a:pt x="7499" y="2621"/>
                  </a:lnTo>
                  <a:lnTo>
                    <a:pt x="7508" y="2621"/>
                  </a:lnTo>
                  <a:lnTo>
                    <a:pt x="7517" y="2612"/>
                  </a:lnTo>
                  <a:lnTo>
                    <a:pt x="7525" y="2612"/>
                  </a:lnTo>
                  <a:lnTo>
                    <a:pt x="7525" y="2604"/>
                  </a:lnTo>
                  <a:lnTo>
                    <a:pt x="7534" y="2612"/>
                  </a:lnTo>
                  <a:lnTo>
                    <a:pt x="7517" y="2621"/>
                  </a:lnTo>
                  <a:lnTo>
                    <a:pt x="7517" y="2630"/>
                  </a:lnTo>
                  <a:lnTo>
                    <a:pt x="7543" y="2639"/>
                  </a:lnTo>
                  <a:lnTo>
                    <a:pt x="7552" y="2639"/>
                  </a:lnTo>
                  <a:lnTo>
                    <a:pt x="7561" y="2630"/>
                  </a:lnTo>
                  <a:lnTo>
                    <a:pt x="7578" y="2621"/>
                  </a:lnTo>
                  <a:lnTo>
                    <a:pt x="7587" y="2621"/>
                  </a:lnTo>
                  <a:lnTo>
                    <a:pt x="7596" y="2604"/>
                  </a:lnTo>
                  <a:lnTo>
                    <a:pt x="7605" y="2595"/>
                  </a:lnTo>
                  <a:lnTo>
                    <a:pt x="7614" y="2595"/>
                  </a:lnTo>
                  <a:lnTo>
                    <a:pt x="7623" y="2595"/>
                  </a:lnTo>
                  <a:lnTo>
                    <a:pt x="7614" y="2604"/>
                  </a:lnTo>
                  <a:lnTo>
                    <a:pt x="7605" y="2612"/>
                  </a:lnTo>
                  <a:lnTo>
                    <a:pt x="7596" y="2621"/>
                  </a:lnTo>
                  <a:lnTo>
                    <a:pt x="7587" y="2630"/>
                  </a:lnTo>
                  <a:lnTo>
                    <a:pt x="7578" y="2639"/>
                  </a:lnTo>
                  <a:lnTo>
                    <a:pt x="7570" y="2639"/>
                  </a:lnTo>
                  <a:lnTo>
                    <a:pt x="7561" y="2648"/>
                  </a:lnTo>
                  <a:lnTo>
                    <a:pt x="7552" y="2657"/>
                  </a:lnTo>
                  <a:lnTo>
                    <a:pt x="7552" y="2665"/>
                  </a:lnTo>
                  <a:lnTo>
                    <a:pt x="7561" y="2674"/>
                  </a:lnTo>
                  <a:lnTo>
                    <a:pt x="7561" y="2683"/>
                  </a:lnTo>
                  <a:lnTo>
                    <a:pt x="7570" y="2683"/>
                  </a:lnTo>
                  <a:lnTo>
                    <a:pt x="7570" y="2701"/>
                  </a:lnTo>
                  <a:lnTo>
                    <a:pt x="7578" y="2709"/>
                  </a:lnTo>
                  <a:lnTo>
                    <a:pt x="7587" y="2718"/>
                  </a:lnTo>
                  <a:lnTo>
                    <a:pt x="7596" y="2727"/>
                  </a:lnTo>
                  <a:lnTo>
                    <a:pt x="7605" y="2736"/>
                  </a:lnTo>
                  <a:lnTo>
                    <a:pt x="7614" y="2745"/>
                  </a:lnTo>
                  <a:lnTo>
                    <a:pt x="7623" y="2727"/>
                  </a:lnTo>
                  <a:lnTo>
                    <a:pt x="7631" y="2709"/>
                  </a:lnTo>
                  <a:lnTo>
                    <a:pt x="7631" y="2718"/>
                  </a:lnTo>
                  <a:lnTo>
                    <a:pt x="7631" y="2736"/>
                  </a:lnTo>
                  <a:lnTo>
                    <a:pt x="7631" y="2745"/>
                  </a:lnTo>
                  <a:lnTo>
                    <a:pt x="7640" y="2745"/>
                  </a:lnTo>
                  <a:lnTo>
                    <a:pt x="7649" y="2736"/>
                  </a:lnTo>
                  <a:lnTo>
                    <a:pt x="7658" y="2736"/>
                  </a:lnTo>
                  <a:lnTo>
                    <a:pt x="7658" y="2745"/>
                  </a:lnTo>
                  <a:lnTo>
                    <a:pt x="7667" y="2745"/>
                  </a:lnTo>
                  <a:lnTo>
                    <a:pt x="7675" y="2754"/>
                  </a:lnTo>
                  <a:lnTo>
                    <a:pt x="7684" y="2762"/>
                  </a:lnTo>
                  <a:lnTo>
                    <a:pt x="7693" y="2754"/>
                  </a:lnTo>
                  <a:lnTo>
                    <a:pt x="7693" y="2745"/>
                  </a:lnTo>
                  <a:lnTo>
                    <a:pt x="7702" y="2727"/>
                  </a:lnTo>
                  <a:lnTo>
                    <a:pt x="7702" y="2692"/>
                  </a:lnTo>
                  <a:lnTo>
                    <a:pt x="7702" y="2683"/>
                  </a:lnTo>
                  <a:lnTo>
                    <a:pt x="7693" y="2674"/>
                  </a:lnTo>
                  <a:lnTo>
                    <a:pt x="7675" y="2674"/>
                  </a:lnTo>
                  <a:lnTo>
                    <a:pt x="7693" y="2665"/>
                  </a:lnTo>
                  <a:lnTo>
                    <a:pt x="7693" y="2657"/>
                  </a:lnTo>
                  <a:lnTo>
                    <a:pt x="7693" y="2648"/>
                  </a:lnTo>
                  <a:lnTo>
                    <a:pt x="7711" y="2674"/>
                  </a:lnTo>
                  <a:lnTo>
                    <a:pt x="7728" y="2683"/>
                  </a:lnTo>
                  <a:lnTo>
                    <a:pt x="7737" y="2674"/>
                  </a:lnTo>
                  <a:lnTo>
                    <a:pt x="7746" y="2683"/>
                  </a:lnTo>
                  <a:lnTo>
                    <a:pt x="7755" y="2674"/>
                  </a:lnTo>
                  <a:lnTo>
                    <a:pt x="7755" y="2665"/>
                  </a:lnTo>
                  <a:lnTo>
                    <a:pt x="7764" y="2657"/>
                  </a:lnTo>
                  <a:lnTo>
                    <a:pt x="7773" y="2657"/>
                  </a:lnTo>
                  <a:lnTo>
                    <a:pt x="7773" y="2648"/>
                  </a:lnTo>
                  <a:lnTo>
                    <a:pt x="7764" y="2639"/>
                  </a:lnTo>
                  <a:lnTo>
                    <a:pt x="7755" y="2630"/>
                  </a:lnTo>
                  <a:lnTo>
                    <a:pt x="7764" y="2630"/>
                  </a:lnTo>
                  <a:lnTo>
                    <a:pt x="7781" y="2630"/>
                  </a:lnTo>
                  <a:lnTo>
                    <a:pt x="7790" y="2630"/>
                  </a:lnTo>
                  <a:lnTo>
                    <a:pt x="7799" y="2630"/>
                  </a:lnTo>
                  <a:lnTo>
                    <a:pt x="7781" y="2612"/>
                  </a:lnTo>
                  <a:lnTo>
                    <a:pt x="7764" y="2604"/>
                  </a:lnTo>
                  <a:lnTo>
                    <a:pt x="7773" y="2595"/>
                  </a:lnTo>
                  <a:lnTo>
                    <a:pt x="7764" y="2586"/>
                  </a:lnTo>
                  <a:lnTo>
                    <a:pt x="7773" y="2586"/>
                  </a:lnTo>
                  <a:lnTo>
                    <a:pt x="7781" y="2586"/>
                  </a:lnTo>
                  <a:lnTo>
                    <a:pt x="7790" y="2595"/>
                  </a:lnTo>
                  <a:lnTo>
                    <a:pt x="7808" y="2595"/>
                  </a:lnTo>
                  <a:lnTo>
                    <a:pt x="7834" y="2586"/>
                  </a:lnTo>
                  <a:lnTo>
                    <a:pt x="7825" y="2568"/>
                  </a:lnTo>
                  <a:lnTo>
                    <a:pt x="7790" y="2559"/>
                  </a:lnTo>
                  <a:lnTo>
                    <a:pt x="7799" y="2551"/>
                  </a:lnTo>
                  <a:lnTo>
                    <a:pt x="7808" y="2551"/>
                  </a:lnTo>
                  <a:lnTo>
                    <a:pt x="7817" y="2559"/>
                  </a:lnTo>
                  <a:lnTo>
                    <a:pt x="7834" y="2568"/>
                  </a:lnTo>
                  <a:lnTo>
                    <a:pt x="7843" y="2568"/>
                  </a:lnTo>
                  <a:lnTo>
                    <a:pt x="7852" y="2559"/>
                  </a:lnTo>
                  <a:lnTo>
                    <a:pt x="7852" y="2551"/>
                  </a:lnTo>
                  <a:lnTo>
                    <a:pt x="7834" y="2542"/>
                  </a:lnTo>
                  <a:lnTo>
                    <a:pt x="7817" y="2515"/>
                  </a:lnTo>
                  <a:lnTo>
                    <a:pt x="7799" y="2506"/>
                  </a:lnTo>
                  <a:lnTo>
                    <a:pt x="7790" y="2506"/>
                  </a:lnTo>
                  <a:lnTo>
                    <a:pt x="7773" y="2524"/>
                  </a:lnTo>
                  <a:lnTo>
                    <a:pt x="7755" y="2524"/>
                  </a:lnTo>
                  <a:lnTo>
                    <a:pt x="7746" y="2515"/>
                  </a:lnTo>
                  <a:lnTo>
                    <a:pt x="7737" y="2515"/>
                  </a:lnTo>
                  <a:lnTo>
                    <a:pt x="7728" y="2515"/>
                  </a:lnTo>
                  <a:lnTo>
                    <a:pt x="7720" y="2524"/>
                  </a:lnTo>
                  <a:lnTo>
                    <a:pt x="7693" y="2524"/>
                  </a:lnTo>
                  <a:lnTo>
                    <a:pt x="7684" y="2533"/>
                  </a:lnTo>
                  <a:lnTo>
                    <a:pt x="7675" y="2533"/>
                  </a:lnTo>
                  <a:lnTo>
                    <a:pt x="7702" y="2515"/>
                  </a:lnTo>
                  <a:lnTo>
                    <a:pt x="7711" y="2506"/>
                  </a:lnTo>
                  <a:lnTo>
                    <a:pt x="7711" y="2498"/>
                  </a:lnTo>
                  <a:lnTo>
                    <a:pt x="7711" y="2489"/>
                  </a:lnTo>
                  <a:lnTo>
                    <a:pt x="7720" y="2480"/>
                  </a:lnTo>
                  <a:lnTo>
                    <a:pt x="7702" y="2471"/>
                  </a:lnTo>
                  <a:lnTo>
                    <a:pt x="7684" y="2462"/>
                  </a:lnTo>
                  <a:lnTo>
                    <a:pt x="7675" y="2471"/>
                  </a:lnTo>
                  <a:lnTo>
                    <a:pt x="7667" y="2471"/>
                  </a:lnTo>
                  <a:lnTo>
                    <a:pt x="7667" y="2480"/>
                  </a:lnTo>
                  <a:lnTo>
                    <a:pt x="7649" y="2480"/>
                  </a:lnTo>
                  <a:lnTo>
                    <a:pt x="7640" y="2480"/>
                  </a:lnTo>
                  <a:lnTo>
                    <a:pt x="7631" y="2480"/>
                  </a:lnTo>
                  <a:lnTo>
                    <a:pt x="7623" y="2471"/>
                  </a:lnTo>
                  <a:lnTo>
                    <a:pt x="7614" y="2471"/>
                  </a:lnTo>
                  <a:lnTo>
                    <a:pt x="7605" y="2471"/>
                  </a:lnTo>
                  <a:lnTo>
                    <a:pt x="7614" y="2462"/>
                  </a:lnTo>
                  <a:lnTo>
                    <a:pt x="7623" y="2471"/>
                  </a:lnTo>
                  <a:lnTo>
                    <a:pt x="7631" y="2471"/>
                  </a:lnTo>
                  <a:lnTo>
                    <a:pt x="7649" y="2471"/>
                  </a:lnTo>
                  <a:lnTo>
                    <a:pt x="7649" y="2445"/>
                  </a:lnTo>
                  <a:lnTo>
                    <a:pt x="7667" y="2436"/>
                  </a:lnTo>
                  <a:lnTo>
                    <a:pt x="7649" y="2427"/>
                  </a:lnTo>
                  <a:lnTo>
                    <a:pt x="7640" y="2436"/>
                  </a:lnTo>
                  <a:lnTo>
                    <a:pt x="7623" y="2418"/>
                  </a:lnTo>
                  <a:lnTo>
                    <a:pt x="7614" y="2409"/>
                  </a:lnTo>
                  <a:lnTo>
                    <a:pt x="7605" y="2409"/>
                  </a:lnTo>
                  <a:lnTo>
                    <a:pt x="7596" y="2409"/>
                  </a:lnTo>
                  <a:lnTo>
                    <a:pt x="7578" y="2409"/>
                  </a:lnTo>
                  <a:lnTo>
                    <a:pt x="7578" y="2401"/>
                  </a:lnTo>
                  <a:lnTo>
                    <a:pt x="7587" y="2392"/>
                  </a:lnTo>
                  <a:lnTo>
                    <a:pt x="7596" y="2383"/>
                  </a:lnTo>
                  <a:lnTo>
                    <a:pt x="7587" y="2383"/>
                  </a:lnTo>
                  <a:lnTo>
                    <a:pt x="7578" y="2383"/>
                  </a:lnTo>
                  <a:lnTo>
                    <a:pt x="7561" y="2392"/>
                  </a:lnTo>
                  <a:lnTo>
                    <a:pt x="7552" y="2401"/>
                  </a:lnTo>
                  <a:lnTo>
                    <a:pt x="7543" y="2409"/>
                  </a:lnTo>
                  <a:lnTo>
                    <a:pt x="7552" y="2418"/>
                  </a:lnTo>
                  <a:lnTo>
                    <a:pt x="7552" y="2427"/>
                  </a:lnTo>
                  <a:lnTo>
                    <a:pt x="7543" y="2418"/>
                  </a:lnTo>
                  <a:lnTo>
                    <a:pt x="7543" y="2409"/>
                  </a:lnTo>
                  <a:lnTo>
                    <a:pt x="7543" y="2392"/>
                  </a:lnTo>
                  <a:lnTo>
                    <a:pt x="7534" y="2392"/>
                  </a:lnTo>
                  <a:lnTo>
                    <a:pt x="7525" y="2383"/>
                  </a:lnTo>
                  <a:lnTo>
                    <a:pt x="7525" y="2392"/>
                  </a:lnTo>
                  <a:lnTo>
                    <a:pt x="7517" y="2392"/>
                  </a:lnTo>
                  <a:lnTo>
                    <a:pt x="7508" y="2392"/>
                  </a:lnTo>
                  <a:lnTo>
                    <a:pt x="7508" y="2383"/>
                  </a:lnTo>
                  <a:lnTo>
                    <a:pt x="7508" y="2374"/>
                  </a:lnTo>
                  <a:lnTo>
                    <a:pt x="7490" y="2392"/>
                  </a:lnTo>
                  <a:lnTo>
                    <a:pt x="7481" y="2401"/>
                  </a:lnTo>
                  <a:lnTo>
                    <a:pt x="7481" y="2409"/>
                  </a:lnTo>
                  <a:lnTo>
                    <a:pt x="7473" y="2409"/>
                  </a:lnTo>
                  <a:lnTo>
                    <a:pt x="7464" y="2401"/>
                  </a:lnTo>
                  <a:lnTo>
                    <a:pt x="7473" y="2401"/>
                  </a:lnTo>
                  <a:lnTo>
                    <a:pt x="7490" y="2383"/>
                  </a:lnTo>
                  <a:lnTo>
                    <a:pt x="7490" y="2374"/>
                  </a:lnTo>
                  <a:lnTo>
                    <a:pt x="7490" y="2348"/>
                  </a:lnTo>
                  <a:lnTo>
                    <a:pt x="7464" y="2356"/>
                  </a:lnTo>
                  <a:lnTo>
                    <a:pt x="7464" y="2374"/>
                  </a:lnTo>
                  <a:lnTo>
                    <a:pt x="7455" y="2383"/>
                  </a:lnTo>
                  <a:lnTo>
                    <a:pt x="7455" y="2374"/>
                  </a:lnTo>
                  <a:lnTo>
                    <a:pt x="7455" y="2365"/>
                  </a:lnTo>
                  <a:lnTo>
                    <a:pt x="7437" y="2374"/>
                  </a:lnTo>
                  <a:lnTo>
                    <a:pt x="7446" y="2365"/>
                  </a:lnTo>
                  <a:lnTo>
                    <a:pt x="7446" y="2356"/>
                  </a:lnTo>
                  <a:lnTo>
                    <a:pt x="7437" y="2356"/>
                  </a:lnTo>
                  <a:lnTo>
                    <a:pt x="7428" y="2348"/>
                  </a:lnTo>
                  <a:lnTo>
                    <a:pt x="7437" y="2339"/>
                  </a:lnTo>
                  <a:lnTo>
                    <a:pt x="7446" y="2330"/>
                  </a:lnTo>
                  <a:lnTo>
                    <a:pt x="7455" y="2330"/>
                  </a:lnTo>
                  <a:lnTo>
                    <a:pt x="7446" y="2321"/>
                  </a:lnTo>
                  <a:lnTo>
                    <a:pt x="7428" y="2330"/>
                  </a:lnTo>
                  <a:lnTo>
                    <a:pt x="7420" y="2330"/>
                  </a:lnTo>
                  <a:lnTo>
                    <a:pt x="7411" y="2321"/>
                  </a:lnTo>
                  <a:lnTo>
                    <a:pt x="7402" y="2321"/>
                  </a:lnTo>
                  <a:lnTo>
                    <a:pt x="7393" y="2321"/>
                  </a:lnTo>
                  <a:lnTo>
                    <a:pt x="7384" y="2312"/>
                  </a:lnTo>
                  <a:lnTo>
                    <a:pt x="7376" y="2312"/>
                  </a:lnTo>
                  <a:lnTo>
                    <a:pt x="7367" y="2321"/>
                  </a:lnTo>
                  <a:lnTo>
                    <a:pt x="7358" y="2312"/>
                  </a:lnTo>
                  <a:lnTo>
                    <a:pt x="7349" y="2303"/>
                  </a:lnTo>
                  <a:lnTo>
                    <a:pt x="7349" y="2295"/>
                  </a:lnTo>
                  <a:lnTo>
                    <a:pt x="7340" y="2295"/>
                  </a:lnTo>
                  <a:lnTo>
                    <a:pt x="7331" y="2295"/>
                  </a:lnTo>
                  <a:lnTo>
                    <a:pt x="7323" y="2286"/>
                  </a:lnTo>
                  <a:lnTo>
                    <a:pt x="7296" y="2286"/>
                  </a:lnTo>
                  <a:lnTo>
                    <a:pt x="7261" y="2277"/>
                  </a:lnTo>
                  <a:lnTo>
                    <a:pt x="7270" y="2277"/>
                  </a:lnTo>
                  <a:lnTo>
                    <a:pt x="7305" y="2286"/>
                  </a:lnTo>
                  <a:lnTo>
                    <a:pt x="7314" y="2286"/>
                  </a:lnTo>
                  <a:lnTo>
                    <a:pt x="7323" y="2277"/>
                  </a:lnTo>
                  <a:lnTo>
                    <a:pt x="7331" y="2277"/>
                  </a:lnTo>
                  <a:lnTo>
                    <a:pt x="7358" y="2286"/>
                  </a:lnTo>
                  <a:lnTo>
                    <a:pt x="7367" y="2286"/>
                  </a:lnTo>
                  <a:lnTo>
                    <a:pt x="7376" y="2277"/>
                  </a:lnTo>
                  <a:lnTo>
                    <a:pt x="7376" y="2268"/>
                  </a:lnTo>
                  <a:lnTo>
                    <a:pt x="7376" y="2251"/>
                  </a:lnTo>
                  <a:lnTo>
                    <a:pt x="7349" y="2242"/>
                  </a:lnTo>
                  <a:lnTo>
                    <a:pt x="7340" y="2233"/>
                  </a:lnTo>
                  <a:lnTo>
                    <a:pt x="7331" y="2233"/>
                  </a:lnTo>
                  <a:lnTo>
                    <a:pt x="7287" y="2251"/>
                  </a:lnTo>
                  <a:lnTo>
                    <a:pt x="7278" y="2242"/>
                  </a:lnTo>
                  <a:lnTo>
                    <a:pt x="7314" y="2233"/>
                  </a:lnTo>
                  <a:lnTo>
                    <a:pt x="7331" y="2224"/>
                  </a:lnTo>
                  <a:lnTo>
                    <a:pt x="7340" y="2233"/>
                  </a:lnTo>
                  <a:lnTo>
                    <a:pt x="7367" y="2224"/>
                  </a:lnTo>
                  <a:lnTo>
                    <a:pt x="7376" y="2233"/>
                  </a:lnTo>
                  <a:lnTo>
                    <a:pt x="7384" y="2233"/>
                  </a:lnTo>
                  <a:lnTo>
                    <a:pt x="7393" y="2233"/>
                  </a:lnTo>
                  <a:lnTo>
                    <a:pt x="7411" y="2233"/>
                  </a:lnTo>
                  <a:lnTo>
                    <a:pt x="7420" y="2233"/>
                  </a:lnTo>
                  <a:lnTo>
                    <a:pt x="7446" y="2242"/>
                  </a:lnTo>
                  <a:lnTo>
                    <a:pt x="7455" y="2233"/>
                  </a:lnTo>
                  <a:lnTo>
                    <a:pt x="7455" y="2224"/>
                  </a:lnTo>
                  <a:lnTo>
                    <a:pt x="7455" y="2215"/>
                  </a:lnTo>
                  <a:lnTo>
                    <a:pt x="7446" y="2215"/>
                  </a:lnTo>
                  <a:lnTo>
                    <a:pt x="7428" y="2206"/>
                  </a:lnTo>
                  <a:lnTo>
                    <a:pt x="7420" y="2198"/>
                  </a:lnTo>
                  <a:lnTo>
                    <a:pt x="7402" y="2198"/>
                  </a:lnTo>
                  <a:lnTo>
                    <a:pt x="7376" y="2198"/>
                  </a:lnTo>
                  <a:lnTo>
                    <a:pt x="7367" y="2198"/>
                  </a:lnTo>
                  <a:lnTo>
                    <a:pt x="7358" y="2198"/>
                  </a:lnTo>
                  <a:lnTo>
                    <a:pt x="7323" y="2180"/>
                  </a:lnTo>
                  <a:lnTo>
                    <a:pt x="7305" y="2189"/>
                  </a:lnTo>
                  <a:lnTo>
                    <a:pt x="7278" y="2189"/>
                  </a:lnTo>
                  <a:lnTo>
                    <a:pt x="7270" y="2189"/>
                  </a:lnTo>
                  <a:lnTo>
                    <a:pt x="7278" y="2180"/>
                  </a:lnTo>
                  <a:lnTo>
                    <a:pt x="7296" y="2180"/>
                  </a:lnTo>
                  <a:lnTo>
                    <a:pt x="7314" y="2171"/>
                  </a:lnTo>
                  <a:lnTo>
                    <a:pt x="7331" y="2171"/>
                  </a:lnTo>
                  <a:lnTo>
                    <a:pt x="7340" y="2171"/>
                  </a:lnTo>
                  <a:lnTo>
                    <a:pt x="7340" y="2162"/>
                  </a:lnTo>
                  <a:lnTo>
                    <a:pt x="7349" y="2162"/>
                  </a:lnTo>
                  <a:lnTo>
                    <a:pt x="7358" y="2153"/>
                  </a:lnTo>
                  <a:lnTo>
                    <a:pt x="7376" y="2153"/>
                  </a:lnTo>
                  <a:lnTo>
                    <a:pt x="7411" y="2162"/>
                  </a:lnTo>
                  <a:lnTo>
                    <a:pt x="7420" y="2162"/>
                  </a:lnTo>
                  <a:lnTo>
                    <a:pt x="7420" y="2153"/>
                  </a:lnTo>
                  <a:lnTo>
                    <a:pt x="7420" y="2145"/>
                  </a:lnTo>
                  <a:lnTo>
                    <a:pt x="7411" y="2127"/>
                  </a:lnTo>
                  <a:lnTo>
                    <a:pt x="7402" y="2127"/>
                  </a:lnTo>
                  <a:lnTo>
                    <a:pt x="7384" y="2101"/>
                  </a:lnTo>
                  <a:lnTo>
                    <a:pt x="7367" y="2092"/>
                  </a:lnTo>
                  <a:lnTo>
                    <a:pt x="7358" y="2083"/>
                  </a:lnTo>
                  <a:lnTo>
                    <a:pt x="7349" y="2083"/>
                  </a:lnTo>
                  <a:lnTo>
                    <a:pt x="7340" y="2092"/>
                  </a:lnTo>
                  <a:lnTo>
                    <a:pt x="7340" y="2101"/>
                  </a:lnTo>
                  <a:lnTo>
                    <a:pt x="7331" y="2101"/>
                  </a:lnTo>
                  <a:lnTo>
                    <a:pt x="7331" y="2109"/>
                  </a:lnTo>
                  <a:lnTo>
                    <a:pt x="7340" y="2109"/>
                  </a:lnTo>
                  <a:lnTo>
                    <a:pt x="7340" y="2118"/>
                  </a:lnTo>
                  <a:lnTo>
                    <a:pt x="7331" y="2118"/>
                  </a:lnTo>
                  <a:lnTo>
                    <a:pt x="7323" y="2118"/>
                  </a:lnTo>
                  <a:lnTo>
                    <a:pt x="7314" y="2127"/>
                  </a:lnTo>
                  <a:lnTo>
                    <a:pt x="7305" y="2136"/>
                  </a:lnTo>
                  <a:lnTo>
                    <a:pt x="7296" y="2136"/>
                  </a:lnTo>
                  <a:lnTo>
                    <a:pt x="7287" y="2127"/>
                  </a:lnTo>
                  <a:lnTo>
                    <a:pt x="7296" y="2118"/>
                  </a:lnTo>
                  <a:lnTo>
                    <a:pt x="7305" y="2118"/>
                  </a:lnTo>
                  <a:lnTo>
                    <a:pt x="7305" y="2109"/>
                  </a:lnTo>
                  <a:lnTo>
                    <a:pt x="7305" y="2101"/>
                  </a:lnTo>
                  <a:lnTo>
                    <a:pt x="7287" y="2101"/>
                  </a:lnTo>
                  <a:lnTo>
                    <a:pt x="7270" y="2101"/>
                  </a:lnTo>
                  <a:lnTo>
                    <a:pt x="7252" y="2109"/>
                  </a:lnTo>
                  <a:lnTo>
                    <a:pt x="7243" y="2109"/>
                  </a:lnTo>
                  <a:lnTo>
                    <a:pt x="7226" y="2118"/>
                  </a:lnTo>
                  <a:lnTo>
                    <a:pt x="7217" y="2127"/>
                  </a:lnTo>
                  <a:lnTo>
                    <a:pt x="7208" y="2118"/>
                  </a:lnTo>
                  <a:lnTo>
                    <a:pt x="7234" y="2101"/>
                  </a:lnTo>
                  <a:lnTo>
                    <a:pt x="7252" y="2092"/>
                  </a:lnTo>
                  <a:lnTo>
                    <a:pt x="7261" y="2092"/>
                  </a:lnTo>
                  <a:lnTo>
                    <a:pt x="7278" y="2092"/>
                  </a:lnTo>
                  <a:lnTo>
                    <a:pt x="7296" y="2083"/>
                  </a:lnTo>
                  <a:lnTo>
                    <a:pt x="7305" y="2083"/>
                  </a:lnTo>
                  <a:lnTo>
                    <a:pt x="7314" y="2074"/>
                  </a:lnTo>
                  <a:lnTo>
                    <a:pt x="7323" y="2074"/>
                  </a:lnTo>
                  <a:lnTo>
                    <a:pt x="7331" y="2065"/>
                  </a:lnTo>
                  <a:lnTo>
                    <a:pt x="7331" y="2056"/>
                  </a:lnTo>
                  <a:lnTo>
                    <a:pt x="7323" y="2048"/>
                  </a:lnTo>
                  <a:lnTo>
                    <a:pt x="7296" y="2039"/>
                  </a:lnTo>
                  <a:lnTo>
                    <a:pt x="7278" y="2030"/>
                  </a:lnTo>
                  <a:lnTo>
                    <a:pt x="7270" y="2030"/>
                  </a:lnTo>
                  <a:lnTo>
                    <a:pt x="7261" y="2021"/>
                  </a:lnTo>
                  <a:lnTo>
                    <a:pt x="7243" y="2021"/>
                  </a:lnTo>
                  <a:lnTo>
                    <a:pt x="7234" y="2021"/>
                  </a:lnTo>
                  <a:lnTo>
                    <a:pt x="7226" y="2012"/>
                  </a:lnTo>
                  <a:lnTo>
                    <a:pt x="7217" y="2012"/>
                  </a:lnTo>
                  <a:lnTo>
                    <a:pt x="7208" y="2021"/>
                  </a:lnTo>
                  <a:lnTo>
                    <a:pt x="7190" y="2021"/>
                  </a:lnTo>
                  <a:lnTo>
                    <a:pt x="7173" y="2030"/>
                  </a:lnTo>
                  <a:lnTo>
                    <a:pt x="7146" y="2039"/>
                  </a:lnTo>
                  <a:lnTo>
                    <a:pt x="7137" y="2048"/>
                  </a:lnTo>
                  <a:lnTo>
                    <a:pt x="7137" y="2056"/>
                  </a:lnTo>
                  <a:lnTo>
                    <a:pt x="7120" y="2101"/>
                  </a:lnTo>
                  <a:lnTo>
                    <a:pt x="7111" y="2109"/>
                  </a:lnTo>
                  <a:lnTo>
                    <a:pt x="7120" y="2074"/>
                  </a:lnTo>
                  <a:lnTo>
                    <a:pt x="7120" y="2065"/>
                  </a:lnTo>
                  <a:lnTo>
                    <a:pt x="7111" y="2056"/>
                  </a:lnTo>
                  <a:lnTo>
                    <a:pt x="7102" y="2056"/>
                  </a:lnTo>
                  <a:lnTo>
                    <a:pt x="7093" y="2056"/>
                  </a:lnTo>
                  <a:lnTo>
                    <a:pt x="7084" y="2074"/>
                  </a:lnTo>
                  <a:lnTo>
                    <a:pt x="7076" y="2074"/>
                  </a:lnTo>
                  <a:lnTo>
                    <a:pt x="7076" y="2065"/>
                  </a:lnTo>
                  <a:lnTo>
                    <a:pt x="7084" y="2065"/>
                  </a:lnTo>
                  <a:lnTo>
                    <a:pt x="7093" y="2056"/>
                  </a:lnTo>
                  <a:lnTo>
                    <a:pt x="7111" y="2048"/>
                  </a:lnTo>
                  <a:lnTo>
                    <a:pt x="7128" y="2048"/>
                  </a:lnTo>
                  <a:lnTo>
                    <a:pt x="7137" y="2039"/>
                  </a:lnTo>
                  <a:lnTo>
                    <a:pt x="7155" y="2021"/>
                  </a:lnTo>
                  <a:lnTo>
                    <a:pt x="7164" y="2012"/>
                  </a:lnTo>
                  <a:lnTo>
                    <a:pt x="7164" y="2003"/>
                  </a:lnTo>
                  <a:lnTo>
                    <a:pt x="7164" y="1995"/>
                  </a:lnTo>
                  <a:lnTo>
                    <a:pt x="7164" y="1986"/>
                  </a:lnTo>
                  <a:lnTo>
                    <a:pt x="7155" y="1977"/>
                  </a:lnTo>
                  <a:lnTo>
                    <a:pt x="7146" y="1977"/>
                  </a:lnTo>
                  <a:lnTo>
                    <a:pt x="7137" y="1986"/>
                  </a:lnTo>
                  <a:lnTo>
                    <a:pt x="7128" y="1995"/>
                  </a:lnTo>
                  <a:lnTo>
                    <a:pt x="7111" y="1995"/>
                  </a:lnTo>
                  <a:lnTo>
                    <a:pt x="7084" y="1986"/>
                  </a:lnTo>
                  <a:lnTo>
                    <a:pt x="7067" y="1995"/>
                  </a:lnTo>
                  <a:lnTo>
                    <a:pt x="7058" y="2003"/>
                  </a:lnTo>
                  <a:lnTo>
                    <a:pt x="7049" y="2012"/>
                  </a:lnTo>
                  <a:lnTo>
                    <a:pt x="7040" y="2012"/>
                  </a:lnTo>
                  <a:lnTo>
                    <a:pt x="7023" y="2021"/>
                  </a:lnTo>
                  <a:lnTo>
                    <a:pt x="7023" y="2012"/>
                  </a:lnTo>
                  <a:lnTo>
                    <a:pt x="7031" y="2012"/>
                  </a:lnTo>
                  <a:lnTo>
                    <a:pt x="7040" y="2003"/>
                  </a:lnTo>
                  <a:lnTo>
                    <a:pt x="7067" y="1986"/>
                  </a:lnTo>
                  <a:lnTo>
                    <a:pt x="7067" y="1977"/>
                  </a:lnTo>
                  <a:lnTo>
                    <a:pt x="7076" y="1977"/>
                  </a:lnTo>
                  <a:lnTo>
                    <a:pt x="7093" y="1986"/>
                  </a:lnTo>
                  <a:lnTo>
                    <a:pt x="7102" y="1977"/>
                  </a:lnTo>
                  <a:lnTo>
                    <a:pt x="7111" y="1977"/>
                  </a:lnTo>
                  <a:lnTo>
                    <a:pt x="7120" y="1959"/>
                  </a:lnTo>
                  <a:lnTo>
                    <a:pt x="7128" y="1959"/>
                  </a:lnTo>
                  <a:lnTo>
                    <a:pt x="7120" y="1950"/>
                  </a:lnTo>
                  <a:lnTo>
                    <a:pt x="7120" y="1942"/>
                  </a:lnTo>
                  <a:lnTo>
                    <a:pt x="7111" y="1942"/>
                  </a:lnTo>
                  <a:lnTo>
                    <a:pt x="7102" y="1933"/>
                  </a:lnTo>
                  <a:lnTo>
                    <a:pt x="7093" y="1924"/>
                  </a:lnTo>
                  <a:lnTo>
                    <a:pt x="7076" y="1915"/>
                  </a:lnTo>
                  <a:lnTo>
                    <a:pt x="7058" y="1915"/>
                  </a:lnTo>
                  <a:lnTo>
                    <a:pt x="7040" y="1915"/>
                  </a:lnTo>
                  <a:lnTo>
                    <a:pt x="7023" y="1906"/>
                  </a:lnTo>
                  <a:lnTo>
                    <a:pt x="7023" y="1915"/>
                  </a:lnTo>
                  <a:lnTo>
                    <a:pt x="7014" y="1906"/>
                  </a:lnTo>
                  <a:lnTo>
                    <a:pt x="6996" y="1906"/>
                  </a:lnTo>
                  <a:lnTo>
                    <a:pt x="6978" y="1915"/>
                  </a:lnTo>
                  <a:lnTo>
                    <a:pt x="6970" y="1924"/>
                  </a:lnTo>
                  <a:lnTo>
                    <a:pt x="6978" y="1950"/>
                  </a:lnTo>
                  <a:lnTo>
                    <a:pt x="6978" y="1959"/>
                  </a:lnTo>
                  <a:lnTo>
                    <a:pt x="6970" y="1950"/>
                  </a:lnTo>
                  <a:lnTo>
                    <a:pt x="6961" y="1942"/>
                  </a:lnTo>
                  <a:lnTo>
                    <a:pt x="6952" y="1933"/>
                  </a:lnTo>
                  <a:lnTo>
                    <a:pt x="6943" y="1924"/>
                  </a:lnTo>
                  <a:lnTo>
                    <a:pt x="6943" y="1915"/>
                  </a:lnTo>
                  <a:lnTo>
                    <a:pt x="6926" y="1924"/>
                  </a:lnTo>
                  <a:lnTo>
                    <a:pt x="6917" y="1933"/>
                  </a:lnTo>
                  <a:lnTo>
                    <a:pt x="6908" y="1942"/>
                  </a:lnTo>
                  <a:lnTo>
                    <a:pt x="6926" y="1915"/>
                  </a:lnTo>
                  <a:lnTo>
                    <a:pt x="6943" y="1898"/>
                  </a:lnTo>
                  <a:lnTo>
                    <a:pt x="6943" y="1889"/>
                  </a:lnTo>
                  <a:lnTo>
                    <a:pt x="6934" y="1889"/>
                  </a:lnTo>
                  <a:lnTo>
                    <a:pt x="6926" y="1889"/>
                  </a:lnTo>
                  <a:lnTo>
                    <a:pt x="6917" y="1889"/>
                  </a:lnTo>
                  <a:lnTo>
                    <a:pt x="6908" y="1898"/>
                  </a:lnTo>
                  <a:lnTo>
                    <a:pt x="6890" y="1906"/>
                  </a:lnTo>
                  <a:lnTo>
                    <a:pt x="6881" y="1906"/>
                  </a:lnTo>
                  <a:lnTo>
                    <a:pt x="6873" y="1915"/>
                  </a:lnTo>
                  <a:lnTo>
                    <a:pt x="6864" y="1933"/>
                  </a:lnTo>
                  <a:lnTo>
                    <a:pt x="6864" y="1950"/>
                  </a:lnTo>
                  <a:lnTo>
                    <a:pt x="6846" y="1968"/>
                  </a:lnTo>
                  <a:lnTo>
                    <a:pt x="6846" y="1959"/>
                  </a:lnTo>
                  <a:lnTo>
                    <a:pt x="6846" y="1950"/>
                  </a:lnTo>
                  <a:lnTo>
                    <a:pt x="6855" y="1942"/>
                  </a:lnTo>
                  <a:lnTo>
                    <a:pt x="6855" y="1933"/>
                  </a:lnTo>
                  <a:lnTo>
                    <a:pt x="6855" y="1924"/>
                  </a:lnTo>
                  <a:lnTo>
                    <a:pt x="6855" y="1915"/>
                  </a:lnTo>
                  <a:lnTo>
                    <a:pt x="6864" y="1906"/>
                  </a:lnTo>
                  <a:lnTo>
                    <a:pt x="6846" y="1906"/>
                  </a:lnTo>
                  <a:lnTo>
                    <a:pt x="6829" y="1898"/>
                  </a:lnTo>
                  <a:lnTo>
                    <a:pt x="6855" y="1898"/>
                  </a:lnTo>
                  <a:lnTo>
                    <a:pt x="6864" y="1898"/>
                  </a:lnTo>
                  <a:lnTo>
                    <a:pt x="6873" y="1889"/>
                  </a:lnTo>
                  <a:lnTo>
                    <a:pt x="6899" y="1880"/>
                  </a:lnTo>
                  <a:lnTo>
                    <a:pt x="6899" y="1871"/>
                  </a:lnTo>
                  <a:lnTo>
                    <a:pt x="6899" y="1862"/>
                  </a:lnTo>
                  <a:lnTo>
                    <a:pt x="6899" y="1853"/>
                  </a:lnTo>
                  <a:lnTo>
                    <a:pt x="6890" y="1845"/>
                  </a:lnTo>
                  <a:lnTo>
                    <a:pt x="6881" y="1845"/>
                  </a:lnTo>
                  <a:lnTo>
                    <a:pt x="6864" y="1845"/>
                  </a:lnTo>
                  <a:lnTo>
                    <a:pt x="6855" y="1845"/>
                  </a:lnTo>
                  <a:lnTo>
                    <a:pt x="6837" y="1853"/>
                  </a:lnTo>
                  <a:lnTo>
                    <a:pt x="6811" y="1862"/>
                  </a:lnTo>
                  <a:lnTo>
                    <a:pt x="6802" y="1871"/>
                  </a:lnTo>
                  <a:lnTo>
                    <a:pt x="6793" y="1880"/>
                  </a:lnTo>
                  <a:lnTo>
                    <a:pt x="6784" y="1889"/>
                  </a:lnTo>
                  <a:lnTo>
                    <a:pt x="6776" y="1898"/>
                  </a:lnTo>
                  <a:lnTo>
                    <a:pt x="6784" y="1889"/>
                  </a:lnTo>
                  <a:lnTo>
                    <a:pt x="6793" y="1862"/>
                  </a:lnTo>
                  <a:lnTo>
                    <a:pt x="6802" y="1853"/>
                  </a:lnTo>
                  <a:lnTo>
                    <a:pt x="6820" y="1853"/>
                  </a:lnTo>
                  <a:lnTo>
                    <a:pt x="6837" y="1827"/>
                  </a:lnTo>
                  <a:lnTo>
                    <a:pt x="6837" y="1818"/>
                  </a:lnTo>
                  <a:lnTo>
                    <a:pt x="6837" y="1809"/>
                  </a:lnTo>
                  <a:lnTo>
                    <a:pt x="6829" y="1800"/>
                  </a:lnTo>
                  <a:lnTo>
                    <a:pt x="6820" y="1792"/>
                  </a:lnTo>
                  <a:lnTo>
                    <a:pt x="6793" y="1783"/>
                  </a:lnTo>
                  <a:lnTo>
                    <a:pt x="6784" y="1774"/>
                  </a:lnTo>
                  <a:lnTo>
                    <a:pt x="6776" y="1783"/>
                  </a:lnTo>
                  <a:lnTo>
                    <a:pt x="6767" y="1783"/>
                  </a:lnTo>
                  <a:lnTo>
                    <a:pt x="6758" y="1783"/>
                  </a:lnTo>
                  <a:lnTo>
                    <a:pt x="6740" y="1774"/>
                  </a:lnTo>
                  <a:lnTo>
                    <a:pt x="6723" y="1765"/>
                  </a:lnTo>
                  <a:lnTo>
                    <a:pt x="6705" y="1756"/>
                  </a:lnTo>
                  <a:lnTo>
                    <a:pt x="6679" y="1756"/>
                  </a:lnTo>
                  <a:lnTo>
                    <a:pt x="6652" y="1756"/>
                  </a:lnTo>
                  <a:lnTo>
                    <a:pt x="6643" y="1756"/>
                  </a:lnTo>
                  <a:lnTo>
                    <a:pt x="6626" y="1765"/>
                  </a:lnTo>
                  <a:lnTo>
                    <a:pt x="6599" y="1774"/>
                  </a:lnTo>
                  <a:lnTo>
                    <a:pt x="6590" y="1783"/>
                  </a:lnTo>
                  <a:lnTo>
                    <a:pt x="6590" y="1792"/>
                  </a:lnTo>
                  <a:lnTo>
                    <a:pt x="6590" y="1800"/>
                  </a:lnTo>
                  <a:lnTo>
                    <a:pt x="6599" y="1809"/>
                  </a:lnTo>
                  <a:lnTo>
                    <a:pt x="6626" y="1818"/>
                  </a:lnTo>
                  <a:lnTo>
                    <a:pt x="6643" y="1827"/>
                  </a:lnTo>
                  <a:lnTo>
                    <a:pt x="6661" y="1827"/>
                  </a:lnTo>
                  <a:lnTo>
                    <a:pt x="6661" y="1836"/>
                  </a:lnTo>
                  <a:lnTo>
                    <a:pt x="6643" y="1836"/>
                  </a:lnTo>
                  <a:lnTo>
                    <a:pt x="6617" y="1818"/>
                  </a:lnTo>
                  <a:lnTo>
                    <a:pt x="6599" y="1818"/>
                  </a:lnTo>
                  <a:lnTo>
                    <a:pt x="6590" y="1818"/>
                  </a:lnTo>
                  <a:lnTo>
                    <a:pt x="6581" y="1809"/>
                  </a:lnTo>
                  <a:lnTo>
                    <a:pt x="6573" y="1809"/>
                  </a:lnTo>
                  <a:lnTo>
                    <a:pt x="6564" y="1818"/>
                  </a:lnTo>
                  <a:lnTo>
                    <a:pt x="6564" y="1845"/>
                  </a:lnTo>
                  <a:lnTo>
                    <a:pt x="6564" y="1853"/>
                  </a:lnTo>
                  <a:lnTo>
                    <a:pt x="6573" y="1862"/>
                  </a:lnTo>
                  <a:lnTo>
                    <a:pt x="6581" y="1871"/>
                  </a:lnTo>
                  <a:lnTo>
                    <a:pt x="6564" y="1871"/>
                  </a:lnTo>
                  <a:lnTo>
                    <a:pt x="6546" y="1853"/>
                  </a:lnTo>
                  <a:lnTo>
                    <a:pt x="6546" y="1845"/>
                  </a:lnTo>
                  <a:lnTo>
                    <a:pt x="6546" y="1836"/>
                  </a:lnTo>
                  <a:lnTo>
                    <a:pt x="6546" y="1818"/>
                  </a:lnTo>
                  <a:lnTo>
                    <a:pt x="6537" y="1809"/>
                  </a:lnTo>
                  <a:lnTo>
                    <a:pt x="6529" y="1800"/>
                  </a:lnTo>
                  <a:lnTo>
                    <a:pt x="6520" y="1809"/>
                  </a:lnTo>
                  <a:lnTo>
                    <a:pt x="6511" y="1818"/>
                  </a:lnTo>
                  <a:lnTo>
                    <a:pt x="6502" y="1809"/>
                  </a:lnTo>
                  <a:lnTo>
                    <a:pt x="6493" y="1800"/>
                  </a:lnTo>
                  <a:lnTo>
                    <a:pt x="6484" y="1800"/>
                  </a:lnTo>
                  <a:lnTo>
                    <a:pt x="6476" y="1800"/>
                  </a:lnTo>
                  <a:lnTo>
                    <a:pt x="6476" y="1809"/>
                  </a:lnTo>
                  <a:lnTo>
                    <a:pt x="6467" y="1809"/>
                  </a:lnTo>
                  <a:lnTo>
                    <a:pt x="6467" y="1818"/>
                  </a:lnTo>
                  <a:lnTo>
                    <a:pt x="6484" y="1836"/>
                  </a:lnTo>
                  <a:lnTo>
                    <a:pt x="6467" y="1827"/>
                  </a:lnTo>
                  <a:lnTo>
                    <a:pt x="6449" y="1836"/>
                  </a:lnTo>
                  <a:lnTo>
                    <a:pt x="6423" y="1862"/>
                  </a:lnTo>
                  <a:lnTo>
                    <a:pt x="6414" y="1871"/>
                  </a:lnTo>
                  <a:lnTo>
                    <a:pt x="6405" y="1871"/>
                  </a:lnTo>
                  <a:lnTo>
                    <a:pt x="6405" y="1862"/>
                  </a:lnTo>
                  <a:lnTo>
                    <a:pt x="6405" y="1853"/>
                  </a:lnTo>
                  <a:lnTo>
                    <a:pt x="6405" y="1845"/>
                  </a:lnTo>
                  <a:lnTo>
                    <a:pt x="6414" y="1845"/>
                  </a:lnTo>
                  <a:lnTo>
                    <a:pt x="6423" y="1845"/>
                  </a:lnTo>
                  <a:lnTo>
                    <a:pt x="6405" y="1836"/>
                  </a:lnTo>
                  <a:lnTo>
                    <a:pt x="6405" y="1827"/>
                  </a:lnTo>
                  <a:lnTo>
                    <a:pt x="6414" y="1818"/>
                  </a:lnTo>
                  <a:lnTo>
                    <a:pt x="6423" y="1809"/>
                  </a:lnTo>
                  <a:lnTo>
                    <a:pt x="6432" y="1800"/>
                  </a:lnTo>
                  <a:lnTo>
                    <a:pt x="6432" y="1792"/>
                  </a:lnTo>
                  <a:lnTo>
                    <a:pt x="6423" y="1792"/>
                  </a:lnTo>
                  <a:lnTo>
                    <a:pt x="6387" y="1818"/>
                  </a:lnTo>
                  <a:lnTo>
                    <a:pt x="6405" y="1800"/>
                  </a:lnTo>
                  <a:lnTo>
                    <a:pt x="6432" y="1783"/>
                  </a:lnTo>
                  <a:lnTo>
                    <a:pt x="6449" y="1765"/>
                  </a:lnTo>
                  <a:lnTo>
                    <a:pt x="6449" y="1756"/>
                  </a:lnTo>
                  <a:lnTo>
                    <a:pt x="6458" y="1756"/>
                  </a:lnTo>
                  <a:lnTo>
                    <a:pt x="6458" y="1747"/>
                  </a:lnTo>
                  <a:lnTo>
                    <a:pt x="6449" y="1747"/>
                  </a:lnTo>
                  <a:lnTo>
                    <a:pt x="6440" y="1739"/>
                  </a:lnTo>
                  <a:lnTo>
                    <a:pt x="6432" y="1730"/>
                  </a:lnTo>
                  <a:lnTo>
                    <a:pt x="6432" y="1721"/>
                  </a:lnTo>
                  <a:lnTo>
                    <a:pt x="6432" y="1712"/>
                  </a:lnTo>
                  <a:lnTo>
                    <a:pt x="6432" y="1703"/>
                  </a:lnTo>
                  <a:lnTo>
                    <a:pt x="6423" y="1695"/>
                  </a:lnTo>
                  <a:lnTo>
                    <a:pt x="6414" y="1686"/>
                  </a:lnTo>
                  <a:lnTo>
                    <a:pt x="6405" y="1686"/>
                  </a:lnTo>
                  <a:lnTo>
                    <a:pt x="6396" y="1677"/>
                  </a:lnTo>
                  <a:lnTo>
                    <a:pt x="6387" y="1650"/>
                  </a:lnTo>
                  <a:lnTo>
                    <a:pt x="6379" y="1633"/>
                  </a:lnTo>
                  <a:lnTo>
                    <a:pt x="6370" y="1633"/>
                  </a:lnTo>
                  <a:lnTo>
                    <a:pt x="6361" y="1624"/>
                  </a:lnTo>
                  <a:lnTo>
                    <a:pt x="6334" y="1615"/>
                  </a:lnTo>
                  <a:lnTo>
                    <a:pt x="6317" y="1615"/>
                  </a:lnTo>
                  <a:lnTo>
                    <a:pt x="6282" y="1615"/>
                  </a:lnTo>
                  <a:lnTo>
                    <a:pt x="6264" y="1615"/>
                  </a:lnTo>
                  <a:lnTo>
                    <a:pt x="6255" y="1624"/>
                  </a:lnTo>
                  <a:lnTo>
                    <a:pt x="6229" y="1633"/>
                  </a:lnTo>
                  <a:lnTo>
                    <a:pt x="6202" y="1633"/>
                  </a:lnTo>
                  <a:lnTo>
                    <a:pt x="6193" y="1642"/>
                  </a:lnTo>
                  <a:lnTo>
                    <a:pt x="6193" y="1650"/>
                  </a:lnTo>
                  <a:lnTo>
                    <a:pt x="6202" y="1659"/>
                  </a:lnTo>
                  <a:lnTo>
                    <a:pt x="6176" y="1650"/>
                  </a:lnTo>
                  <a:lnTo>
                    <a:pt x="6149" y="1650"/>
                  </a:lnTo>
                  <a:lnTo>
                    <a:pt x="6140" y="1659"/>
                  </a:lnTo>
                  <a:lnTo>
                    <a:pt x="6105" y="1668"/>
                  </a:lnTo>
                  <a:lnTo>
                    <a:pt x="6079" y="1703"/>
                  </a:lnTo>
                  <a:lnTo>
                    <a:pt x="6079" y="1712"/>
                  </a:lnTo>
                  <a:lnTo>
                    <a:pt x="6105" y="1721"/>
                  </a:lnTo>
                  <a:lnTo>
                    <a:pt x="6167" y="1739"/>
                  </a:lnTo>
                  <a:lnTo>
                    <a:pt x="6167" y="1747"/>
                  </a:lnTo>
                  <a:lnTo>
                    <a:pt x="6114" y="1730"/>
                  </a:lnTo>
                  <a:lnTo>
                    <a:pt x="6087" y="1721"/>
                  </a:lnTo>
                  <a:lnTo>
                    <a:pt x="6079" y="1730"/>
                  </a:lnTo>
                  <a:lnTo>
                    <a:pt x="6070" y="1739"/>
                  </a:lnTo>
                  <a:lnTo>
                    <a:pt x="6061" y="1747"/>
                  </a:lnTo>
                  <a:lnTo>
                    <a:pt x="6061" y="1756"/>
                  </a:lnTo>
                  <a:lnTo>
                    <a:pt x="6061" y="1774"/>
                  </a:lnTo>
                  <a:lnTo>
                    <a:pt x="6070" y="1783"/>
                  </a:lnTo>
                  <a:lnTo>
                    <a:pt x="6079" y="1800"/>
                  </a:lnTo>
                  <a:lnTo>
                    <a:pt x="6087" y="1800"/>
                  </a:lnTo>
                  <a:lnTo>
                    <a:pt x="6096" y="1809"/>
                  </a:lnTo>
                  <a:lnTo>
                    <a:pt x="6105" y="1800"/>
                  </a:lnTo>
                  <a:lnTo>
                    <a:pt x="6114" y="1800"/>
                  </a:lnTo>
                  <a:lnTo>
                    <a:pt x="6123" y="1800"/>
                  </a:lnTo>
                  <a:lnTo>
                    <a:pt x="6140" y="1809"/>
                  </a:lnTo>
                  <a:lnTo>
                    <a:pt x="6132" y="1809"/>
                  </a:lnTo>
                  <a:lnTo>
                    <a:pt x="6123" y="1809"/>
                  </a:lnTo>
                  <a:lnTo>
                    <a:pt x="6123" y="1818"/>
                  </a:lnTo>
                  <a:lnTo>
                    <a:pt x="6132" y="1836"/>
                  </a:lnTo>
                  <a:lnTo>
                    <a:pt x="6158" y="1845"/>
                  </a:lnTo>
                  <a:lnTo>
                    <a:pt x="6158" y="1853"/>
                  </a:lnTo>
                  <a:lnTo>
                    <a:pt x="6140" y="1836"/>
                  </a:lnTo>
                  <a:lnTo>
                    <a:pt x="6105" y="1827"/>
                  </a:lnTo>
                  <a:lnTo>
                    <a:pt x="6087" y="1827"/>
                  </a:lnTo>
                  <a:lnTo>
                    <a:pt x="6079" y="1827"/>
                  </a:lnTo>
                  <a:lnTo>
                    <a:pt x="6070" y="1845"/>
                  </a:lnTo>
                  <a:lnTo>
                    <a:pt x="6061" y="1853"/>
                  </a:lnTo>
                  <a:lnTo>
                    <a:pt x="6043" y="1853"/>
                  </a:lnTo>
                  <a:lnTo>
                    <a:pt x="6043" y="1862"/>
                  </a:lnTo>
                  <a:lnTo>
                    <a:pt x="6052" y="1862"/>
                  </a:lnTo>
                  <a:lnTo>
                    <a:pt x="6070" y="1880"/>
                  </a:lnTo>
                  <a:lnTo>
                    <a:pt x="6079" y="1898"/>
                  </a:lnTo>
                  <a:lnTo>
                    <a:pt x="6087" y="1898"/>
                  </a:lnTo>
                  <a:lnTo>
                    <a:pt x="6087" y="1906"/>
                  </a:lnTo>
                  <a:lnTo>
                    <a:pt x="6096" y="1906"/>
                  </a:lnTo>
                  <a:lnTo>
                    <a:pt x="6105" y="1906"/>
                  </a:lnTo>
                  <a:lnTo>
                    <a:pt x="6123" y="1906"/>
                  </a:lnTo>
                  <a:lnTo>
                    <a:pt x="6132" y="1906"/>
                  </a:lnTo>
                  <a:lnTo>
                    <a:pt x="6132" y="1915"/>
                  </a:lnTo>
                  <a:lnTo>
                    <a:pt x="6132" y="1924"/>
                  </a:lnTo>
                  <a:lnTo>
                    <a:pt x="6132" y="1933"/>
                  </a:lnTo>
                  <a:lnTo>
                    <a:pt x="6132" y="1942"/>
                  </a:lnTo>
                  <a:lnTo>
                    <a:pt x="6123" y="1986"/>
                  </a:lnTo>
                  <a:lnTo>
                    <a:pt x="6123" y="1995"/>
                  </a:lnTo>
                  <a:lnTo>
                    <a:pt x="6114" y="1986"/>
                  </a:lnTo>
                  <a:lnTo>
                    <a:pt x="6105" y="1986"/>
                  </a:lnTo>
                  <a:lnTo>
                    <a:pt x="6105" y="1977"/>
                  </a:lnTo>
                  <a:lnTo>
                    <a:pt x="6061" y="1977"/>
                  </a:lnTo>
                  <a:lnTo>
                    <a:pt x="6052" y="1977"/>
                  </a:lnTo>
                  <a:lnTo>
                    <a:pt x="6026" y="1986"/>
                  </a:lnTo>
                  <a:lnTo>
                    <a:pt x="6008" y="1995"/>
                  </a:lnTo>
                  <a:lnTo>
                    <a:pt x="5999" y="1995"/>
                  </a:lnTo>
                  <a:lnTo>
                    <a:pt x="5990" y="1995"/>
                  </a:lnTo>
                  <a:lnTo>
                    <a:pt x="5999" y="1986"/>
                  </a:lnTo>
                  <a:lnTo>
                    <a:pt x="6026" y="1977"/>
                  </a:lnTo>
                  <a:lnTo>
                    <a:pt x="6043" y="1968"/>
                  </a:lnTo>
                  <a:lnTo>
                    <a:pt x="6052" y="1968"/>
                  </a:lnTo>
                  <a:lnTo>
                    <a:pt x="6079" y="1959"/>
                  </a:lnTo>
                  <a:lnTo>
                    <a:pt x="6096" y="1950"/>
                  </a:lnTo>
                  <a:lnTo>
                    <a:pt x="6105" y="1950"/>
                  </a:lnTo>
                  <a:lnTo>
                    <a:pt x="6105" y="1942"/>
                  </a:lnTo>
                  <a:lnTo>
                    <a:pt x="6087" y="1924"/>
                  </a:lnTo>
                  <a:lnTo>
                    <a:pt x="6070" y="1915"/>
                  </a:lnTo>
                  <a:lnTo>
                    <a:pt x="6052" y="1906"/>
                  </a:lnTo>
                  <a:lnTo>
                    <a:pt x="6035" y="1889"/>
                  </a:lnTo>
                  <a:lnTo>
                    <a:pt x="6017" y="1871"/>
                  </a:lnTo>
                  <a:lnTo>
                    <a:pt x="6017" y="1853"/>
                  </a:lnTo>
                  <a:lnTo>
                    <a:pt x="6008" y="1845"/>
                  </a:lnTo>
                  <a:lnTo>
                    <a:pt x="6008" y="1836"/>
                  </a:lnTo>
                  <a:lnTo>
                    <a:pt x="6008" y="1818"/>
                  </a:lnTo>
                  <a:lnTo>
                    <a:pt x="6008" y="1800"/>
                  </a:lnTo>
                  <a:lnTo>
                    <a:pt x="6008" y="1792"/>
                  </a:lnTo>
                  <a:lnTo>
                    <a:pt x="6008" y="1783"/>
                  </a:lnTo>
                  <a:lnTo>
                    <a:pt x="5990" y="1765"/>
                  </a:lnTo>
                  <a:lnTo>
                    <a:pt x="5990" y="1756"/>
                  </a:lnTo>
                  <a:lnTo>
                    <a:pt x="5990" y="1739"/>
                  </a:lnTo>
                  <a:lnTo>
                    <a:pt x="5990" y="1730"/>
                  </a:lnTo>
                  <a:lnTo>
                    <a:pt x="5999" y="1721"/>
                  </a:lnTo>
                  <a:lnTo>
                    <a:pt x="6026" y="1686"/>
                  </a:lnTo>
                  <a:lnTo>
                    <a:pt x="6035" y="1677"/>
                  </a:lnTo>
                  <a:lnTo>
                    <a:pt x="6061" y="1650"/>
                  </a:lnTo>
                  <a:lnTo>
                    <a:pt x="6070" y="1642"/>
                  </a:lnTo>
                  <a:lnTo>
                    <a:pt x="6096" y="1633"/>
                  </a:lnTo>
                  <a:lnTo>
                    <a:pt x="6114" y="1624"/>
                  </a:lnTo>
                  <a:lnTo>
                    <a:pt x="6114" y="1615"/>
                  </a:lnTo>
                  <a:lnTo>
                    <a:pt x="6114" y="1606"/>
                  </a:lnTo>
                  <a:lnTo>
                    <a:pt x="6105" y="1606"/>
                  </a:lnTo>
                  <a:lnTo>
                    <a:pt x="6043" y="1597"/>
                  </a:lnTo>
                  <a:lnTo>
                    <a:pt x="6008" y="1597"/>
                  </a:lnTo>
                  <a:lnTo>
                    <a:pt x="5982" y="1597"/>
                  </a:lnTo>
                  <a:lnTo>
                    <a:pt x="5929" y="1615"/>
                  </a:lnTo>
                  <a:lnTo>
                    <a:pt x="5911" y="1615"/>
                  </a:lnTo>
                  <a:lnTo>
                    <a:pt x="5893" y="1624"/>
                  </a:lnTo>
                  <a:lnTo>
                    <a:pt x="5876" y="1633"/>
                  </a:lnTo>
                  <a:lnTo>
                    <a:pt x="5840" y="1659"/>
                  </a:lnTo>
                  <a:lnTo>
                    <a:pt x="5832" y="1668"/>
                  </a:lnTo>
                  <a:lnTo>
                    <a:pt x="5832" y="1677"/>
                  </a:lnTo>
                  <a:lnTo>
                    <a:pt x="5814" y="1686"/>
                  </a:lnTo>
                  <a:lnTo>
                    <a:pt x="5805" y="1695"/>
                  </a:lnTo>
                  <a:lnTo>
                    <a:pt x="5796" y="1703"/>
                  </a:lnTo>
                  <a:lnTo>
                    <a:pt x="5796" y="1712"/>
                  </a:lnTo>
                  <a:lnTo>
                    <a:pt x="5796" y="1730"/>
                  </a:lnTo>
                  <a:lnTo>
                    <a:pt x="5787" y="1739"/>
                  </a:lnTo>
                  <a:lnTo>
                    <a:pt x="5787" y="1747"/>
                  </a:lnTo>
                  <a:lnTo>
                    <a:pt x="5779" y="1765"/>
                  </a:lnTo>
                  <a:lnTo>
                    <a:pt x="5761" y="1783"/>
                  </a:lnTo>
                  <a:lnTo>
                    <a:pt x="5752" y="1792"/>
                  </a:lnTo>
                  <a:lnTo>
                    <a:pt x="5752" y="1800"/>
                  </a:lnTo>
                  <a:lnTo>
                    <a:pt x="5752" y="1809"/>
                  </a:lnTo>
                  <a:lnTo>
                    <a:pt x="5752" y="1818"/>
                  </a:lnTo>
                  <a:lnTo>
                    <a:pt x="5752" y="1827"/>
                  </a:lnTo>
                  <a:lnTo>
                    <a:pt x="5761" y="1836"/>
                  </a:lnTo>
                  <a:lnTo>
                    <a:pt x="5770" y="1836"/>
                  </a:lnTo>
                  <a:lnTo>
                    <a:pt x="5743" y="1853"/>
                  </a:lnTo>
                  <a:lnTo>
                    <a:pt x="5743" y="1862"/>
                  </a:lnTo>
                  <a:lnTo>
                    <a:pt x="5743" y="1871"/>
                  </a:lnTo>
                  <a:close/>
                  <a:moveTo>
                    <a:pt x="7596" y="3283"/>
                  </a:moveTo>
                  <a:lnTo>
                    <a:pt x="7614" y="3292"/>
                  </a:lnTo>
                  <a:lnTo>
                    <a:pt x="7623" y="3292"/>
                  </a:lnTo>
                  <a:lnTo>
                    <a:pt x="7623" y="3283"/>
                  </a:lnTo>
                  <a:lnTo>
                    <a:pt x="7614" y="3283"/>
                  </a:lnTo>
                  <a:lnTo>
                    <a:pt x="7605" y="3274"/>
                  </a:lnTo>
                  <a:lnTo>
                    <a:pt x="7596" y="3274"/>
                  </a:lnTo>
                  <a:close/>
                  <a:moveTo>
                    <a:pt x="12025" y="4024"/>
                  </a:moveTo>
                  <a:lnTo>
                    <a:pt x="12025" y="4033"/>
                  </a:lnTo>
                  <a:lnTo>
                    <a:pt x="12025" y="4042"/>
                  </a:lnTo>
                  <a:lnTo>
                    <a:pt x="12034" y="4042"/>
                  </a:lnTo>
                  <a:lnTo>
                    <a:pt x="12043" y="4042"/>
                  </a:lnTo>
                  <a:lnTo>
                    <a:pt x="12051" y="4033"/>
                  </a:lnTo>
                  <a:lnTo>
                    <a:pt x="12060" y="4033"/>
                  </a:lnTo>
                  <a:lnTo>
                    <a:pt x="12060" y="4024"/>
                  </a:lnTo>
                  <a:lnTo>
                    <a:pt x="12051" y="4033"/>
                  </a:lnTo>
                  <a:lnTo>
                    <a:pt x="12051" y="4024"/>
                  </a:lnTo>
                  <a:lnTo>
                    <a:pt x="12043" y="4016"/>
                  </a:lnTo>
                  <a:lnTo>
                    <a:pt x="12034" y="4016"/>
                  </a:lnTo>
                  <a:close/>
                  <a:moveTo>
                    <a:pt x="6687" y="2912"/>
                  </a:moveTo>
                  <a:lnTo>
                    <a:pt x="6670" y="2921"/>
                  </a:lnTo>
                  <a:lnTo>
                    <a:pt x="6696" y="2939"/>
                  </a:lnTo>
                  <a:lnTo>
                    <a:pt x="6705" y="2939"/>
                  </a:lnTo>
                  <a:lnTo>
                    <a:pt x="6714" y="2948"/>
                  </a:lnTo>
                  <a:lnTo>
                    <a:pt x="6723" y="2948"/>
                  </a:lnTo>
                  <a:lnTo>
                    <a:pt x="6723" y="2930"/>
                  </a:lnTo>
                  <a:lnTo>
                    <a:pt x="6714" y="2921"/>
                  </a:lnTo>
                  <a:close/>
                  <a:moveTo>
                    <a:pt x="6529" y="3760"/>
                  </a:moveTo>
                  <a:lnTo>
                    <a:pt x="6537" y="3769"/>
                  </a:lnTo>
                  <a:lnTo>
                    <a:pt x="6546" y="3751"/>
                  </a:lnTo>
                  <a:lnTo>
                    <a:pt x="6546" y="3733"/>
                  </a:lnTo>
                  <a:lnTo>
                    <a:pt x="6555" y="3724"/>
                  </a:lnTo>
                  <a:lnTo>
                    <a:pt x="6555" y="3716"/>
                  </a:lnTo>
                  <a:lnTo>
                    <a:pt x="6555" y="3707"/>
                  </a:lnTo>
                  <a:lnTo>
                    <a:pt x="6546" y="3707"/>
                  </a:lnTo>
                  <a:lnTo>
                    <a:pt x="6537" y="3698"/>
                  </a:lnTo>
                  <a:lnTo>
                    <a:pt x="6529" y="3698"/>
                  </a:lnTo>
                  <a:lnTo>
                    <a:pt x="6529" y="3689"/>
                  </a:lnTo>
                  <a:lnTo>
                    <a:pt x="6529" y="3707"/>
                  </a:lnTo>
                  <a:lnTo>
                    <a:pt x="6529" y="3716"/>
                  </a:lnTo>
                  <a:lnTo>
                    <a:pt x="6520" y="3724"/>
                  </a:lnTo>
                  <a:lnTo>
                    <a:pt x="6520" y="3733"/>
                  </a:lnTo>
                  <a:lnTo>
                    <a:pt x="6511" y="3733"/>
                  </a:lnTo>
                  <a:lnTo>
                    <a:pt x="6520" y="3724"/>
                  </a:lnTo>
                  <a:lnTo>
                    <a:pt x="6520" y="3707"/>
                  </a:lnTo>
                  <a:lnTo>
                    <a:pt x="6520" y="3698"/>
                  </a:lnTo>
                  <a:lnTo>
                    <a:pt x="6520" y="3707"/>
                  </a:lnTo>
                  <a:lnTo>
                    <a:pt x="6511" y="3716"/>
                  </a:lnTo>
                  <a:lnTo>
                    <a:pt x="6511" y="3724"/>
                  </a:lnTo>
                  <a:lnTo>
                    <a:pt x="6511" y="3733"/>
                  </a:lnTo>
                  <a:lnTo>
                    <a:pt x="6493" y="3742"/>
                  </a:lnTo>
                  <a:lnTo>
                    <a:pt x="6476" y="3760"/>
                  </a:lnTo>
                  <a:lnTo>
                    <a:pt x="6476" y="3769"/>
                  </a:lnTo>
                  <a:lnTo>
                    <a:pt x="6484" y="3769"/>
                  </a:lnTo>
                  <a:lnTo>
                    <a:pt x="6493" y="3760"/>
                  </a:lnTo>
                  <a:lnTo>
                    <a:pt x="6511" y="3742"/>
                  </a:lnTo>
                  <a:lnTo>
                    <a:pt x="6493" y="3777"/>
                  </a:lnTo>
                  <a:lnTo>
                    <a:pt x="6502" y="3769"/>
                  </a:lnTo>
                  <a:lnTo>
                    <a:pt x="6511" y="3769"/>
                  </a:lnTo>
                  <a:lnTo>
                    <a:pt x="6520" y="3769"/>
                  </a:lnTo>
                  <a:lnTo>
                    <a:pt x="6520" y="3760"/>
                  </a:lnTo>
                  <a:lnTo>
                    <a:pt x="6537" y="3733"/>
                  </a:lnTo>
                  <a:lnTo>
                    <a:pt x="6537" y="3742"/>
                  </a:lnTo>
                  <a:close/>
                  <a:moveTo>
                    <a:pt x="6343" y="4060"/>
                  </a:moveTo>
                  <a:lnTo>
                    <a:pt x="6379" y="4077"/>
                  </a:lnTo>
                  <a:lnTo>
                    <a:pt x="6396" y="4077"/>
                  </a:lnTo>
                  <a:lnTo>
                    <a:pt x="6405" y="4086"/>
                  </a:lnTo>
                  <a:lnTo>
                    <a:pt x="6414" y="4086"/>
                  </a:lnTo>
                  <a:lnTo>
                    <a:pt x="6423" y="4086"/>
                  </a:lnTo>
                  <a:lnTo>
                    <a:pt x="6423" y="4077"/>
                  </a:lnTo>
                  <a:lnTo>
                    <a:pt x="6423" y="4069"/>
                  </a:lnTo>
                  <a:lnTo>
                    <a:pt x="6414" y="4060"/>
                  </a:lnTo>
                  <a:lnTo>
                    <a:pt x="6396" y="4042"/>
                  </a:lnTo>
                  <a:lnTo>
                    <a:pt x="6379" y="4033"/>
                  </a:lnTo>
                  <a:lnTo>
                    <a:pt x="6343" y="4042"/>
                  </a:lnTo>
                  <a:lnTo>
                    <a:pt x="6334" y="4042"/>
                  </a:lnTo>
                  <a:lnTo>
                    <a:pt x="6326" y="4051"/>
                  </a:lnTo>
                  <a:lnTo>
                    <a:pt x="6326" y="4060"/>
                  </a:lnTo>
                  <a:close/>
                  <a:moveTo>
                    <a:pt x="7358" y="3265"/>
                  </a:moveTo>
                  <a:lnTo>
                    <a:pt x="7349" y="3265"/>
                  </a:lnTo>
                  <a:lnTo>
                    <a:pt x="7340" y="3274"/>
                  </a:lnTo>
                  <a:lnTo>
                    <a:pt x="7331" y="3292"/>
                  </a:lnTo>
                  <a:lnTo>
                    <a:pt x="7331" y="3301"/>
                  </a:lnTo>
                  <a:lnTo>
                    <a:pt x="7340" y="3301"/>
                  </a:lnTo>
                  <a:lnTo>
                    <a:pt x="7358" y="3292"/>
                  </a:lnTo>
                  <a:lnTo>
                    <a:pt x="7367" y="3292"/>
                  </a:lnTo>
                  <a:lnTo>
                    <a:pt x="7367" y="3283"/>
                  </a:lnTo>
                  <a:lnTo>
                    <a:pt x="7376" y="3274"/>
                  </a:lnTo>
                  <a:lnTo>
                    <a:pt x="7367" y="3274"/>
                  </a:lnTo>
                  <a:lnTo>
                    <a:pt x="7367" y="3265"/>
                  </a:lnTo>
                  <a:close/>
                  <a:moveTo>
                    <a:pt x="6334" y="3010"/>
                  </a:moveTo>
                  <a:lnTo>
                    <a:pt x="6334" y="3001"/>
                  </a:lnTo>
                  <a:lnTo>
                    <a:pt x="6326" y="2992"/>
                  </a:lnTo>
                  <a:lnTo>
                    <a:pt x="6317" y="2992"/>
                  </a:lnTo>
                  <a:lnTo>
                    <a:pt x="6299" y="3001"/>
                  </a:lnTo>
                  <a:lnTo>
                    <a:pt x="6282" y="2992"/>
                  </a:lnTo>
                  <a:lnTo>
                    <a:pt x="6255" y="3001"/>
                  </a:lnTo>
                  <a:lnTo>
                    <a:pt x="6246" y="3001"/>
                  </a:lnTo>
                  <a:lnTo>
                    <a:pt x="6237" y="3001"/>
                  </a:lnTo>
                  <a:lnTo>
                    <a:pt x="6229" y="3001"/>
                  </a:lnTo>
                  <a:lnTo>
                    <a:pt x="6202" y="3036"/>
                  </a:lnTo>
                  <a:lnTo>
                    <a:pt x="6193" y="3054"/>
                  </a:lnTo>
                  <a:lnTo>
                    <a:pt x="6193" y="3063"/>
                  </a:lnTo>
                  <a:lnTo>
                    <a:pt x="6202" y="3071"/>
                  </a:lnTo>
                  <a:lnTo>
                    <a:pt x="6202" y="3080"/>
                  </a:lnTo>
                  <a:lnTo>
                    <a:pt x="6202" y="3089"/>
                  </a:lnTo>
                  <a:lnTo>
                    <a:pt x="6229" y="3080"/>
                  </a:lnTo>
                  <a:lnTo>
                    <a:pt x="6237" y="3080"/>
                  </a:lnTo>
                  <a:lnTo>
                    <a:pt x="6246" y="3080"/>
                  </a:lnTo>
                  <a:lnTo>
                    <a:pt x="6255" y="3080"/>
                  </a:lnTo>
                  <a:lnTo>
                    <a:pt x="6290" y="3063"/>
                  </a:lnTo>
                  <a:lnTo>
                    <a:pt x="6290" y="3054"/>
                  </a:lnTo>
                  <a:lnTo>
                    <a:pt x="6299" y="3045"/>
                  </a:lnTo>
                  <a:lnTo>
                    <a:pt x="6326" y="3027"/>
                  </a:lnTo>
                  <a:lnTo>
                    <a:pt x="6326" y="3018"/>
                  </a:lnTo>
                  <a:lnTo>
                    <a:pt x="6334" y="3018"/>
                  </a:lnTo>
                  <a:close/>
                  <a:moveTo>
                    <a:pt x="6890" y="3027"/>
                  </a:moveTo>
                  <a:lnTo>
                    <a:pt x="6881" y="3018"/>
                  </a:lnTo>
                  <a:lnTo>
                    <a:pt x="6873" y="3018"/>
                  </a:lnTo>
                  <a:lnTo>
                    <a:pt x="6873" y="3027"/>
                  </a:lnTo>
                  <a:lnTo>
                    <a:pt x="6881" y="3027"/>
                  </a:lnTo>
                  <a:lnTo>
                    <a:pt x="6899" y="3036"/>
                  </a:lnTo>
                  <a:lnTo>
                    <a:pt x="6917" y="3036"/>
                  </a:lnTo>
                  <a:lnTo>
                    <a:pt x="6917" y="3027"/>
                  </a:lnTo>
                  <a:lnTo>
                    <a:pt x="6908" y="3027"/>
                  </a:lnTo>
                  <a:close/>
                  <a:moveTo>
                    <a:pt x="7261" y="3442"/>
                  </a:moveTo>
                  <a:lnTo>
                    <a:pt x="7270" y="3442"/>
                  </a:lnTo>
                  <a:lnTo>
                    <a:pt x="7270" y="3433"/>
                  </a:lnTo>
                  <a:lnTo>
                    <a:pt x="7278" y="3433"/>
                  </a:lnTo>
                  <a:lnTo>
                    <a:pt x="7270" y="3433"/>
                  </a:lnTo>
                  <a:lnTo>
                    <a:pt x="7270" y="3424"/>
                  </a:lnTo>
                  <a:lnTo>
                    <a:pt x="7261" y="3424"/>
                  </a:lnTo>
                  <a:lnTo>
                    <a:pt x="7261" y="3433"/>
                  </a:lnTo>
                  <a:close/>
                  <a:moveTo>
                    <a:pt x="7181" y="3018"/>
                  </a:moveTo>
                  <a:lnTo>
                    <a:pt x="7164" y="3010"/>
                  </a:lnTo>
                  <a:lnTo>
                    <a:pt x="7155" y="3010"/>
                  </a:lnTo>
                  <a:lnTo>
                    <a:pt x="7137" y="3010"/>
                  </a:lnTo>
                  <a:lnTo>
                    <a:pt x="7128" y="3001"/>
                  </a:lnTo>
                  <a:lnTo>
                    <a:pt x="7120" y="3001"/>
                  </a:lnTo>
                  <a:lnTo>
                    <a:pt x="7128" y="3010"/>
                  </a:lnTo>
                  <a:lnTo>
                    <a:pt x="7137" y="3018"/>
                  </a:lnTo>
                  <a:lnTo>
                    <a:pt x="7146" y="3027"/>
                  </a:lnTo>
                  <a:lnTo>
                    <a:pt x="7155" y="3027"/>
                  </a:lnTo>
                  <a:lnTo>
                    <a:pt x="7155" y="3036"/>
                  </a:lnTo>
                  <a:lnTo>
                    <a:pt x="7164" y="3036"/>
                  </a:lnTo>
                  <a:lnTo>
                    <a:pt x="7173" y="3045"/>
                  </a:lnTo>
                  <a:lnTo>
                    <a:pt x="7181" y="3045"/>
                  </a:lnTo>
                  <a:lnTo>
                    <a:pt x="7190" y="3045"/>
                  </a:lnTo>
                  <a:lnTo>
                    <a:pt x="7190" y="3036"/>
                  </a:lnTo>
                  <a:lnTo>
                    <a:pt x="7181" y="3027"/>
                  </a:lnTo>
                  <a:close/>
                  <a:moveTo>
                    <a:pt x="7746" y="2506"/>
                  </a:moveTo>
                  <a:lnTo>
                    <a:pt x="7764" y="2498"/>
                  </a:lnTo>
                  <a:lnTo>
                    <a:pt x="7773" y="2489"/>
                  </a:lnTo>
                  <a:lnTo>
                    <a:pt x="7764" y="2489"/>
                  </a:lnTo>
                  <a:lnTo>
                    <a:pt x="7755" y="2489"/>
                  </a:lnTo>
                  <a:lnTo>
                    <a:pt x="7746" y="2498"/>
                  </a:lnTo>
                  <a:lnTo>
                    <a:pt x="7737" y="2498"/>
                  </a:lnTo>
                  <a:lnTo>
                    <a:pt x="7737" y="2506"/>
                  </a:lnTo>
                  <a:close/>
                  <a:moveTo>
                    <a:pt x="11919" y="3777"/>
                  </a:moveTo>
                  <a:lnTo>
                    <a:pt x="11928" y="3751"/>
                  </a:lnTo>
                  <a:lnTo>
                    <a:pt x="11937" y="3742"/>
                  </a:lnTo>
                  <a:lnTo>
                    <a:pt x="11928" y="3742"/>
                  </a:lnTo>
                  <a:lnTo>
                    <a:pt x="11919" y="3751"/>
                  </a:lnTo>
                  <a:lnTo>
                    <a:pt x="11919" y="3760"/>
                  </a:lnTo>
                  <a:lnTo>
                    <a:pt x="11910" y="3760"/>
                  </a:lnTo>
                  <a:lnTo>
                    <a:pt x="11910" y="3769"/>
                  </a:lnTo>
                  <a:lnTo>
                    <a:pt x="11910" y="3777"/>
                  </a:lnTo>
                  <a:close/>
                  <a:moveTo>
                    <a:pt x="11893" y="3645"/>
                  </a:moveTo>
                  <a:lnTo>
                    <a:pt x="11884" y="3645"/>
                  </a:lnTo>
                  <a:lnTo>
                    <a:pt x="11893" y="3654"/>
                  </a:lnTo>
                  <a:lnTo>
                    <a:pt x="11901" y="3654"/>
                  </a:lnTo>
                  <a:lnTo>
                    <a:pt x="11901" y="3645"/>
                  </a:lnTo>
                  <a:close/>
                  <a:moveTo>
                    <a:pt x="11893" y="3583"/>
                  </a:moveTo>
                  <a:lnTo>
                    <a:pt x="11875" y="3592"/>
                  </a:lnTo>
                  <a:lnTo>
                    <a:pt x="11875" y="3601"/>
                  </a:lnTo>
                  <a:lnTo>
                    <a:pt x="11866" y="3601"/>
                  </a:lnTo>
                  <a:lnTo>
                    <a:pt x="11857" y="3601"/>
                  </a:lnTo>
                  <a:lnTo>
                    <a:pt x="11866" y="3610"/>
                  </a:lnTo>
                  <a:lnTo>
                    <a:pt x="11884" y="3619"/>
                  </a:lnTo>
                  <a:lnTo>
                    <a:pt x="11893" y="3627"/>
                  </a:lnTo>
                  <a:lnTo>
                    <a:pt x="11901" y="3627"/>
                  </a:lnTo>
                  <a:lnTo>
                    <a:pt x="11910" y="3627"/>
                  </a:lnTo>
                  <a:lnTo>
                    <a:pt x="11919" y="3645"/>
                  </a:lnTo>
                  <a:lnTo>
                    <a:pt x="11928" y="3636"/>
                  </a:lnTo>
                  <a:lnTo>
                    <a:pt x="11937" y="3627"/>
                  </a:lnTo>
                  <a:lnTo>
                    <a:pt x="11945" y="3627"/>
                  </a:lnTo>
                  <a:lnTo>
                    <a:pt x="11937" y="3627"/>
                  </a:lnTo>
                  <a:lnTo>
                    <a:pt x="11937" y="3619"/>
                  </a:lnTo>
                  <a:lnTo>
                    <a:pt x="11928" y="3619"/>
                  </a:lnTo>
                  <a:lnTo>
                    <a:pt x="11910" y="3619"/>
                  </a:lnTo>
                  <a:lnTo>
                    <a:pt x="11910" y="3610"/>
                  </a:lnTo>
                  <a:lnTo>
                    <a:pt x="11901" y="3610"/>
                  </a:lnTo>
                  <a:lnTo>
                    <a:pt x="11910" y="3601"/>
                  </a:lnTo>
                  <a:lnTo>
                    <a:pt x="11901" y="3592"/>
                  </a:lnTo>
                  <a:lnTo>
                    <a:pt x="11901" y="3583"/>
                  </a:lnTo>
                  <a:close/>
                  <a:moveTo>
                    <a:pt x="11866" y="3513"/>
                  </a:moveTo>
                  <a:lnTo>
                    <a:pt x="11857" y="3513"/>
                  </a:lnTo>
                  <a:lnTo>
                    <a:pt x="11866" y="3521"/>
                  </a:lnTo>
                  <a:lnTo>
                    <a:pt x="11857" y="3521"/>
                  </a:lnTo>
                  <a:lnTo>
                    <a:pt x="11848" y="3521"/>
                  </a:lnTo>
                  <a:lnTo>
                    <a:pt x="11840" y="3521"/>
                  </a:lnTo>
                  <a:lnTo>
                    <a:pt x="11840" y="3530"/>
                  </a:lnTo>
                  <a:lnTo>
                    <a:pt x="11840" y="3539"/>
                  </a:lnTo>
                  <a:lnTo>
                    <a:pt x="11848" y="3539"/>
                  </a:lnTo>
                  <a:lnTo>
                    <a:pt x="11840" y="3539"/>
                  </a:lnTo>
                  <a:lnTo>
                    <a:pt x="11840" y="3548"/>
                  </a:lnTo>
                  <a:lnTo>
                    <a:pt x="11857" y="3548"/>
                  </a:lnTo>
                  <a:lnTo>
                    <a:pt x="11857" y="3557"/>
                  </a:lnTo>
                  <a:lnTo>
                    <a:pt x="11848" y="3557"/>
                  </a:lnTo>
                  <a:lnTo>
                    <a:pt x="11840" y="3566"/>
                  </a:lnTo>
                  <a:lnTo>
                    <a:pt x="11848" y="3574"/>
                  </a:lnTo>
                  <a:lnTo>
                    <a:pt x="11848" y="3566"/>
                  </a:lnTo>
                  <a:lnTo>
                    <a:pt x="11857" y="3566"/>
                  </a:lnTo>
                  <a:lnTo>
                    <a:pt x="11866" y="3557"/>
                  </a:lnTo>
                  <a:lnTo>
                    <a:pt x="11875" y="3548"/>
                  </a:lnTo>
                  <a:lnTo>
                    <a:pt x="11884" y="3539"/>
                  </a:lnTo>
                  <a:lnTo>
                    <a:pt x="11884" y="3530"/>
                  </a:lnTo>
                  <a:lnTo>
                    <a:pt x="11875" y="3530"/>
                  </a:lnTo>
                  <a:lnTo>
                    <a:pt x="11884" y="3530"/>
                  </a:lnTo>
                  <a:lnTo>
                    <a:pt x="11893" y="3521"/>
                  </a:lnTo>
                  <a:lnTo>
                    <a:pt x="11901" y="3504"/>
                  </a:lnTo>
                  <a:lnTo>
                    <a:pt x="11901" y="3495"/>
                  </a:lnTo>
                  <a:lnTo>
                    <a:pt x="11893" y="3495"/>
                  </a:lnTo>
                  <a:lnTo>
                    <a:pt x="11875" y="3504"/>
                  </a:lnTo>
                  <a:close/>
                  <a:moveTo>
                    <a:pt x="11875" y="3689"/>
                  </a:moveTo>
                  <a:lnTo>
                    <a:pt x="11866" y="3689"/>
                  </a:lnTo>
                  <a:lnTo>
                    <a:pt x="11866" y="3698"/>
                  </a:lnTo>
                  <a:lnTo>
                    <a:pt x="11875" y="3698"/>
                  </a:lnTo>
                  <a:lnTo>
                    <a:pt x="11875" y="3689"/>
                  </a:lnTo>
                  <a:lnTo>
                    <a:pt x="11884" y="3689"/>
                  </a:lnTo>
                  <a:lnTo>
                    <a:pt x="11884" y="3680"/>
                  </a:lnTo>
                  <a:close/>
                  <a:moveTo>
                    <a:pt x="11893" y="3716"/>
                  </a:moveTo>
                  <a:lnTo>
                    <a:pt x="11893" y="3724"/>
                  </a:lnTo>
                  <a:lnTo>
                    <a:pt x="11901" y="3724"/>
                  </a:lnTo>
                  <a:lnTo>
                    <a:pt x="11937" y="3716"/>
                  </a:lnTo>
                  <a:lnTo>
                    <a:pt x="11937" y="3707"/>
                  </a:lnTo>
                  <a:lnTo>
                    <a:pt x="11928" y="3698"/>
                  </a:lnTo>
                  <a:lnTo>
                    <a:pt x="11919" y="3698"/>
                  </a:lnTo>
                  <a:lnTo>
                    <a:pt x="11910" y="3689"/>
                  </a:lnTo>
                  <a:lnTo>
                    <a:pt x="11901" y="3689"/>
                  </a:lnTo>
                  <a:lnTo>
                    <a:pt x="11893" y="3689"/>
                  </a:lnTo>
                  <a:lnTo>
                    <a:pt x="11893" y="3698"/>
                  </a:lnTo>
                  <a:lnTo>
                    <a:pt x="11910" y="3707"/>
                  </a:lnTo>
                  <a:lnTo>
                    <a:pt x="11901" y="3716"/>
                  </a:lnTo>
                  <a:close/>
                  <a:moveTo>
                    <a:pt x="11893" y="3795"/>
                  </a:moveTo>
                  <a:lnTo>
                    <a:pt x="11901" y="3795"/>
                  </a:lnTo>
                  <a:lnTo>
                    <a:pt x="11910" y="3786"/>
                  </a:lnTo>
                  <a:lnTo>
                    <a:pt x="11910" y="3777"/>
                  </a:lnTo>
                  <a:lnTo>
                    <a:pt x="11910" y="3760"/>
                  </a:lnTo>
                  <a:lnTo>
                    <a:pt x="11901" y="3769"/>
                  </a:lnTo>
                  <a:lnTo>
                    <a:pt x="11893" y="3769"/>
                  </a:lnTo>
                  <a:lnTo>
                    <a:pt x="11884" y="3769"/>
                  </a:lnTo>
                  <a:lnTo>
                    <a:pt x="11884" y="3777"/>
                  </a:lnTo>
                  <a:lnTo>
                    <a:pt x="11884" y="3786"/>
                  </a:lnTo>
                  <a:lnTo>
                    <a:pt x="11893" y="3777"/>
                  </a:lnTo>
                  <a:lnTo>
                    <a:pt x="11893" y="3786"/>
                  </a:lnTo>
                  <a:close/>
                  <a:moveTo>
                    <a:pt x="11857" y="3151"/>
                  </a:moveTo>
                  <a:lnTo>
                    <a:pt x="11848" y="3151"/>
                  </a:lnTo>
                  <a:lnTo>
                    <a:pt x="11848" y="3142"/>
                  </a:lnTo>
                  <a:lnTo>
                    <a:pt x="11848" y="3151"/>
                  </a:lnTo>
                  <a:lnTo>
                    <a:pt x="11848" y="3160"/>
                  </a:lnTo>
                  <a:lnTo>
                    <a:pt x="11857" y="3168"/>
                  </a:lnTo>
                  <a:lnTo>
                    <a:pt x="11866" y="3168"/>
                  </a:lnTo>
                  <a:lnTo>
                    <a:pt x="11866" y="3160"/>
                  </a:lnTo>
                  <a:lnTo>
                    <a:pt x="11866" y="3151"/>
                  </a:lnTo>
                  <a:close/>
                  <a:moveTo>
                    <a:pt x="11857" y="3115"/>
                  </a:moveTo>
                  <a:lnTo>
                    <a:pt x="11848" y="3115"/>
                  </a:lnTo>
                  <a:lnTo>
                    <a:pt x="11857" y="3124"/>
                  </a:lnTo>
                  <a:lnTo>
                    <a:pt x="11866" y="3133"/>
                  </a:lnTo>
                  <a:lnTo>
                    <a:pt x="11875" y="3124"/>
                  </a:lnTo>
                  <a:lnTo>
                    <a:pt x="11866" y="3124"/>
                  </a:lnTo>
                  <a:close/>
                  <a:moveTo>
                    <a:pt x="11875" y="3080"/>
                  </a:moveTo>
                  <a:lnTo>
                    <a:pt x="11884" y="3080"/>
                  </a:lnTo>
                  <a:lnTo>
                    <a:pt x="11884" y="3071"/>
                  </a:lnTo>
                  <a:lnTo>
                    <a:pt x="11875" y="3063"/>
                  </a:lnTo>
                  <a:lnTo>
                    <a:pt x="11875" y="3071"/>
                  </a:lnTo>
                  <a:close/>
                  <a:moveTo>
                    <a:pt x="11822" y="3592"/>
                  </a:moveTo>
                  <a:lnTo>
                    <a:pt x="11831" y="3592"/>
                  </a:lnTo>
                  <a:lnTo>
                    <a:pt x="11840" y="3583"/>
                  </a:lnTo>
                  <a:lnTo>
                    <a:pt x="11831" y="3574"/>
                  </a:lnTo>
                  <a:lnTo>
                    <a:pt x="11822" y="3583"/>
                  </a:lnTo>
                  <a:lnTo>
                    <a:pt x="11813" y="3583"/>
                  </a:lnTo>
                  <a:lnTo>
                    <a:pt x="11804" y="3583"/>
                  </a:lnTo>
                  <a:close/>
                  <a:moveTo>
                    <a:pt x="11804" y="3654"/>
                  </a:moveTo>
                  <a:lnTo>
                    <a:pt x="11813" y="3654"/>
                  </a:lnTo>
                  <a:lnTo>
                    <a:pt x="11813" y="3645"/>
                  </a:lnTo>
                  <a:close/>
                  <a:moveTo>
                    <a:pt x="1182" y="3283"/>
                  </a:moveTo>
                  <a:lnTo>
                    <a:pt x="1191" y="3274"/>
                  </a:lnTo>
                  <a:lnTo>
                    <a:pt x="1182" y="3283"/>
                  </a:lnTo>
                  <a:lnTo>
                    <a:pt x="1182" y="3292"/>
                  </a:lnTo>
                  <a:close/>
                  <a:moveTo>
                    <a:pt x="11619" y="3972"/>
                  </a:moveTo>
                  <a:lnTo>
                    <a:pt x="11628" y="3972"/>
                  </a:lnTo>
                  <a:lnTo>
                    <a:pt x="11628" y="3963"/>
                  </a:lnTo>
                  <a:lnTo>
                    <a:pt x="11619" y="3963"/>
                  </a:lnTo>
                  <a:lnTo>
                    <a:pt x="11610" y="3963"/>
                  </a:lnTo>
                  <a:lnTo>
                    <a:pt x="11610" y="3954"/>
                  </a:lnTo>
                  <a:lnTo>
                    <a:pt x="11601" y="3963"/>
                  </a:lnTo>
                  <a:lnTo>
                    <a:pt x="11619" y="3963"/>
                  </a:lnTo>
                  <a:close/>
                  <a:moveTo>
                    <a:pt x="11857" y="3107"/>
                  </a:moveTo>
                  <a:lnTo>
                    <a:pt x="11866" y="3107"/>
                  </a:lnTo>
                  <a:lnTo>
                    <a:pt x="11857" y="3098"/>
                  </a:lnTo>
                  <a:lnTo>
                    <a:pt x="11857" y="3089"/>
                  </a:lnTo>
                  <a:lnTo>
                    <a:pt x="11866" y="3098"/>
                  </a:lnTo>
                  <a:lnTo>
                    <a:pt x="11866" y="3080"/>
                  </a:lnTo>
                  <a:lnTo>
                    <a:pt x="11857" y="3071"/>
                  </a:lnTo>
                  <a:lnTo>
                    <a:pt x="11848" y="3071"/>
                  </a:lnTo>
                  <a:lnTo>
                    <a:pt x="11831" y="3071"/>
                  </a:lnTo>
                  <a:lnTo>
                    <a:pt x="11840" y="3098"/>
                  </a:lnTo>
                  <a:close/>
                  <a:moveTo>
                    <a:pt x="11822" y="3098"/>
                  </a:moveTo>
                  <a:lnTo>
                    <a:pt x="11831" y="3098"/>
                  </a:lnTo>
                  <a:lnTo>
                    <a:pt x="11840" y="3098"/>
                  </a:lnTo>
                  <a:lnTo>
                    <a:pt x="11840" y="3089"/>
                  </a:lnTo>
                  <a:lnTo>
                    <a:pt x="11831" y="3089"/>
                  </a:lnTo>
                  <a:lnTo>
                    <a:pt x="11822" y="3089"/>
                  </a:lnTo>
                  <a:lnTo>
                    <a:pt x="11813" y="3089"/>
                  </a:lnTo>
                  <a:lnTo>
                    <a:pt x="11813" y="3098"/>
                  </a:lnTo>
                  <a:close/>
                  <a:moveTo>
                    <a:pt x="3617" y="1898"/>
                  </a:moveTo>
                  <a:lnTo>
                    <a:pt x="3644" y="1906"/>
                  </a:lnTo>
                  <a:lnTo>
                    <a:pt x="3652" y="1906"/>
                  </a:lnTo>
                  <a:lnTo>
                    <a:pt x="3688" y="1906"/>
                  </a:lnTo>
                  <a:lnTo>
                    <a:pt x="3705" y="1906"/>
                  </a:lnTo>
                  <a:lnTo>
                    <a:pt x="3697" y="1915"/>
                  </a:lnTo>
                  <a:lnTo>
                    <a:pt x="3670" y="1924"/>
                  </a:lnTo>
                  <a:lnTo>
                    <a:pt x="3670" y="1933"/>
                  </a:lnTo>
                  <a:lnTo>
                    <a:pt x="3688" y="1942"/>
                  </a:lnTo>
                  <a:lnTo>
                    <a:pt x="3705" y="1942"/>
                  </a:lnTo>
                  <a:lnTo>
                    <a:pt x="3732" y="1933"/>
                  </a:lnTo>
                  <a:lnTo>
                    <a:pt x="3776" y="1933"/>
                  </a:lnTo>
                  <a:lnTo>
                    <a:pt x="3864" y="1924"/>
                  </a:lnTo>
                  <a:lnTo>
                    <a:pt x="3882" y="1924"/>
                  </a:lnTo>
                  <a:lnTo>
                    <a:pt x="3882" y="1933"/>
                  </a:lnTo>
                  <a:lnTo>
                    <a:pt x="3873" y="1933"/>
                  </a:lnTo>
                  <a:lnTo>
                    <a:pt x="3847" y="1924"/>
                  </a:lnTo>
                  <a:lnTo>
                    <a:pt x="3829" y="1933"/>
                  </a:lnTo>
                  <a:lnTo>
                    <a:pt x="3838" y="1942"/>
                  </a:lnTo>
                  <a:lnTo>
                    <a:pt x="3829" y="1942"/>
                  </a:lnTo>
                  <a:lnTo>
                    <a:pt x="3811" y="1942"/>
                  </a:lnTo>
                  <a:lnTo>
                    <a:pt x="3802" y="1950"/>
                  </a:lnTo>
                  <a:lnTo>
                    <a:pt x="3767" y="1959"/>
                  </a:lnTo>
                  <a:lnTo>
                    <a:pt x="3732" y="1968"/>
                  </a:lnTo>
                  <a:lnTo>
                    <a:pt x="3697" y="1977"/>
                  </a:lnTo>
                  <a:lnTo>
                    <a:pt x="3688" y="1977"/>
                  </a:lnTo>
                  <a:lnTo>
                    <a:pt x="3661" y="1986"/>
                  </a:lnTo>
                  <a:lnTo>
                    <a:pt x="3661" y="1995"/>
                  </a:lnTo>
                  <a:lnTo>
                    <a:pt x="3652" y="1995"/>
                  </a:lnTo>
                  <a:lnTo>
                    <a:pt x="3661" y="2012"/>
                  </a:lnTo>
                  <a:lnTo>
                    <a:pt x="3714" y="2048"/>
                  </a:lnTo>
                  <a:lnTo>
                    <a:pt x="3758" y="2048"/>
                  </a:lnTo>
                  <a:lnTo>
                    <a:pt x="3802" y="2048"/>
                  </a:lnTo>
                  <a:lnTo>
                    <a:pt x="3811" y="2048"/>
                  </a:lnTo>
                  <a:lnTo>
                    <a:pt x="3820" y="2048"/>
                  </a:lnTo>
                  <a:lnTo>
                    <a:pt x="3829" y="2048"/>
                  </a:lnTo>
                  <a:lnTo>
                    <a:pt x="3882" y="2048"/>
                  </a:lnTo>
                  <a:lnTo>
                    <a:pt x="3917" y="2048"/>
                  </a:lnTo>
                  <a:lnTo>
                    <a:pt x="3935" y="2039"/>
                  </a:lnTo>
                  <a:lnTo>
                    <a:pt x="3952" y="2039"/>
                  </a:lnTo>
                  <a:lnTo>
                    <a:pt x="3961" y="2039"/>
                  </a:lnTo>
                  <a:lnTo>
                    <a:pt x="3979" y="2039"/>
                  </a:lnTo>
                  <a:lnTo>
                    <a:pt x="3997" y="2039"/>
                  </a:lnTo>
                  <a:lnTo>
                    <a:pt x="4023" y="2039"/>
                  </a:lnTo>
                  <a:lnTo>
                    <a:pt x="4041" y="2048"/>
                  </a:lnTo>
                  <a:lnTo>
                    <a:pt x="4120" y="2065"/>
                  </a:lnTo>
                  <a:lnTo>
                    <a:pt x="4147" y="2083"/>
                  </a:lnTo>
                  <a:lnTo>
                    <a:pt x="4155" y="2083"/>
                  </a:lnTo>
                  <a:lnTo>
                    <a:pt x="4147" y="2092"/>
                  </a:lnTo>
                  <a:lnTo>
                    <a:pt x="4138" y="2092"/>
                  </a:lnTo>
                  <a:lnTo>
                    <a:pt x="4111" y="2092"/>
                  </a:lnTo>
                  <a:lnTo>
                    <a:pt x="4102" y="2092"/>
                  </a:lnTo>
                  <a:lnTo>
                    <a:pt x="4085" y="2101"/>
                  </a:lnTo>
                  <a:lnTo>
                    <a:pt x="4076" y="2101"/>
                  </a:lnTo>
                  <a:lnTo>
                    <a:pt x="4032" y="2092"/>
                  </a:lnTo>
                  <a:lnTo>
                    <a:pt x="4005" y="2092"/>
                  </a:lnTo>
                  <a:lnTo>
                    <a:pt x="3988" y="2092"/>
                  </a:lnTo>
                  <a:lnTo>
                    <a:pt x="3961" y="2083"/>
                  </a:lnTo>
                  <a:lnTo>
                    <a:pt x="3935" y="2083"/>
                  </a:lnTo>
                  <a:lnTo>
                    <a:pt x="3864" y="2092"/>
                  </a:lnTo>
                  <a:lnTo>
                    <a:pt x="3794" y="2101"/>
                  </a:lnTo>
                  <a:lnTo>
                    <a:pt x="3750" y="2118"/>
                  </a:lnTo>
                  <a:lnTo>
                    <a:pt x="3741" y="2118"/>
                  </a:lnTo>
                  <a:lnTo>
                    <a:pt x="3741" y="2127"/>
                  </a:lnTo>
                  <a:lnTo>
                    <a:pt x="3750" y="2145"/>
                  </a:lnTo>
                  <a:lnTo>
                    <a:pt x="3750" y="2153"/>
                  </a:lnTo>
                  <a:lnTo>
                    <a:pt x="3758" y="2162"/>
                  </a:lnTo>
                  <a:lnTo>
                    <a:pt x="3776" y="2180"/>
                  </a:lnTo>
                  <a:lnTo>
                    <a:pt x="3785" y="2189"/>
                  </a:lnTo>
                  <a:lnTo>
                    <a:pt x="3785" y="2198"/>
                  </a:lnTo>
                  <a:lnTo>
                    <a:pt x="3794" y="2198"/>
                  </a:lnTo>
                  <a:lnTo>
                    <a:pt x="3794" y="2206"/>
                  </a:lnTo>
                  <a:lnTo>
                    <a:pt x="3820" y="2215"/>
                  </a:lnTo>
                  <a:lnTo>
                    <a:pt x="3838" y="2215"/>
                  </a:lnTo>
                  <a:lnTo>
                    <a:pt x="3855" y="2224"/>
                  </a:lnTo>
                  <a:lnTo>
                    <a:pt x="3891" y="2224"/>
                  </a:lnTo>
                  <a:lnTo>
                    <a:pt x="3926" y="2224"/>
                  </a:lnTo>
                  <a:lnTo>
                    <a:pt x="3952" y="2224"/>
                  </a:lnTo>
                  <a:lnTo>
                    <a:pt x="3970" y="2224"/>
                  </a:lnTo>
                  <a:lnTo>
                    <a:pt x="3997" y="2233"/>
                  </a:lnTo>
                  <a:lnTo>
                    <a:pt x="4005" y="2233"/>
                  </a:lnTo>
                  <a:lnTo>
                    <a:pt x="4005" y="2251"/>
                  </a:lnTo>
                  <a:lnTo>
                    <a:pt x="4005" y="2259"/>
                  </a:lnTo>
                  <a:lnTo>
                    <a:pt x="4005" y="2277"/>
                  </a:lnTo>
                  <a:lnTo>
                    <a:pt x="4014" y="2286"/>
                  </a:lnTo>
                  <a:lnTo>
                    <a:pt x="4023" y="2312"/>
                  </a:lnTo>
                  <a:lnTo>
                    <a:pt x="4032" y="2321"/>
                  </a:lnTo>
                  <a:lnTo>
                    <a:pt x="4041" y="2321"/>
                  </a:lnTo>
                  <a:lnTo>
                    <a:pt x="4049" y="2321"/>
                  </a:lnTo>
                  <a:lnTo>
                    <a:pt x="4058" y="2321"/>
                  </a:lnTo>
                  <a:lnTo>
                    <a:pt x="4076" y="2321"/>
                  </a:lnTo>
                  <a:lnTo>
                    <a:pt x="4102" y="2321"/>
                  </a:lnTo>
                  <a:lnTo>
                    <a:pt x="4164" y="2321"/>
                  </a:lnTo>
                  <a:lnTo>
                    <a:pt x="4173" y="2312"/>
                  </a:lnTo>
                  <a:lnTo>
                    <a:pt x="4191" y="2312"/>
                  </a:lnTo>
                  <a:lnTo>
                    <a:pt x="4199" y="2312"/>
                  </a:lnTo>
                  <a:lnTo>
                    <a:pt x="4208" y="2312"/>
                  </a:lnTo>
                  <a:lnTo>
                    <a:pt x="4235" y="2303"/>
                  </a:lnTo>
                  <a:lnTo>
                    <a:pt x="4279" y="2303"/>
                  </a:lnTo>
                  <a:lnTo>
                    <a:pt x="4314" y="2303"/>
                  </a:lnTo>
                  <a:lnTo>
                    <a:pt x="4349" y="2286"/>
                  </a:lnTo>
                  <a:lnTo>
                    <a:pt x="4367" y="2277"/>
                  </a:lnTo>
                  <a:lnTo>
                    <a:pt x="4376" y="2268"/>
                  </a:lnTo>
                  <a:lnTo>
                    <a:pt x="4394" y="2268"/>
                  </a:lnTo>
                  <a:lnTo>
                    <a:pt x="4429" y="2259"/>
                  </a:lnTo>
                  <a:lnTo>
                    <a:pt x="4464" y="2259"/>
                  </a:lnTo>
                  <a:lnTo>
                    <a:pt x="4464" y="2251"/>
                  </a:lnTo>
                  <a:lnTo>
                    <a:pt x="4482" y="2242"/>
                  </a:lnTo>
                  <a:lnTo>
                    <a:pt x="4491" y="2233"/>
                  </a:lnTo>
                  <a:lnTo>
                    <a:pt x="4499" y="2215"/>
                  </a:lnTo>
                  <a:lnTo>
                    <a:pt x="4508" y="2206"/>
                  </a:lnTo>
                  <a:lnTo>
                    <a:pt x="4517" y="2198"/>
                  </a:lnTo>
                  <a:lnTo>
                    <a:pt x="4526" y="2198"/>
                  </a:lnTo>
                  <a:lnTo>
                    <a:pt x="4535" y="2206"/>
                  </a:lnTo>
                  <a:lnTo>
                    <a:pt x="4544" y="2206"/>
                  </a:lnTo>
                  <a:lnTo>
                    <a:pt x="4544" y="2215"/>
                  </a:lnTo>
                  <a:lnTo>
                    <a:pt x="4544" y="2224"/>
                  </a:lnTo>
                  <a:lnTo>
                    <a:pt x="4544" y="2233"/>
                  </a:lnTo>
                  <a:lnTo>
                    <a:pt x="4552" y="2233"/>
                  </a:lnTo>
                  <a:lnTo>
                    <a:pt x="4561" y="2242"/>
                  </a:lnTo>
                  <a:lnTo>
                    <a:pt x="4579" y="2242"/>
                  </a:lnTo>
                  <a:lnTo>
                    <a:pt x="4596" y="2242"/>
                  </a:lnTo>
                  <a:lnTo>
                    <a:pt x="4623" y="2242"/>
                  </a:lnTo>
                  <a:lnTo>
                    <a:pt x="4641" y="2251"/>
                  </a:lnTo>
                  <a:lnTo>
                    <a:pt x="4632" y="2259"/>
                  </a:lnTo>
                  <a:lnTo>
                    <a:pt x="4623" y="2259"/>
                  </a:lnTo>
                  <a:lnTo>
                    <a:pt x="4632" y="2268"/>
                  </a:lnTo>
                  <a:lnTo>
                    <a:pt x="4667" y="2277"/>
                  </a:lnTo>
                  <a:lnTo>
                    <a:pt x="4676" y="2268"/>
                  </a:lnTo>
                  <a:lnTo>
                    <a:pt x="4685" y="2268"/>
                  </a:lnTo>
                  <a:lnTo>
                    <a:pt x="4711" y="2277"/>
                  </a:lnTo>
                  <a:lnTo>
                    <a:pt x="4729" y="2277"/>
                  </a:lnTo>
                  <a:lnTo>
                    <a:pt x="4755" y="2286"/>
                  </a:lnTo>
                  <a:lnTo>
                    <a:pt x="4773" y="2277"/>
                  </a:lnTo>
                  <a:lnTo>
                    <a:pt x="4791" y="2277"/>
                  </a:lnTo>
                  <a:lnTo>
                    <a:pt x="4799" y="2277"/>
                  </a:lnTo>
                  <a:lnTo>
                    <a:pt x="4808" y="2277"/>
                  </a:lnTo>
                  <a:lnTo>
                    <a:pt x="4826" y="2268"/>
                  </a:lnTo>
                  <a:lnTo>
                    <a:pt x="4835" y="2268"/>
                  </a:lnTo>
                  <a:lnTo>
                    <a:pt x="4861" y="2259"/>
                  </a:lnTo>
                  <a:lnTo>
                    <a:pt x="4870" y="2251"/>
                  </a:lnTo>
                  <a:lnTo>
                    <a:pt x="4879" y="2242"/>
                  </a:lnTo>
                  <a:lnTo>
                    <a:pt x="4879" y="2233"/>
                  </a:lnTo>
                  <a:lnTo>
                    <a:pt x="4870" y="2233"/>
                  </a:lnTo>
                  <a:lnTo>
                    <a:pt x="4870" y="2224"/>
                  </a:lnTo>
                  <a:lnTo>
                    <a:pt x="4861" y="2224"/>
                  </a:lnTo>
                  <a:lnTo>
                    <a:pt x="4852" y="2224"/>
                  </a:lnTo>
                  <a:lnTo>
                    <a:pt x="4852" y="2215"/>
                  </a:lnTo>
                  <a:lnTo>
                    <a:pt x="4861" y="2206"/>
                  </a:lnTo>
                  <a:lnTo>
                    <a:pt x="4852" y="2198"/>
                  </a:lnTo>
                  <a:lnTo>
                    <a:pt x="4826" y="2198"/>
                  </a:lnTo>
                  <a:lnTo>
                    <a:pt x="4817" y="2198"/>
                  </a:lnTo>
                  <a:lnTo>
                    <a:pt x="4799" y="2206"/>
                  </a:lnTo>
                  <a:lnTo>
                    <a:pt x="4791" y="2215"/>
                  </a:lnTo>
                  <a:lnTo>
                    <a:pt x="4782" y="2233"/>
                  </a:lnTo>
                  <a:lnTo>
                    <a:pt x="4782" y="2224"/>
                  </a:lnTo>
                  <a:lnTo>
                    <a:pt x="4782" y="2206"/>
                  </a:lnTo>
                  <a:lnTo>
                    <a:pt x="4782" y="2198"/>
                  </a:lnTo>
                  <a:lnTo>
                    <a:pt x="4773" y="2189"/>
                  </a:lnTo>
                  <a:lnTo>
                    <a:pt x="4764" y="2180"/>
                  </a:lnTo>
                  <a:lnTo>
                    <a:pt x="4755" y="2180"/>
                  </a:lnTo>
                  <a:lnTo>
                    <a:pt x="4755" y="2171"/>
                  </a:lnTo>
                  <a:lnTo>
                    <a:pt x="4764" y="2171"/>
                  </a:lnTo>
                  <a:lnTo>
                    <a:pt x="4782" y="2180"/>
                  </a:lnTo>
                  <a:lnTo>
                    <a:pt x="4791" y="2180"/>
                  </a:lnTo>
                  <a:lnTo>
                    <a:pt x="4808" y="2189"/>
                  </a:lnTo>
                  <a:lnTo>
                    <a:pt x="4817" y="2189"/>
                  </a:lnTo>
                  <a:lnTo>
                    <a:pt x="4817" y="2180"/>
                  </a:lnTo>
                  <a:lnTo>
                    <a:pt x="4817" y="2171"/>
                  </a:lnTo>
                  <a:lnTo>
                    <a:pt x="4817" y="2162"/>
                  </a:lnTo>
                  <a:lnTo>
                    <a:pt x="4835" y="2153"/>
                  </a:lnTo>
                  <a:lnTo>
                    <a:pt x="4843" y="2145"/>
                  </a:lnTo>
                  <a:lnTo>
                    <a:pt x="4852" y="2153"/>
                  </a:lnTo>
                  <a:lnTo>
                    <a:pt x="4870" y="2162"/>
                  </a:lnTo>
                  <a:lnTo>
                    <a:pt x="4879" y="2162"/>
                  </a:lnTo>
                  <a:lnTo>
                    <a:pt x="4888" y="2171"/>
                  </a:lnTo>
                  <a:lnTo>
                    <a:pt x="4888" y="2162"/>
                  </a:lnTo>
                  <a:lnTo>
                    <a:pt x="4896" y="2153"/>
                  </a:lnTo>
                  <a:lnTo>
                    <a:pt x="4896" y="2145"/>
                  </a:lnTo>
                  <a:lnTo>
                    <a:pt x="4905" y="2162"/>
                  </a:lnTo>
                  <a:lnTo>
                    <a:pt x="4914" y="2171"/>
                  </a:lnTo>
                  <a:lnTo>
                    <a:pt x="4932" y="2171"/>
                  </a:lnTo>
                  <a:lnTo>
                    <a:pt x="4941" y="2162"/>
                  </a:lnTo>
                  <a:lnTo>
                    <a:pt x="4941" y="2153"/>
                  </a:lnTo>
                  <a:lnTo>
                    <a:pt x="4941" y="2145"/>
                  </a:lnTo>
                  <a:lnTo>
                    <a:pt x="4932" y="2127"/>
                  </a:lnTo>
                  <a:lnTo>
                    <a:pt x="4932" y="2109"/>
                  </a:lnTo>
                  <a:lnTo>
                    <a:pt x="4923" y="2109"/>
                  </a:lnTo>
                  <a:lnTo>
                    <a:pt x="4914" y="2109"/>
                  </a:lnTo>
                  <a:lnTo>
                    <a:pt x="4888" y="2109"/>
                  </a:lnTo>
                  <a:lnTo>
                    <a:pt x="4888" y="2101"/>
                  </a:lnTo>
                  <a:lnTo>
                    <a:pt x="4888" y="2092"/>
                  </a:lnTo>
                  <a:lnTo>
                    <a:pt x="4879" y="2092"/>
                  </a:lnTo>
                  <a:lnTo>
                    <a:pt x="4861" y="2092"/>
                  </a:lnTo>
                  <a:lnTo>
                    <a:pt x="4835" y="2074"/>
                  </a:lnTo>
                  <a:lnTo>
                    <a:pt x="4817" y="2065"/>
                  </a:lnTo>
                  <a:lnTo>
                    <a:pt x="4808" y="2056"/>
                  </a:lnTo>
                  <a:lnTo>
                    <a:pt x="4782" y="2039"/>
                  </a:lnTo>
                  <a:lnTo>
                    <a:pt x="4782" y="2048"/>
                  </a:lnTo>
                  <a:lnTo>
                    <a:pt x="4791" y="2056"/>
                  </a:lnTo>
                  <a:lnTo>
                    <a:pt x="4782" y="2056"/>
                  </a:lnTo>
                  <a:lnTo>
                    <a:pt x="4773" y="2056"/>
                  </a:lnTo>
                  <a:lnTo>
                    <a:pt x="4764" y="2048"/>
                  </a:lnTo>
                  <a:lnTo>
                    <a:pt x="4746" y="2048"/>
                  </a:lnTo>
                  <a:lnTo>
                    <a:pt x="4720" y="2030"/>
                  </a:lnTo>
                  <a:lnTo>
                    <a:pt x="4702" y="2003"/>
                  </a:lnTo>
                  <a:lnTo>
                    <a:pt x="4676" y="1986"/>
                  </a:lnTo>
                  <a:lnTo>
                    <a:pt x="4667" y="1977"/>
                  </a:lnTo>
                  <a:lnTo>
                    <a:pt x="4676" y="1959"/>
                  </a:lnTo>
                  <a:lnTo>
                    <a:pt x="4685" y="1950"/>
                  </a:lnTo>
                  <a:lnTo>
                    <a:pt x="4685" y="1942"/>
                  </a:lnTo>
                  <a:lnTo>
                    <a:pt x="4685" y="1933"/>
                  </a:lnTo>
                  <a:lnTo>
                    <a:pt x="4685" y="1924"/>
                  </a:lnTo>
                  <a:lnTo>
                    <a:pt x="4685" y="1915"/>
                  </a:lnTo>
                  <a:lnTo>
                    <a:pt x="4676" y="1898"/>
                  </a:lnTo>
                  <a:lnTo>
                    <a:pt x="4658" y="1880"/>
                  </a:lnTo>
                  <a:lnTo>
                    <a:pt x="4649" y="1871"/>
                  </a:lnTo>
                  <a:lnTo>
                    <a:pt x="4649" y="1862"/>
                  </a:lnTo>
                  <a:lnTo>
                    <a:pt x="4623" y="1800"/>
                  </a:lnTo>
                  <a:lnTo>
                    <a:pt x="4623" y="1792"/>
                  </a:lnTo>
                  <a:lnTo>
                    <a:pt x="4614" y="1783"/>
                  </a:lnTo>
                  <a:lnTo>
                    <a:pt x="4614" y="1774"/>
                  </a:lnTo>
                  <a:lnTo>
                    <a:pt x="4614" y="1765"/>
                  </a:lnTo>
                  <a:lnTo>
                    <a:pt x="4605" y="1756"/>
                  </a:lnTo>
                  <a:lnTo>
                    <a:pt x="4605" y="1747"/>
                  </a:lnTo>
                  <a:lnTo>
                    <a:pt x="4605" y="1739"/>
                  </a:lnTo>
                  <a:lnTo>
                    <a:pt x="4596" y="1730"/>
                  </a:lnTo>
                  <a:lnTo>
                    <a:pt x="4579" y="1721"/>
                  </a:lnTo>
                  <a:lnTo>
                    <a:pt x="4561" y="1712"/>
                  </a:lnTo>
                  <a:lnTo>
                    <a:pt x="4535" y="1695"/>
                  </a:lnTo>
                  <a:lnTo>
                    <a:pt x="4508" y="1677"/>
                  </a:lnTo>
                  <a:lnTo>
                    <a:pt x="4499" y="1677"/>
                  </a:lnTo>
                  <a:lnTo>
                    <a:pt x="4491" y="1686"/>
                  </a:lnTo>
                  <a:lnTo>
                    <a:pt x="4491" y="1695"/>
                  </a:lnTo>
                  <a:lnTo>
                    <a:pt x="4482" y="1695"/>
                  </a:lnTo>
                  <a:lnTo>
                    <a:pt x="4455" y="1677"/>
                  </a:lnTo>
                  <a:lnTo>
                    <a:pt x="4438" y="1668"/>
                  </a:lnTo>
                  <a:lnTo>
                    <a:pt x="4420" y="1668"/>
                  </a:lnTo>
                  <a:lnTo>
                    <a:pt x="4411" y="1677"/>
                  </a:lnTo>
                  <a:lnTo>
                    <a:pt x="4420" y="1686"/>
                  </a:lnTo>
                  <a:lnTo>
                    <a:pt x="4411" y="1686"/>
                  </a:lnTo>
                  <a:lnTo>
                    <a:pt x="4402" y="1695"/>
                  </a:lnTo>
                  <a:lnTo>
                    <a:pt x="4402" y="1703"/>
                  </a:lnTo>
                  <a:lnTo>
                    <a:pt x="4420" y="1765"/>
                  </a:lnTo>
                  <a:lnTo>
                    <a:pt x="4420" y="1774"/>
                  </a:lnTo>
                  <a:lnTo>
                    <a:pt x="4420" y="1783"/>
                  </a:lnTo>
                  <a:lnTo>
                    <a:pt x="4429" y="1792"/>
                  </a:lnTo>
                  <a:lnTo>
                    <a:pt x="4429" y="1800"/>
                  </a:lnTo>
                  <a:lnTo>
                    <a:pt x="4429" y="1809"/>
                  </a:lnTo>
                  <a:lnTo>
                    <a:pt x="4438" y="1818"/>
                  </a:lnTo>
                  <a:lnTo>
                    <a:pt x="4438" y="1836"/>
                  </a:lnTo>
                  <a:lnTo>
                    <a:pt x="4455" y="1853"/>
                  </a:lnTo>
                  <a:lnTo>
                    <a:pt x="4473" y="1871"/>
                  </a:lnTo>
                  <a:lnTo>
                    <a:pt x="4464" y="1871"/>
                  </a:lnTo>
                  <a:lnTo>
                    <a:pt x="4464" y="1880"/>
                  </a:lnTo>
                  <a:lnTo>
                    <a:pt x="4438" y="1898"/>
                  </a:lnTo>
                  <a:lnTo>
                    <a:pt x="4438" y="1906"/>
                  </a:lnTo>
                  <a:lnTo>
                    <a:pt x="4429" y="1906"/>
                  </a:lnTo>
                  <a:lnTo>
                    <a:pt x="4420" y="1906"/>
                  </a:lnTo>
                  <a:lnTo>
                    <a:pt x="4411" y="1898"/>
                  </a:lnTo>
                  <a:lnTo>
                    <a:pt x="4402" y="1898"/>
                  </a:lnTo>
                  <a:lnTo>
                    <a:pt x="4402" y="1889"/>
                  </a:lnTo>
                  <a:lnTo>
                    <a:pt x="4402" y="1871"/>
                  </a:lnTo>
                  <a:lnTo>
                    <a:pt x="4385" y="1836"/>
                  </a:lnTo>
                  <a:lnTo>
                    <a:pt x="4376" y="1818"/>
                  </a:lnTo>
                  <a:lnTo>
                    <a:pt x="4376" y="1800"/>
                  </a:lnTo>
                  <a:lnTo>
                    <a:pt x="4367" y="1792"/>
                  </a:lnTo>
                  <a:lnTo>
                    <a:pt x="4367" y="1783"/>
                  </a:lnTo>
                  <a:lnTo>
                    <a:pt x="4358" y="1783"/>
                  </a:lnTo>
                  <a:lnTo>
                    <a:pt x="4349" y="1774"/>
                  </a:lnTo>
                  <a:lnTo>
                    <a:pt x="4349" y="1765"/>
                  </a:lnTo>
                  <a:lnTo>
                    <a:pt x="4341" y="1765"/>
                  </a:lnTo>
                  <a:lnTo>
                    <a:pt x="4341" y="1756"/>
                  </a:lnTo>
                  <a:lnTo>
                    <a:pt x="4323" y="1747"/>
                  </a:lnTo>
                  <a:lnTo>
                    <a:pt x="4314" y="1747"/>
                  </a:lnTo>
                  <a:lnTo>
                    <a:pt x="4296" y="1739"/>
                  </a:lnTo>
                  <a:lnTo>
                    <a:pt x="4270" y="1721"/>
                  </a:lnTo>
                  <a:lnTo>
                    <a:pt x="4261" y="1721"/>
                  </a:lnTo>
                  <a:lnTo>
                    <a:pt x="4235" y="1721"/>
                  </a:lnTo>
                  <a:lnTo>
                    <a:pt x="4226" y="1721"/>
                  </a:lnTo>
                  <a:lnTo>
                    <a:pt x="4217" y="1730"/>
                  </a:lnTo>
                  <a:lnTo>
                    <a:pt x="4235" y="1739"/>
                  </a:lnTo>
                  <a:lnTo>
                    <a:pt x="4252" y="1747"/>
                  </a:lnTo>
                  <a:lnTo>
                    <a:pt x="4261" y="1756"/>
                  </a:lnTo>
                  <a:lnTo>
                    <a:pt x="4252" y="1765"/>
                  </a:lnTo>
                  <a:lnTo>
                    <a:pt x="4244" y="1774"/>
                  </a:lnTo>
                  <a:lnTo>
                    <a:pt x="4235" y="1774"/>
                  </a:lnTo>
                  <a:lnTo>
                    <a:pt x="4217" y="1783"/>
                  </a:lnTo>
                  <a:lnTo>
                    <a:pt x="4199" y="1800"/>
                  </a:lnTo>
                  <a:lnTo>
                    <a:pt x="4191" y="1809"/>
                  </a:lnTo>
                  <a:lnTo>
                    <a:pt x="4182" y="1809"/>
                  </a:lnTo>
                  <a:lnTo>
                    <a:pt x="4173" y="1809"/>
                  </a:lnTo>
                  <a:lnTo>
                    <a:pt x="4173" y="1800"/>
                  </a:lnTo>
                  <a:lnTo>
                    <a:pt x="4182" y="1800"/>
                  </a:lnTo>
                  <a:lnTo>
                    <a:pt x="4182" y="1792"/>
                  </a:lnTo>
                  <a:lnTo>
                    <a:pt x="4173" y="1792"/>
                  </a:lnTo>
                  <a:lnTo>
                    <a:pt x="4164" y="1800"/>
                  </a:lnTo>
                  <a:lnTo>
                    <a:pt x="4155" y="1809"/>
                  </a:lnTo>
                  <a:lnTo>
                    <a:pt x="4147" y="1818"/>
                  </a:lnTo>
                  <a:lnTo>
                    <a:pt x="4147" y="1809"/>
                  </a:lnTo>
                  <a:lnTo>
                    <a:pt x="4129" y="1809"/>
                  </a:lnTo>
                  <a:lnTo>
                    <a:pt x="4138" y="1800"/>
                  </a:lnTo>
                  <a:lnTo>
                    <a:pt x="4155" y="1800"/>
                  </a:lnTo>
                  <a:lnTo>
                    <a:pt x="4173" y="1783"/>
                  </a:lnTo>
                  <a:lnTo>
                    <a:pt x="4182" y="1765"/>
                  </a:lnTo>
                  <a:lnTo>
                    <a:pt x="4182" y="1756"/>
                  </a:lnTo>
                  <a:lnTo>
                    <a:pt x="4164" y="1747"/>
                  </a:lnTo>
                  <a:lnTo>
                    <a:pt x="4120" y="1739"/>
                  </a:lnTo>
                  <a:lnTo>
                    <a:pt x="4094" y="1730"/>
                  </a:lnTo>
                  <a:lnTo>
                    <a:pt x="4067" y="1721"/>
                  </a:lnTo>
                  <a:lnTo>
                    <a:pt x="4049" y="1721"/>
                  </a:lnTo>
                  <a:lnTo>
                    <a:pt x="4032" y="1721"/>
                  </a:lnTo>
                  <a:lnTo>
                    <a:pt x="4032" y="1730"/>
                  </a:lnTo>
                  <a:lnTo>
                    <a:pt x="4014" y="1739"/>
                  </a:lnTo>
                  <a:lnTo>
                    <a:pt x="4014" y="1747"/>
                  </a:lnTo>
                  <a:lnTo>
                    <a:pt x="4014" y="1756"/>
                  </a:lnTo>
                  <a:lnTo>
                    <a:pt x="4014" y="1765"/>
                  </a:lnTo>
                  <a:lnTo>
                    <a:pt x="4005" y="1765"/>
                  </a:lnTo>
                  <a:lnTo>
                    <a:pt x="3997" y="1765"/>
                  </a:lnTo>
                  <a:lnTo>
                    <a:pt x="3979" y="1765"/>
                  </a:lnTo>
                  <a:lnTo>
                    <a:pt x="3961" y="1774"/>
                  </a:lnTo>
                  <a:lnTo>
                    <a:pt x="3952" y="1774"/>
                  </a:lnTo>
                  <a:lnTo>
                    <a:pt x="3944" y="1774"/>
                  </a:lnTo>
                  <a:lnTo>
                    <a:pt x="3961" y="1756"/>
                  </a:lnTo>
                  <a:lnTo>
                    <a:pt x="3961" y="1747"/>
                  </a:lnTo>
                  <a:lnTo>
                    <a:pt x="3970" y="1739"/>
                  </a:lnTo>
                  <a:lnTo>
                    <a:pt x="3970" y="1730"/>
                  </a:lnTo>
                  <a:lnTo>
                    <a:pt x="3970" y="1721"/>
                  </a:lnTo>
                  <a:lnTo>
                    <a:pt x="3970" y="1712"/>
                  </a:lnTo>
                  <a:lnTo>
                    <a:pt x="3970" y="1695"/>
                  </a:lnTo>
                  <a:lnTo>
                    <a:pt x="3970" y="1686"/>
                  </a:lnTo>
                  <a:lnTo>
                    <a:pt x="3961" y="1677"/>
                  </a:lnTo>
                  <a:lnTo>
                    <a:pt x="3952" y="1668"/>
                  </a:lnTo>
                  <a:lnTo>
                    <a:pt x="3935" y="1668"/>
                  </a:lnTo>
                  <a:lnTo>
                    <a:pt x="3864" y="1686"/>
                  </a:lnTo>
                  <a:lnTo>
                    <a:pt x="3785" y="1712"/>
                  </a:lnTo>
                  <a:lnTo>
                    <a:pt x="3758" y="1721"/>
                  </a:lnTo>
                  <a:lnTo>
                    <a:pt x="3741" y="1730"/>
                  </a:lnTo>
                  <a:lnTo>
                    <a:pt x="3714" y="1739"/>
                  </a:lnTo>
                  <a:lnTo>
                    <a:pt x="3670" y="1774"/>
                  </a:lnTo>
                  <a:lnTo>
                    <a:pt x="3652" y="1783"/>
                  </a:lnTo>
                  <a:lnTo>
                    <a:pt x="3652" y="1792"/>
                  </a:lnTo>
                  <a:lnTo>
                    <a:pt x="3652" y="1800"/>
                  </a:lnTo>
                  <a:lnTo>
                    <a:pt x="3652" y="1809"/>
                  </a:lnTo>
                  <a:lnTo>
                    <a:pt x="3661" y="1818"/>
                  </a:lnTo>
                  <a:lnTo>
                    <a:pt x="3670" y="1818"/>
                  </a:lnTo>
                  <a:lnTo>
                    <a:pt x="3652" y="1827"/>
                  </a:lnTo>
                  <a:lnTo>
                    <a:pt x="3644" y="1836"/>
                  </a:lnTo>
                  <a:lnTo>
                    <a:pt x="3617" y="1862"/>
                  </a:lnTo>
                  <a:lnTo>
                    <a:pt x="3608" y="1871"/>
                  </a:lnTo>
                  <a:lnTo>
                    <a:pt x="3608" y="1889"/>
                  </a:lnTo>
                  <a:close/>
                  <a:moveTo>
                    <a:pt x="6943" y="12664"/>
                  </a:moveTo>
                  <a:lnTo>
                    <a:pt x="6952" y="12673"/>
                  </a:lnTo>
                  <a:lnTo>
                    <a:pt x="6961" y="12673"/>
                  </a:lnTo>
                  <a:lnTo>
                    <a:pt x="6978" y="12681"/>
                  </a:lnTo>
                  <a:lnTo>
                    <a:pt x="6970" y="12673"/>
                  </a:lnTo>
                  <a:lnTo>
                    <a:pt x="6961" y="12655"/>
                  </a:lnTo>
                  <a:lnTo>
                    <a:pt x="6952" y="12655"/>
                  </a:lnTo>
                  <a:lnTo>
                    <a:pt x="6943" y="12655"/>
                  </a:lnTo>
                  <a:lnTo>
                    <a:pt x="6934" y="12646"/>
                  </a:lnTo>
                  <a:lnTo>
                    <a:pt x="6926" y="12646"/>
                  </a:lnTo>
                  <a:lnTo>
                    <a:pt x="6917" y="12637"/>
                  </a:lnTo>
                  <a:lnTo>
                    <a:pt x="6899" y="12637"/>
                  </a:lnTo>
                  <a:lnTo>
                    <a:pt x="6890" y="12637"/>
                  </a:lnTo>
                  <a:lnTo>
                    <a:pt x="6890" y="12629"/>
                  </a:lnTo>
                  <a:lnTo>
                    <a:pt x="6881" y="12629"/>
                  </a:lnTo>
                  <a:lnTo>
                    <a:pt x="6873" y="12620"/>
                  </a:lnTo>
                  <a:lnTo>
                    <a:pt x="6864" y="12620"/>
                  </a:lnTo>
                  <a:lnTo>
                    <a:pt x="6873" y="12629"/>
                  </a:lnTo>
                  <a:lnTo>
                    <a:pt x="6881" y="12637"/>
                  </a:lnTo>
                  <a:lnTo>
                    <a:pt x="6890" y="12646"/>
                  </a:lnTo>
                  <a:lnTo>
                    <a:pt x="6899" y="12655"/>
                  </a:lnTo>
                  <a:lnTo>
                    <a:pt x="6908" y="12655"/>
                  </a:lnTo>
                  <a:lnTo>
                    <a:pt x="6917" y="12655"/>
                  </a:lnTo>
                  <a:lnTo>
                    <a:pt x="6926" y="12655"/>
                  </a:lnTo>
                  <a:lnTo>
                    <a:pt x="6934" y="12655"/>
                  </a:lnTo>
                  <a:close/>
                  <a:moveTo>
                    <a:pt x="7040" y="12717"/>
                  </a:moveTo>
                  <a:lnTo>
                    <a:pt x="7031" y="12708"/>
                  </a:lnTo>
                  <a:lnTo>
                    <a:pt x="7031" y="12699"/>
                  </a:lnTo>
                  <a:lnTo>
                    <a:pt x="7014" y="12699"/>
                  </a:lnTo>
                  <a:lnTo>
                    <a:pt x="7005" y="12699"/>
                  </a:lnTo>
                  <a:lnTo>
                    <a:pt x="6996" y="12699"/>
                  </a:lnTo>
                  <a:lnTo>
                    <a:pt x="6996" y="12690"/>
                  </a:lnTo>
                  <a:lnTo>
                    <a:pt x="6987" y="12681"/>
                  </a:lnTo>
                  <a:lnTo>
                    <a:pt x="6987" y="12690"/>
                  </a:lnTo>
                  <a:lnTo>
                    <a:pt x="6987" y="12699"/>
                  </a:lnTo>
                  <a:lnTo>
                    <a:pt x="6961" y="12690"/>
                  </a:lnTo>
                  <a:lnTo>
                    <a:pt x="6961" y="12681"/>
                  </a:lnTo>
                  <a:lnTo>
                    <a:pt x="6943" y="12690"/>
                  </a:lnTo>
                  <a:lnTo>
                    <a:pt x="6926" y="12699"/>
                  </a:lnTo>
                  <a:lnTo>
                    <a:pt x="6943" y="12699"/>
                  </a:lnTo>
                  <a:lnTo>
                    <a:pt x="6952" y="12708"/>
                  </a:lnTo>
                  <a:lnTo>
                    <a:pt x="6961" y="12717"/>
                  </a:lnTo>
                  <a:lnTo>
                    <a:pt x="6970" y="12717"/>
                  </a:lnTo>
                  <a:lnTo>
                    <a:pt x="6970" y="12726"/>
                  </a:lnTo>
                  <a:lnTo>
                    <a:pt x="6970" y="12734"/>
                  </a:lnTo>
                  <a:lnTo>
                    <a:pt x="6978" y="12743"/>
                  </a:lnTo>
                  <a:lnTo>
                    <a:pt x="6987" y="12743"/>
                  </a:lnTo>
                  <a:lnTo>
                    <a:pt x="6987" y="12734"/>
                  </a:lnTo>
                  <a:lnTo>
                    <a:pt x="6987" y="12726"/>
                  </a:lnTo>
                  <a:lnTo>
                    <a:pt x="6996" y="12734"/>
                  </a:lnTo>
                  <a:lnTo>
                    <a:pt x="7005" y="12726"/>
                  </a:lnTo>
                  <a:lnTo>
                    <a:pt x="7005" y="12734"/>
                  </a:lnTo>
                  <a:lnTo>
                    <a:pt x="7005" y="12743"/>
                  </a:lnTo>
                  <a:lnTo>
                    <a:pt x="6996" y="12752"/>
                  </a:lnTo>
                  <a:lnTo>
                    <a:pt x="7005" y="12761"/>
                  </a:lnTo>
                  <a:lnTo>
                    <a:pt x="7005" y="12752"/>
                  </a:lnTo>
                  <a:lnTo>
                    <a:pt x="7014" y="12752"/>
                  </a:lnTo>
                  <a:lnTo>
                    <a:pt x="7023" y="12752"/>
                  </a:lnTo>
                  <a:lnTo>
                    <a:pt x="7031" y="12743"/>
                  </a:lnTo>
                  <a:lnTo>
                    <a:pt x="7040" y="12743"/>
                  </a:lnTo>
                  <a:lnTo>
                    <a:pt x="7040" y="12734"/>
                  </a:lnTo>
                  <a:lnTo>
                    <a:pt x="7049" y="12726"/>
                  </a:lnTo>
                  <a:close/>
                  <a:moveTo>
                    <a:pt x="6873" y="12558"/>
                  </a:moveTo>
                  <a:lnTo>
                    <a:pt x="6881" y="12540"/>
                  </a:lnTo>
                  <a:lnTo>
                    <a:pt x="6873" y="12531"/>
                  </a:lnTo>
                  <a:lnTo>
                    <a:pt x="6864" y="12531"/>
                  </a:lnTo>
                  <a:lnTo>
                    <a:pt x="6855" y="12505"/>
                  </a:lnTo>
                  <a:lnTo>
                    <a:pt x="6855" y="12514"/>
                  </a:lnTo>
                  <a:lnTo>
                    <a:pt x="6855" y="12523"/>
                  </a:lnTo>
                  <a:lnTo>
                    <a:pt x="6846" y="12514"/>
                  </a:lnTo>
                  <a:lnTo>
                    <a:pt x="6837" y="12523"/>
                  </a:lnTo>
                  <a:lnTo>
                    <a:pt x="6837" y="12531"/>
                  </a:lnTo>
                  <a:lnTo>
                    <a:pt x="6846" y="12549"/>
                  </a:lnTo>
                  <a:lnTo>
                    <a:pt x="6855" y="12558"/>
                  </a:lnTo>
                  <a:lnTo>
                    <a:pt x="6855" y="12576"/>
                  </a:lnTo>
                  <a:lnTo>
                    <a:pt x="6864" y="12576"/>
                  </a:lnTo>
                  <a:close/>
                  <a:moveTo>
                    <a:pt x="6820" y="12267"/>
                  </a:moveTo>
                  <a:lnTo>
                    <a:pt x="6829" y="12258"/>
                  </a:lnTo>
                  <a:lnTo>
                    <a:pt x="6837" y="12249"/>
                  </a:lnTo>
                  <a:lnTo>
                    <a:pt x="6837" y="12240"/>
                  </a:lnTo>
                  <a:lnTo>
                    <a:pt x="6837" y="12231"/>
                  </a:lnTo>
                  <a:lnTo>
                    <a:pt x="6829" y="12231"/>
                  </a:lnTo>
                  <a:lnTo>
                    <a:pt x="6820" y="12240"/>
                  </a:lnTo>
                  <a:lnTo>
                    <a:pt x="6811" y="12240"/>
                  </a:lnTo>
                  <a:lnTo>
                    <a:pt x="6802" y="12240"/>
                  </a:lnTo>
                  <a:lnTo>
                    <a:pt x="6802" y="12249"/>
                  </a:lnTo>
                  <a:lnTo>
                    <a:pt x="6802" y="12258"/>
                  </a:lnTo>
                  <a:lnTo>
                    <a:pt x="6811" y="12258"/>
                  </a:lnTo>
                  <a:lnTo>
                    <a:pt x="6811" y="12267"/>
                  </a:lnTo>
                  <a:lnTo>
                    <a:pt x="6802" y="12267"/>
                  </a:lnTo>
                  <a:lnTo>
                    <a:pt x="6793" y="12275"/>
                  </a:lnTo>
                  <a:lnTo>
                    <a:pt x="6802" y="12275"/>
                  </a:lnTo>
                  <a:lnTo>
                    <a:pt x="6811" y="12275"/>
                  </a:lnTo>
                  <a:close/>
                  <a:moveTo>
                    <a:pt x="6846" y="12487"/>
                  </a:moveTo>
                  <a:lnTo>
                    <a:pt x="6855" y="12487"/>
                  </a:lnTo>
                  <a:lnTo>
                    <a:pt x="6864" y="12487"/>
                  </a:lnTo>
                  <a:lnTo>
                    <a:pt x="6873" y="12487"/>
                  </a:lnTo>
                  <a:lnTo>
                    <a:pt x="6873" y="12478"/>
                  </a:lnTo>
                  <a:lnTo>
                    <a:pt x="6873" y="12470"/>
                  </a:lnTo>
                  <a:lnTo>
                    <a:pt x="6864" y="12470"/>
                  </a:lnTo>
                  <a:lnTo>
                    <a:pt x="6855" y="12478"/>
                  </a:lnTo>
                  <a:lnTo>
                    <a:pt x="6837" y="12478"/>
                  </a:lnTo>
                  <a:lnTo>
                    <a:pt x="6829" y="12487"/>
                  </a:lnTo>
                  <a:lnTo>
                    <a:pt x="6820" y="12505"/>
                  </a:lnTo>
                  <a:lnTo>
                    <a:pt x="6829" y="12505"/>
                  </a:lnTo>
                  <a:lnTo>
                    <a:pt x="6837" y="12496"/>
                  </a:lnTo>
                  <a:lnTo>
                    <a:pt x="6837" y="12487"/>
                  </a:lnTo>
                  <a:close/>
                  <a:moveTo>
                    <a:pt x="6829" y="12408"/>
                  </a:moveTo>
                  <a:lnTo>
                    <a:pt x="6837" y="12399"/>
                  </a:lnTo>
                  <a:lnTo>
                    <a:pt x="6820" y="12399"/>
                  </a:lnTo>
                  <a:lnTo>
                    <a:pt x="6811" y="12399"/>
                  </a:lnTo>
                  <a:lnTo>
                    <a:pt x="6811" y="12408"/>
                  </a:lnTo>
                  <a:lnTo>
                    <a:pt x="6811" y="12417"/>
                  </a:lnTo>
                  <a:lnTo>
                    <a:pt x="6811" y="12426"/>
                  </a:lnTo>
                  <a:lnTo>
                    <a:pt x="6820" y="12426"/>
                  </a:lnTo>
                  <a:lnTo>
                    <a:pt x="6820" y="12417"/>
                  </a:lnTo>
                  <a:lnTo>
                    <a:pt x="6820" y="12408"/>
                  </a:lnTo>
                  <a:close/>
                  <a:moveTo>
                    <a:pt x="6820" y="12337"/>
                  </a:moveTo>
                  <a:lnTo>
                    <a:pt x="6829" y="12337"/>
                  </a:lnTo>
                  <a:lnTo>
                    <a:pt x="6837" y="12337"/>
                  </a:lnTo>
                  <a:lnTo>
                    <a:pt x="6846" y="12337"/>
                  </a:lnTo>
                  <a:lnTo>
                    <a:pt x="6846" y="12328"/>
                  </a:lnTo>
                  <a:lnTo>
                    <a:pt x="6846" y="12311"/>
                  </a:lnTo>
                  <a:lnTo>
                    <a:pt x="6846" y="12302"/>
                  </a:lnTo>
                  <a:lnTo>
                    <a:pt x="6864" y="12293"/>
                  </a:lnTo>
                  <a:lnTo>
                    <a:pt x="6864" y="12302"/>
                  </a:lnTo>
                  <a:lnTo>
                    <a:pt x="6855" y="12302"/>
                  </a:lnTo>
                  <a:lnTo>
                    <a:pt x="6855" y="12311"/>
                  </a:lnTo>
                  <a:lnTo>
                    <a:pt x="6855" y="12320"/>
                  </a:lnTo>
                  <a:lnTo>
                    <a:pt x="6855" y="12328"/>
                  </a:lnTo>
                  <a:lnTo>
                    <a:pt x="6855" y="12337"/>
                  </a:lnTo>
                  <a:lnTo>
                    <a:pt x="6855" y="12346"/>
                  </a:lnTo>
                  <a:lnTo>
                    <a:pt x="6864" y="12355"/>
                  </a:lnTo>
                  <a:lnTo>
                    <a:pt x="6873" y="12355"/>
                  </a:lnTo>
                  <a:lnTo>
                    <a:pt x="6873" y="12346"/>
                  </a:lnTo>
                  <a:lnTo>
                    <a:pt x="6881" y="12346"/>
                  </a:lnTo>
                  <a:lnTo>
                    <a:pt x="6881" y="12337"/>
                  </a:lnTo>
                  <a:lnTo>
                    <a:pt x="6881" y="12328"/>
                  </a:lnTo>
                  <a:lnTo>
                    <a:pt x="6881" y="12320"/>
                  </a:lnTo>
                  <a:lnTo>
                    <a:pt x="6881" y="12311"/>
                  </a:lnTo>
                  <a:lnTo>
                    <a:pt x="6881" y="12302"/>
                  </a:lnTo>
                  <a:lnTo>
                    <a:pt x="6881" y="12284"/>
                  </a:lnTo>
                  <a:lnTo>
                    <a:pt x="6881" y="12267"/>
                  </a:lnTo>
                  <a:lnTo>
                    <a:pt x="6881" y="12240"/>
                  </a:lnTo>
                  <a:lnTo>
                    <a:pt x="6881" y="12231"/>
                  </a:lnTo>
                  <a:lnTo>
                    <a:pt x="6873" y="12231"/>
                  </a:lnTo>
                  <a:lnTo>
                    <a:pt x="6864" y="12231"/>
                  </a:lnTo>
                  <a:lnTo>
                    <a:pt x="6855" y="12231"/>
                  </a:lnTo>
                  <a:lnTo>
                    <a:pt x="6846" y="12240"/>
                  </a:lnTo>
                  <a:lnTo>
                    <a:pt x="6846" y="12249"/>
                  </a:lnTo>
                  <a:lnTo>
                    <a:pt x="6846" y="12258"/>
                  </a:lnTo>
                  <a:lnTo>
                    <a:pt x="6829" y="12267"/>
                  </a:lnTo>
                  <a:lnTo>
                    <a:pt x="6837" y="12275"/>
                  </a:lnTo>
                  <a:lnTo>
                    <a:pt x="6837" y="12284"/>
                  </a:lnTo>
                  <a:lnTo>
                    <a:pt x="6829" y="12284"/>
                  </a:lnTo>
                  <a:lnTo>
                    <a:pt x="6820" y="12284"/>
                  </a:lnTo>
                  <a:lnTo>
                    <a:pt x="6811" y="12284"/>
                  </a:lnTo>
                  <a:lnTo>
                    <a:pt x="6811" y="12293"/>
                  </a:lnTo>
                  <a:lnTo>
                    <a:pt x="6820" y="12302"/>
                  </a:lnTo>
                  <a:lnTo>
                    <a:pt x="6820" y="12320"/>
                  </a:lnTo>
                  <a:lnTo>
                    <a:pt x="6802" y="12311"/>
                  </a:lnTo>
                  <a:lnTo>
                    <a:pt x="6802" y="12320"/>
                  </a:lnTo>
                  <a:lnTo>
                    <a:pt x="6802" y="12328"/>
                  </a:lnTo>
                  <a:lnTo>
                    <a:pt x="6811" y="12328"/>
                  </a:lnTo>
                  <a:close/>
                  <a:moveTo>
                    <a:pt x="6837" y="12355"/>
                  </a:moveTo>
                  <a:lnTo>
                    <a:pt x="6829" y="12355"/>
                  </a:lnTo>
                  <a:lnTo>
                    <a:pt x="6820" y="12355"/>
                  </a:lnTo>
                  <a:lnTo>
                    <a:pt x="6820" y="12364"/>
                  </a:lnTo>
                  <a:lnTo>
                    <a:pt x="6820" y="12373"/>
                  </a:lnTo>
                  <a:lnTo>
                    <a:pt x="6811" y="12373"/>
                  </a:lnTo>
                  <a:lnTo>
                    <a:pt x="6811" y="12381"/>
                  </a:lnTo>
                  <a:lnTo>
                    <a:pt x="6820" y="12381"/>
                  </a:lnTo>
                  <a:lnTo>
                    <a:pt x="6829" y="12390"/>
                  </a:lnTo>
                  <a:lnTo>
                    <a:pt x="6837" y="12381"/>
                  </a:lnTo>
                  <a:lnTo>
                    <a:pt x="6846" y="12373"/>
                  </a:lnTo>
                  <a:lnTo>
                    <a:pt x="6855" y="12373"/>
                  </a:lnTo>
                  <a:lnTo>
                    <a:pt x="6855" y="12364"/>
                  </a:lnTo>
                  <a:lnTo>
                    <a:pt x="6846" y="12364"/>
                  </a:lnTo>
                  <a:close/>
                  <a:moveTo>
                    <a:pt x="6890" y="12531"/>
                  </a:moveTo>
                  <a:lnTo>
                    <a:pt x="6899" y="12540"/>
                  </a:lnTo>
                  <a:lnTo>
                    <a:pt x="6908" y="12540"/>
                  </a:lnTo>
                  <a:lnTo>
                    <a:pt x="6908" y="12531"/>
                  </a:lnTo>
                  <a:lnTo>
                    <a:pt x="6899" y="12523"/>
                  </a:lnTo>
                  <a:lnTo>
                    <a:pt x="6890" y="12523"/>
                  </a:lnTo>
                  <a:lnTo>
                    <a:pt x="6881" y="12514"/>
                  </a:lnTo>
                  <a:lnTo>
                    <a:pt x="6881" y="12523"/>
                  </a:lnTo>
                  <a:lnTo>
                    <a:pt x="6890" y="12523"/>
                  </a:lnTo>
                  <a:close/>
                  <a:moveTo>
                    <a:pt x="7428" y="12849"/>
                  </a:moveTo>
                  <a:lnTo>
                    <a:pt x="7411" y="12840"/>
                  </a:lnTo>
                  <a:lnTo>
                    <a:pt x="7402" y="12840"/>
                  </a:lnTo>
                  <a:lnTo>
                    <a:pt x="7367" y="12840"/>
                  </a:lnTo>
                  <a:lnTo>
                    <a:pt x="7349" y="12840"/>
                  </a:lnTo>
                  <a:lnTo>
                    <a:pt x="7340" y="12840"/>
                  </a:lnTo>
                  <a:lnTo>
                    <a:pt x="7349" y="12849"/>
                  </a:lnTo>
                  <a:lnTo>
                    <a:pt x="7349" y="12867"/>
                  </a:lnTo>
                  <a:lnTo>
                    <a:pt x="7358" y="12867"/>
                  </a:lnTo>
                  <a:lnTo>
                    <a:pt x="7376" y="12876"/>
                  </a:lnTo>
                  <a:lnTo>
                    <a:pt x="7384" y="12867"/>
                  </a:lnTo>
                  <a:lnTo>
                    <a:pt x="7393" y="12867"/>
                  </a:lnTo>
                  <a:lnTo>
                    <a:pt x="7402" y="12867"/>
                  </a:lnTo>
                  <a:lnTo>
                    <a:pt x="7402" y="12876"/>
                  </a:lnTo>
                  <a:lnTo>
                    <a:pt x="7411" y="12876"/>
                  </a:lnTo>
                  <a:lnTo>
                    <a:pt x="7420" y="12867"/>
                  </a:lnTo>
                  <a:lnTo>
                    <a:pt x="7428" y="12867"/>
                  </a:lnTo>
                  <a:lnTo>
                    <a:pt x="7428" y="12858"/>
                  </a:lnTo>
                  <a:close/>
                  <a:moveTo>
                    <a:pt x="7084" y="12770"/>
                  </a:moveTo>
                  <a:lnTo>
                    <a:pt x="7093" y="12770"/>
                  </a:lnTo>
                  <a:lnTo>
                    <a:pt x="7102" y="12770"/>
                  </a:lnTo>
                  <a:lnTo>
                    <a:pt x="7120" y="12779"/>
                  </a:lnTo>
                  <a:lnTo>
                    <a:pt x="7128" y="12779"/>
                  </a:lnTo>
                  <a:lnTo>
                    <a:pt x="7137" y="12770"/>
                  </a:lnTo>
                  <a:lnTo>
                    <a:pt x="7137" y="12761"/>
                  </a:lnTo>
                  <a:lnTo>
                    <a:pt x="7137" y="12752"/>
                  </a:lnTo>
                  <a:lnTo>
                    <a:pt x="7128" y="12752"/>
                  </a:lnTo>
                  <a:lnTo>
                    <a:pt x="7111" y="12743"/>
                  </a:lnTo>
                  <a:lnTo>
                    <a:pt x="7102" y="12743"/>
                  </a:lnTo>
                  <a:lnTo>
                    <a:pt x="7084" y="12734"/>
                  </a:lnTo>
                  <a:lnTo>
                    <a:pt x="7067" y="12734"/>
                  </a:lnTo>
                  <a:lnTo>
                    <a:pt x="7058" y="12734"/>
                  </a:lnTo>
                  <a:lnTo>
                    <a:pt x="7049" y="12752"/>
                  </a:lnTo>
                  <a:lnTo>
                    <a:pt x="7058" y="12752"/>
                  </a:lnTo>
                  <a:lnTo>
                    <a:pt x="7067" y="12761"/>
                  </a:lnTo>
                  <a:lnTo>
                    <a:pt x="7067" y="12779"/>
                  </a:lnTo>
                  <a:lnTo>
                    <a:pt x="7076" y="12770"/>
                  </a:lnTo>
                  <a:close/>
                  <a:moveTo>
                    <a:pt x="7464" y="12867"/>
                  </a:moveTo>
                  <a:lnTo>
                    <a:pt x="7464" y="12876"/>
                  </a:lnTo>
                  <a:lnTo>
                    <a:pt x="7473" y="12867"/>
                  </a:lnTo>
                  <a:close/>
                  <a:moveTo>
                    <a:pt x="7552" y="12805"/>
                  </a:moveTo>
                  <a:lnTo>
                    <a:pt x="7525" y="12814"/>
                  </a:lnTo>
                  <a:lnTo>
                    <a:pt x="7508" y="12805"/>
                  </a:lnTo>
                  <a:lnTo>
                    <a:pt x="7490" y="12796"/>
                  </a:lnTo>
                  <a:lnTo>
                    <a:pt x="7473" y="12787"/>
                  </a:lnTo>
                  <a:lnTo>
                    <a:pt x="7455" y="12779"/>
                  </a:lnTo>
                  <a:lnTo>
                    <a:pt x="7446" y="12770"/>
                  </a:lnTo>
                  <a:lnTo>
                    <a:pt x="7428" y="12761"/>
                  </a:lnTo>
                  <a:lnTo>
                    <a:pt x="7411" y="12752"/>
                  </a:lnTo>
                  <a:lnTo>
                    <a:pt x="7393" y="12734"/>
                  </a:lnTo>
                  <a:lnTo>
                    <a:pt x="7384" y="12726"/>
                  </a:lnTo>
                  <a:lnTo>
                    <a:pt x="7367" y="12708"/>
                  </a:lnTo>
                  <a:lnTo>
                    <a:pt x="7358" y="12699"/>
                  </a:lnTo>
                  <a:lnTo>
                    <a:pt x="7349" y="12673"/>
                  </a:lnTo>
                  <a:lnTo>
                    <a:pt x="7331" y="12673"/>
                  </a:lnTo>
                  <a:lnTo>
                    <a:pt x="7323" y="12673"/>
                  </a:lnTo>
                  <a:lnTo>
                    <a:pt x="7323" y="12664"/>
                  </a:lnTo>
                  <a:lnTo>
                    <a:pt x="7323" y="12655"/>
                  </a:lnTo>
                  <a:lnTo>
                    <a:pt x="7331" y="12646"/>
                  </a:lnTo>
                  <a:lnTo>
                    <a:pt x="7340" y="12655"/>
                  </a:lnTo>
                  <a:lnTo>
                    <a:pt x="7340" y="12646"/>
                  </a:lnTo>
                  <a:lnTo>
                    <a:pt x="7331" y="12637"/>
                  </a:lnTo>
                  <a:lnTo>
                    <a:pt x="7314" y="12611"/>
                  </a:lnTo>
                  <a:lnTo>
                    <a:pt x="7305" y="12602"/>
                  </a:lnTo>
                  <a:lnTo>
                    <a:pt x="7278" y="12611"/>
                  </a:lnTo>
                  <a:lnTo>
                    <a:pt x="7270" y="12611"/>
                  </a:lnTo>
                  <a:lnTo>
                    <a:pt x="7252" y="12593"/>
                  </a:lnTo>
                  <a:lnTo>
                    <a:pt x="7243" y="12602"/>
                  </a:lnTo>
                  <a:lnTo>
                    <a:pt x="7234" y="12611"/>
                  </a:lnTo>
                  <a:lnTo>
                    <a:pt x="7226" y="12620"/>
                  </a:lnTo>
                  <a:lnTo>
                    <a:pt x="7217" y="12620"/>
                  </a:lnTo>
                  <a:lnTo>
                    <a:pt x="7217" y="12629"/>
                  </a:lnTo>
                  <a:lnTo>
                    <a:pt x="7208" y="12620"/>
                  </a:lnTo>
                  <a:lnTo>
                    <a:pt x="7199" y="12620"/>
                  </a:lnTo>
                  <a:lnTo>
                    <a:pt x="7190" y="12620"/>
                  </a:lnTo>
                  <a:lnTo>
                    <a:pt x="7181" y="12620"/>
                  </a:lnTo>
                  <a:lnTo>
                    <a:pt x="7190" y="12629"/>
                  </a:lnTo>
                  <a:lnTo>
                    <a:pt x="7199" y="12637"/>
                  </a:lnTo>
                  <a:lnTo>
                    <a:pt x="7199" y="12646"/>
                  </a:lnTo>
                  <a:lnTo>
                    <a:pt x="7190" y="12646"/>
                  </a:lnTo>
                  <a:lnTo>
                    <a:pt x="7181" y="12646"/>
                  </a:lnTo>
                  <a:lnTo>
                    <a:pt x="7181" y="12655"/>
                  </a:lnTo>
                  <a:lnTo>
                    <a:pt x="7181" y="12664"/>
                  </a:lnTo>
                  <a:lnTo>
                    <a:pt x="7181" y="12673"/>
                  </a:lnTo>
                  <a:lnTo>
                    <a:pt x="7190" y="12681"/>
                  </a:lnTo>
                  <a:lnTo>
                    <a:pt x="7199" y="12681"/>
                  </a:lnTo>
                  <a:lnTo>
                    <a:pt x="7208" y="12681"/>
                  </a:lnTo>
                  <a:lnTo>
                    <a:pt x="7226" y="12681"/>
                  </a:lnTo>
                  <a:lnTo>
                    <a:pt x="7234" y="12681"/>
                  </a:lnTo>
                  <a:lnTo>
                    <a:pt x="7243" y="12681"/>
                  </a:lnTo>
                  <a:lnTo>
                    <a:pt x="7252" y="12681"/>
                  </a:lnTo>
                  <a:lnTo>
                    <a:pt x="7261" y="12681"/>
                  </a:lnTo>
                  <a:lnTo>
                    <a:pt x="7261" y="12690"/>
                  </a:lnTo>
                  <a:lnTo>
                    <a:pt x="7234" y="12708"/>
                  </a:lnTo>
                  <a:lnTo>
                    <a:pt x="7217" y="12708"/>
                  </a:lnTo>
                  <a:lnTo>
                    <a:pt x="7208" y="12717"/>
                  </a:lnTo>
                  <a:lnTo>
                    <a:pt x="7199" y="12717"/>
                  </a:lnTo>
                  <a:lnTo>
                    <a:pt x="7199" y="12734"/>
                  </a:lnTo>
                  <a:lnTo>
                    <a:pt x="7208" y="12743"/>
                  </a:lnTo>
                  <a:lnTo>
                    <a:pt x="7217" y="12752"/>
                  </a:lnTo>
                  <a:lnTo>
                    <a:pt x="7270" y="12779"/>
                  </a:lnTo>
                  <a:lnTo>
                    <a:pt x="7278" y="12787"/>
                  </a:lnTo>
                  <a:lnTo>
                    <a:pt x="7270" y="12796"/>
                  </a:lnTo>
                  <a:lnTo>
                    <a:pt x="7270" y="12805"/>
                  </a:lnTo>
                  <a:lnTo>
                    <a:pt x="7261" y="12805"/>
                  </a:lnTo>
                  <a:lnTo>
                    <a:pt x="7261" y="12796"/>
                  </a:lnTo>
                  <a:lnTo>
                    <a:pt x="7261" y="12787"/>
                  </a:lnTo>
                  <a:lnTo>
                    <a:pt x="7252" y="12787"/>
                  </a:lnTo>
                  <a:lnTo>
                    <a:pt x="7243" y="12779"/>
                  </a:lnTo>
                  <a:lnTo>
                    <a:pt x="7234" y="12779"/>
                  </a:lnTo>
                  <a:lnTo>
                    <a:pt x="7226" y="12779"/>
                  </a:lnTo>
                  <a:lnTo>
                    <a:pt x="7217" y="12779"/>
                  </a:lnTo>
                  <a:lnTo>
                    <a:pt x="7199" y="12779"/>
                  </a:lnTo>
                  <a:lnTo>
                    <a:pt x="7190" y="12779"/>
                  </a:lnTo>
                  <a:lnTo>
                    <a:pt x="7190" y="12770"/>
                  </a:lnTo>
                  <a:lnTo>
                    <a:pt x="7181" y="12761"/>
                  </a:lnTo>
                  <a:lnTo>
                    <a:pt x="7173" y="12761"/>
                  </a:lnTo>
                  <a:lnTo>
                    <a:pt x="7164" y="12743"/>
                  </a:lnTo>
                  <a:lnTo>
                    <a:pt x="7181" y="12743"/>
                  </a:lnTo>
                  <a:lnTo>
                    <a:pt x="7181" y="12734"/>
                  </a:lnTo>
                  <a:lnTo>
                    <a:pt x="7173" y="12708"/>
                  </a:lnTo>
                  <a:lnTo>
                    <a:pt x="7164" y="12708"/>
                  </a:lnTo>
                  <a:lnTo>
                    <a:pt x="7164" y="12717"/>
                  </a:lnTo>
                  <a:lnTo>
                    <a:pt x="7164" y="12726"/>
                  </a:lnTo>
                  <a:lnTo>
                    <a:pt x="7146" y="12734"/>
                  </a:lnTo>
                  <a:lnTo>
                    <a:pt x="7146" y="12743"/>
                  </a:lnTo>
                  <a:lnTo>
                    <a:pt x="7146" y="12752"/>
                  </a:lnTo>
                  <a:lnTo>
                    <a:pt x="7155" y="12770"/>
                  </a:lnTo>
                  <a:lnTo>
                    <a:pt x="7164" y="12770"/>
                  </a:lnTo>
                  <a:lnTo>
                    <a:pt x="7173" y="12779"/>
                  </a:lnTo>
                  <a:lnTo>
                    <a:pt x="7181" y="12779"/>
                  </a:lnTo>
                  <a:lnTo>
                    <a:pt x="7190" y="12796"/>
                  </a:lnTo>
                  <a:lnTo>
                    <a:pt x="7181" y="12796"/>
                  </a:lnTo>
                  <a:lnTo>
                    <a:pt x="7173" y="12796"/>
                  </a:lnTo>
                  <a:lnTo>
                    <a:pt x="7164" y="12796"/>
                  </a:lnTo>
                  <a:lnTo>
                    <a:pt x="7164" y="12787"/>
                  </a:lnTo>
                  <a:lnTo>
                    <a:pt x="7164" y="12779"/>
                  </a:lnTo>
                  <a:lnTo>
                    <a:pt x="7155" y="12779"/>
                  </a:lnTo>
                  <a:lnTo>
                    <a:pt x="7146" y="12779"/>
                  </a:lnTo>
                  <a:lnTo>
                    <a:pt x="7146" y="12787"/>
                  </a:lnTo>
                  <a:lnTo>
                    <a:pt x="7137" y="12787"/>
                  </a:lnTo>
                  <a:lnTo>
                    <a:pt x="7128" y="12787"/>
                  </a:lnTo>
                  <a:lnTo>
                    <a:pt x="7111" y="12787"/>
                  </a:lnTo>
                  <a:lnTo>
                    <a:pt x="7102" y="12787"/>
                  </a:lnTo>
                  <a:lnTo>
                    <a:pt x="7093" y="12796"/>
                  </a:lnTo>
                  <a:lnTo>
                    <a:pt x="7084" y="12787"/>
                  </a:lnTo>
                  <a:lnTo>
                    <a:pt x="7076" y="12787"/>
                  </a:lnTo>
                  <a:lnTo>
                    <a:pt x="7076" y="12796"/>
                  </a:lnTo>
                  <a:lnTo>
                    <a:pt x="7067" y="12796"/>
                  </a:lnTo>
                  <a:lnTo>
                    <a:pt x="7076" y="12805"/>
                  </a:lnTo>
                  <a:lnTo>
                    <a:pt x="7102" y="12805"/>
                  </a:lnTo>
                  <a:lnTo>
                    <a:pt x="7120" y="12814"/>
                  </a:lnTo>
                  <a:lnTo>
                    <a:pt x="7146" y="12814"/>
                  </a:lnTo>
                  <a:lnTo>
                    <a:pt x="7155" y="12823"/>
                  </a:lnTo>
                  <a:lnTo>
                    <a:pt x="7173" y="12823"/>
                  </a:lnTo>
                  <a:lnTo>
                    <a:pt x="7190" y="12823"/>
                  </a:lnTo>
                  <a:lnTo>
                    <a:pt x="7199" y="12831"/>
                  </a:lnTo>
                  <a:lnTo>
                    <a:pt x="7208" y="12823"/>
                  </a:lnTo>
                  <a:lnTo>
                    <a:pt x="7217" y="12823"/>
                  </a:lnTo>
                  <a:lnTo>
                    <a:pt x="7226" y="12823"/>
                  </a:lnTo>
                  <a:lnTo>
                    <a:pt x="7234" y="12814"/>
                  </a:lnTo>
                  <a:lnTo>
                    <a:pt x="7243" y="12823"/>
                  </a:lnTo>
                  <a:lnTo>
                    <a:pt x="7252" y="12831"/>
                  </a:lnTo>
                  <a:lnTo>
                    <a:pt x="7278" y="12840"/>
                  </a:lnTo>
                  <a:lnTo>
                    <a:pt x="7296" y="12831"/>
                  </a:lnTo>
                  <a:lnTo>
                    <a:pt x="7314" y="12831"/>
                  </a:lnTo>
                  <a:lnTo>
                    <a:pt x="7323" y="12831"/>
                  </a:lnTo>
                  <a:lnTo>
                    <a:pt x="7331" y="12823"/>
                  </a:lnTo>
                  <a:lnTo>
                    <a:pt x="7340" y="12831"/>
                  </a:lnTo>
                  <a:lnTo>
                    <a:pt x="7358" y="12831"/>
                  </a:lnTo>
                  <a:lnTo>
                    <a:pt x="7376" y="12831"/>
                  </a:lnTo>
                  <a:lnTo>
                    <a:pt x="7420" y="12840"/>
                  </a:lnTo>
                  <a:lnTo>
                    <a:pt x="7437" y="12840"/>
                  </a:lnTo>
                  <a:lnTo>
                    <a:pt x="7464" y="12849"/>
                  </a:lnTo>
                  <a:lnTo>
                    <a:pt x="7473" y="12849"/>
                  </a:lnTo>
                  <a:lnTo>
                    <a:pt x="7481" y="12840"/>
                  </a:lnTo>
                  <a:lnTo>
                    <a:pt x="7490" y="12840"/>
                  </a:lnTo>
                  <a:lnTo>
                    <a:pt x="7499" y="12840"/>
                  </a:lnTo>
                  <a:lnTo>
                    <a:pt x="7508" y="12840"/>
                  </a:lnTo>
                  <a:lnTo>
                    <a:pt x="7517" y="12840"/>
                  </a:lnTo>
                  <a:lnTo>
                    <a:pt x="7525" y="12840"/>
                  </a:lnTo>
                  <a:lnTo>
                    <a:pt x="7534" y="12840"/>
                  </a:lnTo>
                  <a:lnTo>
                    <a:pt x="7543" y="12840"/>
                  </a:lnTo>
                  <a:lnTo>
                    <a:pt x="7552" y="12831"/>
                  </a:lnTo>
                  <a:lnTo>
                    <a:pt x="7561" y="12823"/>
                  </a:lnTo>
                  <a:lnTo>
                    <a:pt x="7570" y="12814"/>
                  </a:lnTo>
                  <a:lnTo>
                    <a:pt x="7561" y="12805"/>
                  </a:lnTo>
                  <a:close/>
                  <a:moveTo>
                    <a:pt x="7411" y="12911"/>
                  </a:moveTo>
                  <a:lnTo>
                    <a:pt x="7402" y="12902"/>
                  </a:lnTo>
                  <a:lnTo>
                    <a:pt x="7402" y="12911"/>
                  </a:lnTo>
                  <a:lnTo>
                    <a:pt x="7393" y="12911"/>
                  </a:lnTo>
                  <a:lnTo>
                    <a:pt x="7393" y="12920"/>
                  </a:lnTo>
                  <a:lnTo>
                    <a:pt x="7402" y="12920"/>
                  </a:lnTo>
                  <a:lnTo>
                    <a:pt x="7411" y="12929"/>
                  </a:lnTo>
                  <a:lnTo>
                    <a:pt x="7411" y="12920"/>
                  </a:lnTo>
                  <a:close/>
                  <a:moveTo>
                    <a:pt x="7649" y="12823"/>
                  </a:moveTo>
                  <a:lnTo>
                    <a:pt x="7649" y="12814"/>
                  </a:lnTo>
                  <a:lnTo>
                    <a:pt x="7640" y="12814"/>
                  </a:lnTo>
                  <a:lnTo>
                    <a:pt x="7623" y="12823"/>
                  </a:lnTo>
                  <a:lnTo>
                    <a:pt x="7614" y="12814"/>
                  </a:lnTo>
                  <a:lnTo>
                    <a:pt x="7614" y="12823"/>
                  </a:lnTo>
                  <a:lnTo>
                    <a:pt x="7605" y="12823"/>
                  </a:lnTo>
                  <a:lnTo>
                    <a:pt x="7596" y="12831"/>
                  </a:lnTo>
                  <a:lnTo>
                    <a:pt x="7605" y="12831"/>
                  </a:lnTo>
                  <a:lnTo>
                    <a:pt x="7614" y="12831"/>
                  </a:lnTo>
                  <a:lnTo>
                    <a:pt x="7623" y="12831"/>
                  </a:lnTo>
                  <a:lnTo>
                    <a:pt x="7631" y="12823"/>
                  </a:lnTo>
                  <a:lnTo>
                    <a:pt x="7649" y="12823"/>
                  </a:lnTo>
                  <a:lnTo>
                    <a:pt x="7658" y="12823"/>
                  </a:lnTo>
                  <a:lnTo>
                    <a:pt x="7667" y="12823"/>
                  </a:lnTo>
                  <a:lnTo>
                    <a:pt x="7667" y="12814"/>
                  </a:lnTo>
                  <a:lnTo>
                    <a:pt x="7658" y="12814"/>
                  </a:lnTo>
                  <a:close/>
                  <a:moveTo>
                    <a:pt x="3661" y="6169"/>
                  </a:moveTo>
                  <a:lnTo>
                    <a:pt x="3661" y="6160"/>
                  </a:lnTo>
                  <a:lnTo>
                    <a:pt x="3652" y="6160"/>
                  </a:lnTo>
                  <a:lnTo>
                    <a:pt x="3661" y="6178"/>
                  </a:lnTo>
                  <a:lnTo>
                    <a:pt x="3670" y="6178"/>
                  </a:lnTo>
                  <a:close/>
                  <a:moveTo>
                    <a:pt x="7349" y="12893"/>
                  </a:moveTo>
                  <a:lnTo>
                    <a:pt x="7340" y="12884"/>
                  </a:lnTo>
                  <a:lnTo>
                    <a:pt x="7331" y="12876"/>
                  </a:lnTo>
                  <a:lnTo>
                    <a:pt x="7340" y="12876"/>
                  </a:lnTo>
                  <a:lnTo>
                    <a:pt x="7331" y="12867"/>
                  </a:lnTo>
                  <a:lnTo>
                    <a:pt x="7314" y="12867"/>
                  </a:lnTo>
                  <a:lnTo>
                    <a:pt x="7314" y="12858"/>
                  </a:lnTo>
                  <a:lnTo>
                    <a:pt x="7331" y="12849"/>
                  </a:lnTo>
                  <a:lnTo>
                    <a:pt x="7323" y="12840"/>
                  </a:lnTo>
                  <a:lnTo>
                    <a:pt x="7314" y="12840"/>
                  </a:lnTo>
                  <a:lnTo>
                    <a:pt x="7296" y="12849"/>
                  </a:lnTo>
                  <a:lnTo>
                    <a:pt x="7234" y="12840"/>
                  </a:lnTo>
                  <a:lnTo>
                    <a:pt x="7217" y="12831"/>
                  </a:lnTo>
                  <a:lnTo>
                    <a:pt x="7217" y="12849"/>
                  </a:lnTo>
                  <a:lnTo>
                    <a:pt x="7217" y="12858"/>
                  </a:lnTo>
                  <a:lnTo>
                    <a:pt x="7217" y="12867"/>
                  </a:lnTo>
                  <a:lnTo>
                    <a:pt x="7226" y="12867"/>
                  </a:lnTo>
                  <a:lnTo>
                    <a:pt x="7234" y="12867"/>
                  </a:lnTo>
                  <a:lnTo>
                    <a:pt x="7234" y="12876"/>
                  </a:lnTo>
                  <a:lnTo>
                    <a:pt x="7243" y="12884"/>
                  </a:lnTo>
                  <a:lnTo>
                    <a:pt x="7252" y="12884"/>
                  </a:lnTo>
                  <a:lnTo>
                    <a:pt x="7252" y="12893"/>
                  </a:lnTo>
                  <a:lnTo>
                    <a:pt x="7270" y="12893"/>
                  </a:lnTo>
                  <a:lnTo>
                    <a:pt x="7261" y="12884"/>
                  </a:lnTo>
                  <a:lnTo>
                    <a:pt x="7261" y="12876"/>
                  </a:lnTo>
                  <a:lnTo>
                    <a:pt x="7261" y="12867"/>
                  </a:lnTo>
                  <a:lnTo>
                    <a:pt x="7270" y="12867"/>
                  </a:lnTo>
                  <a:lnTo>
                    <a:pt x="7278" y="12867"/>
                  </a:lnTo>
                  <a:lnTo>
                    <a:pt x="7287" y="12876"/>
                  </a:lnTo>
                  <a:lnTo>
                    <a:pt x="7296" y="12867"/>
                  </a:lnTo>
                  <a:lnTo>
                    <a:pt x="7296" y="12876"/>
                  </a:lnTo>
                  <a:lnTo>
                    <a:pt x="7287" y="12884"/>
                  </a:lnTo>
                  <a:lnTo>
                    <a:pt x="7296" y="12893"/>
                  </a:lnTo>
                  <a:lnTo>
                    <a:pt x="7305" y="12893"/>
                  </a:lnTo>
                  <a:lnTo>
                    <a:pt x="7314" y="12893"/>
                  </a:lnTo>
                  <a:lnTo>
                    <a:pt x="7323" y="12893"/>
                  </a:lnTo>
                  <a:lnTo>
                    <a:pt x="7331" y="12893"/>
                  </a:lnTo>
                  <a:lnTo>
                    <a:pt x="7340" y="12902"/>
                  </a:lnTo>
                  <a:lnTo>
                    <a:pt x="7340" y="12911"/>
                  </a:lnTo>
                  <a:lnTo>
                    <a:pt x="7349" y="12911"/>
                  </a:lnTo>
                  <a:lnTo>
                    <a:pt x="7358" y="12911"/>
                  </a:lnTo>
                  <a:lnTo>
                    <a:pt x="7358" y="12902"/>
                  </a:lnTo>
                  <a:close/>
                  <a:moveTo>
                    <a:pt x="7173" y="12840"/>
                  </a:moveTo>
                  <a:lnTo>
                    <a:pt x="7164" y="12840"/>
                  </a:lnTo>
                  <a:lnTo>
                    <a:pt x="7155" y="12840"/>
                  </a:lnTo>
                  <a:lnTo>
                    <a:pt x="7146" y="12840"/>
                  </a:lnTo>
                  <a:lnTo>
                    <a:pt x="7137" y="12831"/>
                  </a:lnTo>
                  <a:lnTo>
                    <a:pt x="7128" y="12831"/>
                  </a:lnTo>
                  <a:lnTo>
                    <a:pt x="7111" y="12831"/>
                  </a:lnTo>
                  <a:lnTo>
                    <a:pt x="7111" y="12840"/>
                  </a:lnTo>
                  <a:lnTo>
                    <a:pt x="7120" y="12831"/>
                  </a:lnTo>
                  <a:lnTo>
                    <a:pt x="7128" y="12840"/>
                  </a:lnTo>
                  <a:lnTo>
                    <a:pt x="7137" y="12849"/>
                  </a:lnTo>
                  <a:lnTo>
                    <a:pt x="7146" y="12849"/>
                  </a:lnTo>
                  <a:lnTo>
                    <a:pt x="7155" y="12858"/>
                  </a:lnTo>
                  <a:lnTo>
                    <a:pt x="7164" y="12858"/>
                  </a:lnTo>
                  <a:lnTo>
                    <a:pt x="7173" y="12858"/>
                  </a:lnTo>
                  <a:lnTo>
                    <a:pt x="7181" y="12867"/>
                  </a:lnTo>
                  <a:lnTo>
                    <a:pt x="7190" y="12858"/>
                  </a:lnTo>
                  <a:lnTo>
                    <a:pt x="7190" y="12849"/>
                  </a:lnTo>
                  <a:lnTo>
                    <a:pt x="7181" y="12840"/>
                  </a:lnTo>
                  <a:close/>
                  <a:moveTo>
                    <a:pt x="4199" y="6954"/>
                  </a:moveTo>
                  <a:lnTo>
                    <a:pt x="4199" y="6962"/>
                  </a:lnTo>
                  <a:lnTo>
                    <a:pt x="4191" y="6962"/>
                  </a:lnTo>
                  <a:lnTo>
                    <a:pt x="4199" y="6971"/>
                  </a:lnTo>
                  <a:lnTo>
                    <a:pt x="4208" y="6962"/>
                  </a:lnTo>
                  <a:lnTo>
                    <a:pt x="4199" y="6962"/>
                  </a:lnTo>
                  <a:close/>
                  <a:moveTo>
                    <a:pt x="4314" y="10378"/>
                  </a:moveTo>
                  <a:lnTo>
                    <a:pt x="4314" y="10387"/>
                  </a:lnTo>
                  <a:lnTo>
                    <a:pt x="4323" y="10387"/>
                  </a:lnTo>
                  <a:lnTo>
                    <a:pt x="4332" y="10378"/>
                  </a:lnTo>
                  <a:lnTo>
                    <a:pt x="4323" y="10378"/>
                  </a:lnTo>
                  <a:close/>
                  <a:moveTo>
                    <a:pt x="1200" y="9187"/>
                  </a:moveTo>
                  <a:lnTo>
                    <a:pt x="1200" y="9195"/>
                  </a:lnTo>
                  <a:close/>
                  <a:moveTo>
                    <a:pt x="5637" y="8383"/>
                  </a:moveTo>
                  <a:lnTo>
                    <a:pt x="5637" y="8375"/>
                  </a:lnTo>
                  <a:lnTo>
                    <a:pt x="5637" y="8366"/>
                  </a:lnTo>
                  <a:lnTo>
                    <a:pt x="5620" y="8375"/>
                  </a:lnTo>
                  <a:lnTo>
                    <a:pt x="5620" y="8383"/>
                  </a:lnTo>
                  <a:lnTo>
                    <a:pt x="5629" y="8383"/>
                  </a:lnTo>
                  <a:close/>
                  <a:moveTo>
                    <a:pt x="5673" y="8392"/>
                  </a:moveTo>
                  <a:lnTo>
                    <a:pt x="5673" y="8383"/>
                  </a:lnTo>
                  <a:lnTo>
                    <a:pt x="5655" y="8366"/>
                  </a:lnTo>
                  <a:lnTo>
                    <a:pt x="5655" y="8357"/>
                  </a:lnTo>
                  <a:lnTo>
                    <a:pt x="5646" y="8348"/>
                  </a:lnTo>
                  <a:lnTo>
                    <a:pt x="5637" y="8339"/>
                  </a:lnTo>
                  <a:lnTo>
                    <a:pt x="5629" y="8339"/>
                  </a:lnTo>
                  <a:lnTo>
                    <a:pt x="5629" y="8348"/>
                  </a:lnTo>
                  <a:lnTo>
                    <a:pt x="5629" y="8357"/>
                  </a:lnTo>
                  <a:lnTo>
                    <a:pt x="5637" y="8348"/>
                  </a:lnTo>
                  <a:lnTo>
                    <a:pt x="5637" y="8357"/>
                  </a:lnTo>
                  <a:lnTo>
                    <a:pt x="5637" y="8375"/>
                  </a:lnTo>
                  <a:lnTo>
                    <a:pt x="5646" y="8375"/>
                  </a:lnTo>
                  <a:lnTo>
                    <a:pt x="5655" y="8383"/>
                  </a:lnTo>
                  <a:lnTo>
                    <a:pt x="5655" y="8392"/>
                  </a:lnTo>
                  <a:lnTo>
                    <a:pt x="5655" y="8401"/>
                  </a:lnTo>
                  <a:lnTo>
                    <a:pt x="5646" y="8401"/>
                  </a:lnTo>
                  <a:lnTo>
                    <a:pt x="5637" y="8410"/>
                  </a:lnTo>
                  <a:lnTo>
                    <a:pt x="5629" y="8410"/>
                  </a:lnTo>
                  <a:lnTo>
                    <a:pt x="5629" y="8419"/>
                  </a:lnTo>
                  <a:lnTo>
                    <a:pt x="5637" y="8427"/>
                  </a:lnTo>
                  <a:lnTo>
                    <a:pt x="5655" y="8427"/>
                  </a:lnTo>
                  <a:lnTo>
                    <a:pt x="5673" y="8419"/>
                  </a:lnTo>
                  <a:lnTo>
                    <a:pt x="5682" y="8410"/>
                  </a:lnTo>
                  <a:lnTo>
                    <a:pt x="5682" y="8401"/>
                  </a:lnTo>
                  <a:close/>
                  <a:moveTo>
                    <a:pt x="4129" y="6522"/>
                  </a:moveTo>
                  <a:lnTo>
                    <a:pt x="4120" y="6522"/>
                  </a:lnTo>
                  <a:lnTo>
                    <a:pt x="4147" y="6540"/>
                  </a:lnTo>
                  <a:lnTo>
                    <a:pt x="4147" y="6531"/>
                  </a:lnTo>
                  <a:lnTo>
                    <a:pt x="4138" y="6522"/>
                  </a:lnTo>
                  <a:close/>
                  <a:moveTo>
                    <a:pt x="3891" y="6222"/>
                  </a:moveTo>
                  <a:lnTo>
                    <a:pt x="3882" y="6222"/>
                  </a:lnTo>
                  <a:lnTo>
                    <a:pt x="3882" y="6231"/>
                  </a:lnTo>
                  <a:lnTo>
                    <a:pt x="3882" y="6240"/>
                  </a:lnTo>
                  <a:lnTo>
                    <a:pt x="3891" y="6249"/>
                  </a:lnTo>
                  <a:lnTo>
                    <a:pt x="3891" y="6240"/>
                  </a:lnTo>
                  <a:close/>
                  <a:moveTo>
                    <a:pt x="4111" y="6513"/>
                  </a:moveTo>
                  <a:lnTo>
                    <a:pt x="4111" y="6505"/>
                  </a:lnTo>
                  <a:lnTo>
                    <a:pt x="4111" y="6496"/>
                  </a:lnTo>
                  <a:lnTo>
                    <a:pt x="4111" y="6469"/>
                  </a:lnTo>
                  <a:lnTo>
                    <a:pt x="4111" y="6460"/>
                  </a:lnTo>
                  <a:lnTo>
                    <a:pt x="4111" y="6487"/>
                  </a:lnTo>
                  <a:lnTo>
                    <a:pt x="4102" y="6505"/>
                  </a:lnTo>
                  <a:lnTo>
                    <a:pt x="4111" y="6505"/>
                  </a:lnTo>
                  <a:lnTo>
                    <a:pt x="4111" y="6513"/>
                  </a:lnTo>
                  <a:lnTo>
                    <a:pt x="4120" y="6522"/>
                  </a:lnTo>
                  <a:close/>
                  <a:moveTo>
                    <a:pt x="6352" y="7810"/>
                  </a:moveTo>
                  <a:lnTo>
                    <a:pt x="6352" y="7801"/>
                  </a:lnTo>
                  <a:lnTo>
                    <a:pt x="6352" y="7792"/>
                  </a:lnTo>
                  <a:lnTo>
                    <a:pt x="6343" y="7792"/>
                  </a:lnTo>
                  <a:lnTo>
                    <a:pt x="6343" y="7801"/>
                  </a:lnTo>
                  <a:lnTo>
                    <a:pt x="6343" y="7810"/>
                  </a:lnTo>
                  <a:lnTo>
                    <a:pt x="6352" y="7819"/>
                  </a:lnTo>
                  <a:lnTo>
                    <a:pt x="6361" y="7819"/>
                  </a:lnTo>
                  <a:lnTo>
                    <a:pt x="6361" y="7810"/>
                  </a:lnTo>
                  <a:close/>
                  <a:moveTo>
                    <a:pt x="6564" y="10899"/>
                  </a:moveTo>
                  <a:lnTo>
                    <a:pt x="6555" y="10899"/>
                  </a:lnTo>
                  <a:lnTo>
                    <a:pt x="6555" y="10908"/>
                  </a:lnTo>
                  <a:lnTo>
                    <a:pt x="6564" y="10908"/>
                  </a:lnTo>
                  <a:close/>
                  <a:moveTo>
                    <a:pt x="6793" y="12214"/>
                  </a:moveTo>
                  <a:lnTo>
                    <a:pt x="6802" y="12231"/>
                  </a:lnTo>
                  <a:lnTo>
                    <a:pt x="6811" y="12231"/>
                  </a:lnTo>
                  <a:lnTo>
                    <a:pt x="6829" y="12223"/>
                  </a:lnTo>
                  <a:lnTo>
                    <a:pt x="6837" y="12205"/>
                  </a:lnTo>
                  <a:lnTo>
                    <a:pt x="6829" y="12178"/>
                  </a:lnTo>
                  <a:lnTo>
                    <a:pt x="6820" y="12170"/>
                  </a:lnTo>
                  <a:lnTo>
                    <a:pt x="6820" y="12161"/>
                  </a:lnTo>
                  <a:lnTo>
                    <a:pt x="6802" y="12170"/>
                  </a:lnTo>
                  <a:lnTo>
                    <a:pt x="6802" y="12178"/>
                  </a:lnTo>
                  <a:lnTo>
                    <a:pt x="6811" y="12187"/>
                  </a:lnTo>
                  <a:lnTo>
                    <a:pt x="6802" y="12196"/>
                  </a:lnTo>
                  <a:close/>
                  <a:moveTo>
                    <a:pt x="6855" y="12143"/>
                  </a:moveTo>
                  <a:lnTo>
                    <a:pt x="6846" y="12152"/>
                  </a:lnTo>
                  <a:lnTo>
                    <a:pt x="6829" y="12161"/>
                  </a:lnTo>
                  <a:lnTo>
                    <a:pt x="6829" y="12170"/>
                  </a:lnTo>
                  <a:lnTo>
                    <a:pt x="6829" y="12178"/>
                  </a:lnTo>
                  <a:lnTo>
                    <a:pt x="6837" y="12187"/>
                  </a:lnTo>
                  <a:lnTo>
                    <a:pt x="6837" y="12196"/>
                  </a:lnTo>
                  <a:lnTo>
                    <a:pt x="6846" y="12214"/>
                  </a:lnTo>
                  <a:lnTo>
                    <a:pt x="6846" y="12223"/>
                  </a:lnTo>
                  <a:lnTo>
                    <a:pt x="6864" y="12214"/>
                  </a:lnTo>
                  <a:lnTo>
                    <a:pt x="6873" y="12223"/>
                  </a:lnTo>
                  <a:lnTo>
                    <a:pt x="6873" y="12214"/>
                  </a:lnTo>
                  <a:lnTo>
                    <a:pt x="6873" y="12205"/>
                  </a:lnTo>
                  <a:lnTo>
                    <a:pt x="6873" y="12196"/>
                  </a:lnTo>
                  <a:lnTo>
                    <a:pt x="6873" y="12187"/>
                  </a:lnTo>
                  <a:lnTo>
                    <a:pt x="6864" y="12178"/>
                  </a:lnTo>
                  <a:lnTo>
                    <a:pt x="6864" y="12170"/>
                  </a:lnTo>
                  <a:lnTo>
                    <a:pt x="6855" y="12170"/>
                  </a:lnTo>
                  <a:lnTo>
                    <a:pt x="6855" y="12161"/>
                  </a:lnTo>
                  <a:close/>
                  <a:moveTo>
                    <a:pt x="6846" y="12134"/>
                  </a:moveTo>
                  <a:lnTo>
                    <a:pt x="6837" y="12134"/>
                  </a:lnTo>
                  <a:lnTo>
                    <a:pt x="6829" y="12134"/>
                  </a:lnTo>
                  <a:lnTo>
                    <a:pt x="6829" y="12143"/>
                  </a:lnTo>
                  <a:lnTo>
                    <a:pt x="6837" y="12143"/>
                  </a:lnTo>
                  <a:lnTo>
                    <a:pt x="6855" y="12143"/>
                  </a:lnTo>
                  <a:close/>
                  <a:moveTo>
                    <a:pt x="5796" y="8401"/>
                  </a:moveTo>
                  <a:lnTo>
                    <a:pt x="5787" y="8401"/>
                  </a:lnTo>
                  <a:lnTo>
                    <a:pt x="5779" y="8410"/>
                  </a:lnTo>
                  <a:lnTo>
                    <a:pt x="5770" y="8419"/>
                  </a:lnTo>
                  <a:lnTo>
                    <a:pt x="5779" y="8419"/>
                  </a:lnTo>
                  <a:lnTo>
                    <a:pt x="5787" y="8419"/>
                  </a:lnTo>
                  <a:lnTo>
                    <a:pt x="5787" y="8410"/>
                  </a:lnTo>
                  <a:lnTo>
                    <a:pt x="5796" y="8410"/>
                  </a:lnTo>
                  <a:close/>
                  <a:moveTo>
                    <a:pt x="5682" y="8366"/>
                  </a:moveTo>
                  <a:lnTo>
                    <a:pt x="5682" y="8375"/>
                  </a:lnTo>
                  <a:lnTo>
                    <a:pt x="5699" y="8375"/>
                  </a:lnTo>
                  <a:lnTo>
                    <a:pt x="5690" y="8366"/>
                  </a:lnTo>
                  <a:close/>
                  <a:moveTo>
                    <a:pt x="5708" y="8445"/>
                  </a:moveTo>
                  <a:lnTo>
                    <a:pt x="5708" y="8436"/>
                  </a:lnTo>
                  <a:lnTo>
                    <a:pt x="5708" y="8445"/>
                  </a:lnTo>
                  <a:lnTo>
                    <a:pt x="5717" y="8445"/>
                  </a:lnTo>
                  <a:close/>
                  <a:moveTo>
                    <a:pt x="5708" y="8392"/>
                  </a:moveTo>
                  <a:lnTo>
                    <a:pt x="5699" y="8392"/>
                  </a:lnTo>
                  <a:lnTo>
                    <a:pt x="5699" y="8401"/>
                  </a:lnTo>
                  <a:lnTo>
                    <a:pt x="5717" y="8410"/>
                  </a:lnTo>
                  <a:lnTo>
                    <a:pt x="5726" y="8401"/>
                  </a:lnTo>
                  <a:lnTo>
                    <a:pt x="5726" y="8392"/>
                  </a:lnTo>
                  <a:lnTo>
                    <a:pt x="5726" y="8383"/>
                  </a:lnTo>
                  <a:close/>
                  <a:moveTo>
                    <a:pt x="7393" y="12929"/>
                  </a:moveTo>
                  <a:lnTo>
                    <a:pt x="7376" y="12929"/>
                  </a:lnTo>
                  <a:lnTo>
                    <a:pt x="7367" y="12929"/>
                  </a:lnTo>
                  <a:lnTo>
                    <a:pt x="7367" y="12937"/>
                  </a:lnTo>
                  <a:lnTo>
                    <a:pt x="7376" y="12937"/>
                  </a:lnTo>
                  <a:lnTo>
                    <a:pt x="7384" y="12937"/>
                  </a:lnTo>
                  <a:lnTo>
                    <a:pt x="7393" y="12937"/>
                  </a:lnTo>
                  <a:close/>
                  <a:moveTo>
                    <a:pt x="6864" y="11949"/>
                  </a:moveTo>
                  <a:lnTo>
                    <a:pt x="6873" y="11949"/>
                  </a:lnTo>
                  <a:lnTo>
                    <a:pt x="6881" y="11958"/>
                  </a:lnTo>
                  <a:lnTo>
                    <a:pt x="6890" y="11949"/>
                  </a:lnTo>
                  <a:lnTo>
                    <a:pt x="6899" y="11949"/>
                  </a:lnTo>
                  <a:lnTo>
                    <a:pt x="6899" y="11940"/>
                  </a:lnTo>
                  <a:lnTo>
                    <a:pt x="6899" y="11931"/>
                  </a:lnTo>
                  <a:lnTo>
                    <a:pt x="6899" y="11914"/>
                  </a:lnTo>
                  <a:lnTo>
                    <a:pt x="6899" y="11905"/>
                  </a:lnTo>
                  <a:lnTo>
                    <a:pt x="6890" y="11905"/>
                  </a:lnTo>
                  <a:lnTo>
                    <a:pt x="6881" y="11905"/>
                  </a:lnTo>
                  <a:lnTo>
                    <a:pt x="6881" y="11914"/>
                  </a:lnTo>
                  <a:lnTo>
                    <a:pt x="6881" y="11922"/>
                  </a:lnTo>
                  <a:lnTo>
                    <a:pt x="6873" y="11931"/>
                  </a:lnTo>
                  <a:lnTo>
                    <a:pt x="6873" y="11940"/>
                  </a:lnTo>
                  <a:close/>
                  <a:moveTo>
                    <a:pt x="6467" y="8569"/>
                  </a:moveTo>
                  <a:lnTo>
                    <a:pt x="6467" y="8560"/>
                  </a:lnTo>
                  <a:lnTo>
                    <a:pt x="6476" y="8560"/>
                  </a:lnTo>
                  <a:lnTo>
                    <a:pt x="6484" y="8551"/>
                  </a:lnTo>
                  <a:lnTo>
                    <a:pt x="6476" y="8542"/>
                  </a:lnTo>
                  <a:lnTo>
                    <a:pt x="6467" y="8542"/>
                  </a:lnTo>
                  <a:lnTo>
                    <a:pt x="6467" y="8551"/>
                  </a:lnTo>
                  <a:lnTo>
                    <a:pt x="6458" y="8551"/>
                  </a:lnTo>
                  <a:lnTo>
                    <a:pt x="6458" y="8560"/>
                  </a:lnTo>
                  <a:lnTo>
                    <a:pt x="6458" y="8569"/>
                  </a:lnTo>
                  <a:close/>
                  <a:moveTo>
                    <a:pt x="6864" y="11755"/>
                  </a:moveTo>
                  <a:lnTo>
                    <a:pt x="6855" y="11755"/>
                  </a:lnTo>
                  <a:lnTo>
                    <a:pt x="6855" y="11764"/>
                  </a:lnTo>
                  <a:lnTo>
                    <a:pt x="6873" y="11764"/>
                  </a:lnTo>
                  <a:lnTo>
                    <a:pt x="6873" y="11755"/>
                  </a:lnTo>
                  <a:close/>
                  <a:moveTo>
                    <a:pt x="6546" y="7748"/>
                  </a:moveTo>
                  <a:lnTo>
                    <a:pt x="6537" y="7748"/>
                  </a:lnTo>
                  <a:close/>
                  <a:moveTo>
                    <a:pt x="6926" y="11772"/>
                  </a:moveTo>
                  <a:lnTo>
                    <a:pt x="6917" y="11781"/>
                  </a:lnTo>
                  <a:lnTo>
                    <a:pt x="6908" y="11781"/>
                  </a:lnTo>
                  <a:lnTo>
                    <a:pt x="6926" y="11790"/>
                  </a:lnTo>
                  <a:lnTo>
                    <a:pt x="6926" y="11781"/>
                  </a:lnTo>
                  <a:lnTo>
                    <a:pt x="6934" y="11781"/>
                  </a:lnTo>
                  <a:close/>
                  <a:moveTo>
                    <a:pt x="6970" y="11843"/>
                  </a:moveTo>
                  <a:lnTo>
                    <a:pt x="6961" y="11852"/>
                  </a:lnTo>
                  <a:lnTo>
                    <a:pt x="6961" y="11861"/>
                  </a:lnTo>
                  <a:lnTo>
                    <a:pt x="6970" y="11870"/>
                  </a:lnTo>
                  <a:lnTo>
                    <a:pt x="6978" y="11870"/>
                  </a:lnTo>
                  <a:lnTo>
                    <a:pt x="6996" y="11861"/>
                  </a:lnTo>
                  <a:lnTo>
                    <a:pt x="7005" y="11852"/>
                  </a:lnTo>
                  <a:lnTo>
                    <a:pt x="7005" y="11843"/>
                  </a:lnTo>
                  <a:lnTo>
                    <a:pt x="7005" y="11834"/>
                  </a:lnTo>
                  <a:lnTo>
                    <a:pt x="6987" y="11825"/>
                  </a:lnTo>
                  <a:lnTo>
                    <a:pt x="6978" y="11825"/>
                  </a:lnTo>
                  <a:lnTo>
                    <a:pt x="6970" y="11825"/>
                  </a:lnTo>
                  <a:lnTo>
                    <a:pt x="6970" y="11834"/>
                  </a:lnTo>
                  <a:close/>
                  <a:moveTo>
                    <a:pt x="6943" y="11843"/>
                  </a:moveTo>
                  <a:lnTo>
                    <a:pt x="6934" y="11843"/>
                  </a:lnTo>
                  <a:lnTo>
                    <a:pt x="6934" y="11852"/>
                  </a:lnTo>
                  <a:lnTo>
                    <a:pt x="6934" y="11861"/>
                  </a:lnTo>
                  <a:lnTo>
                    <a:pt x="6934" y="11870"/>
                  </a:lnTo>
                  <a:lnTo>
                    <a:pt x="6943" y="11870"/>
                  </a:lnTo>
                  <a:lnTo>
                    <a:pt x="6943" y="11861"/>
                  </a:lnTo>
                  <a:lnTo>
                    <a:pt x="6943" y="11852"/>
                  </a:lnTo>
                  <a:close/>
                  <a:moveTo>
                    <a:pt x="6555" y="8251"/>
                  </a:moveTo>
                  <a:lnTo>
                    <a:pt x="6555" y="8260"/>
                  </a:lnTo>
                  <a:close/>
                  <a:moveTo>
                    <a:pt x="4279" y="6540"/>
                  </a:moveTo>
                  <a:lnTo>
                    <a:pt x="4279" y="6549"/>
                  </a:lnTo>
                  <a:lnTo>
                    <a:pt x="4288" y="6549"/>
                  </a:lnTo>
                  <a:close/>
                  <a:moveTo>
                    <a:pt x="4023" y="6143"/>
                  </a:moveTo>
                  <a:lnTo>
                    <a:pt x="4023" y="6134"/>
                  </a:lnTo>
                  <a:lnTo>
                    <a:pt x="4014" y="6125"/>
                  </a:lnTo>
                  <a:lnTo>
                    <a:pt x="4005" y="6125"/>
                  </a:lnTo>
                  <a:lnTo>
                    <a:pt x="4005" y="6134"/>
                  </a:lnTo>
                  <a:lnTo>
                    <a:pt x="4005" y="6143"/>
                  </a:lnTo>
                  <a:lnTo>
                    <a:pt x="4014" y="6151"/>
                  </a:lnTo>
                  <a:lnTo>
                    <a:pt x="4032" y="6160"/>
                  </a:lnTo>
                  <a:lnTo>
                    <a:pt x="4041" y="6169"/>
                  </a:lnTo>
                  <a:lnTo>
                    <a:pt x="4041" y="6160"/>
                  </a:lnTo>
                  <a:lnTo>
                    <a:pt x="4041" y="6151"/>
                  </a:lnTo>
                  <a:close/>
                  <a:moveTo>
                    <a:pt x="4102" y="6151"/>
                  </a:moveTo>
                  <a:lnTo>
                    <a:pt x="4094" y="6151"/>
                  </a:lnTo>
                  <a:lnTo>
                    <a:pt x="4094" y="6160"/>
                  </a:lnTo>
                  <a:lnTo>
                    <a:pt x="4085" y="6178"/>
                  </a:lnTo>
                  <a:lnTo>
                    <a:pt x="4085" y="6187"/>
                  </a:lnTo>
                  <a:lnTo>
                    <a:pt x="4102" y="6187"/>
                  </a:lnTo>
                  <a:lnTo>
                    <a:pt x="4111" y="6169"/>
                  </a:lnTo>
                  <a:lnTo>
                    <a:pt x="4102" y="6160"/>
                  </a:lnTo>
                  <a:close/>
                  <a:moveTo>
                    <a:pt x="6555" y="7748"/>
                  </a:moveTo>
                  <a:lnTo>
                    <a:pt x="6564" y="7739"/>
                  </a:lnTo>
                  <a:lnTo>
                    <a:pt x="6564" y="7730"/>
                  </a:lnTo>
                  <a:lnTo>
                    <a:pt x="6555" y="7730"/>
                  </a:lnTo>
                  <a:lnTo>
                    <a:pt x="6555" y="7739"/>
                  </a:lnTo>
                  <a:close/>
                  <a:moveTo>
                    <a:pt x="3917" y="5948"/>
                  </a:moveTo>
                  <a:lnTo>
                    <a:pt x="3926" y="5957"/>
                  </a:lnTo>
                  <a:lnTo>
                    <a:pt x="3926" y="5948"/>
                  </a:lnTo>
                  <a:close/>
                  <a:moveTo>
                    <a:pt x="4191" y="6407"/>
                  </a:moveTo>
                  <a:lnTo>
                    <a:pt x="4182" y="6407"/>
                  </a:lnTo>
                  <a:lnTo>
                    <a:pt x="4182" y="6425"/>
                  </a:lnTo>
                  <a:lnTo>
                    <a:pt x="4182" y="6416"/>
                  </a:lnTo>
                  <a:lnTo>
                    <a:pt x="4191" y="6407"/>
                  </a:lnTo>
                  <a:lnTo>
                    <a:pt x="4191" y="6399"/>
                  </a:lnTo>
                  <a:close/>
                  <a:moveTo>
                    <a:pt x="6617" y="8163"/>
                  </a:moveTo>
                  <a:lnTo>
                    <a:pt x="6608" y="8154"/>
                  </a:lnTo>
                  <a:lnTo>
                    <a:pt x="6608" y="8163"/>
                  </a:lnTo>
                  <a:close/>
                  <a:moveTo>
                    <a:pt x="4226" y="6487"/>
                  </a:moveTo>
                  <a:lnTo>
                    <a:pt x="4217" y="6478"/>
                  </a:lnTo>
                  <a:lnTo>
                    <a:pt x="4217" y="6487"/>
                  </a:lnTo>
                  <a:lnTo>
                    <a:pt x="4226" y="6487"/>
                  </a:lnTo>
                  <a:lnTo>
                    <a:pt x="4226" y="6496"/>
                  </a:lnTo>
                  <a:lnTo>
                    <a:pt x="4235" y="6496"/>
                  </a:lnTo>
                  <a:close/>
                  <a:moveTo>
                    <a:pt x="6899" y="11711"/>
                  </a:moveTo>
                  <a:lnTo>
                    <a:pt x="6890" y="11719"/>
                  </a:lnTo>
                  <a:lnTo>
                    <a:pt x="6890" y="11728"/>
                  </a:lnTo>
                  <a:lnTo>
                    <a:pt x="6899" y="11737"/>
                  </a:lnTo>
                  <a:lnTo>
                    <a:pt x="6908" y="11737"/>
                  </a:lnTo>
                  <a:lnTo>
                    <a:pt x="6917" y="11737"/>
                  </a:lnTo>
                  <a:lnTo>
                    <a:pt x="6926" y="11737"/>
                  </a:lnTo>
                  <a:lnTo>
                    <a:pt x="6934" y="11737"/>
                  </a:lnTo>
                  <a:lnTo>
                    <a:pt x="6934" y="11728"/>
                  </a:lnTo>
                  <a:lnTo>
                    <a:pt x="6934" y="11719"/>
                  </a:lnTo>
                  <a:lnTo>
                    <a:pt x="6943" y="11719"/>
                  </a:lnTo>
                  <a:lnTo>
                    <a:pt x="6952" y="11711"/>
                  </a:lnTo>
                  <a:lnTo>
                    <a:pt x="6961" y="11702"/>
                  </a:lnTo>
                  <a:lnTo>
                    <a:pt x="6952" y="11693"/>
                  </a:lnTo>
                  <a:lnTo>
                    <a:pt x="6952" y="11684"/>
                  </a:lnTo>
                  <a:lnTo>
                    <a:pt x="6943" y="11675"/>
                  </a:lnTo>
                  <a:lnTo>
                    <a:pt x="6934" y="11675"/>
                  </a:lnTo>
                  <a:lnTo>
                    <a:pt x="6934" y="11667"/>
                  </a:lnTo>
                  <a:lnTo>
                    <a:pt x="6943" y="11667"/>
                  </a:lnTo>
                  <a:lnTo>
                    <a:pt x="6943" y="11658"/>
                  </a:lnTo>
                  <a:lnTo>
                    <a:pt x="6952" y="11658"/>
                  </a:lnTo>
                  <a:lnTo>
                    <a:pt x="6961" y="11658"/>
                  </a:lnTo>
                  <a:lnTo>
                    <a:pt x="6952" y="11649"/>
                  </a:lnTo>
                  <a:lnTo>
                    <a:pt x="6961" y="11640"/>
                  </a:lnTo>
                  <a:lnTo>
                    <a:pt x="6961" y="11631"/>
                  </a:lnTo>
                  <a:lnTo>
                    <a:pt x="6961" y="11622"/>
                  </a:lnTo>
                  <a:lnTo>
                    <a:pt x="6952" y="11614"/>
                  </a:lnTo>
                  <a:lnTo>
                    <a:pt x="6952" y="11605"/>
                  </a:lnTo>
                  <a:lnTo>
                    <a:pt x="6934" y="11605"/>
                  </a:lnTo>
                  <a:lnTo>
                    <a:pt x="6917" y="11596"/>
                  </a:lnTo>
                  <a:lnTo>
                    <a:pt x="6917" y="11605"/>
                  </a:lnTo>
                  <a:lnTo>
                    <a:pt x="6917" y="11614"/>
                  </a:lnTo>
                  <a:lnTo>
                    <a:pt x="6917" y="11622"/>
                  </a:lnTo>
                  <a:lnTo>
                    <a:pt x="6908" y="11640"/>
                  </a:lnTo>
                  <a:lnTo>
                    <a:pt x="6908" y="11649"/>
                  </a:lnTo>
                  <a:lnTo>
                    <a:pt x="6908" y="11658"/>
                  </a:lnTo>
                  <a:lnTo>
                    <a:pt x="6899" y="11658"/>
                  </a:lnTo>
                  <a:lnTo>
                    <a:pt x="6908" y="11667"/>
                  </a:lnTo>
                  <a:lnTo>
                    <a:pt x="6899" y="11693"/>
                  </a:lnTo>
                  <a:close/>
                  <a:moveTo>
                    <a:pt x="7967" y="12558"/>
                  </a:moveTo>
                  <a:lnTo>
                    <a:pt x="7967" y="12567"/>
                  </a:lnTo>
                  <a:close/>
                  <a:moveTo>
                    <a:pt x="8099" y="12505"/>
                  </a:moveTo>
                  <a:lnTo>
                    <a:pt x="8099" y="12496"/>
                  </a:lnTo>
                  <a:lnTo>
                    <a:pt x="8108" y="12496"/>
                  </a:lnTo>
                  <a:lnTo>
                    <a:pt x="8099" y="12487"/>
                  </a:lnTo>
                  <a:lnTo>
                    <a:pt x="8081" y="12487"/>
                  </a:lnTo>
                  <a:lnTo>
                    <a:pt x="8072" y="12487"/>
                  </a:lnTo>
                  <a:lnTo>
                    <a:pt x="8072" y="12496"/>
                  </a:lnTo>
                  <a:lnTo>
                    <a:pt x="8072" y="12505"/>
                  </a:lnTo>
                  <a:lnTo>
                    <a:pt x="8081" y="12505"/>
                  </a:lnTo>
                  <a:lnTo>
                    <a:pt x="8072" y="12505"/>
                  </a:lnTo>
                  <a:lnTo>
                    <a:pt x="8064" y="12496"/>
                  </a:lnTo>
                  <a:lnTo>
                    <a:pt x="8055" y="12496"/>
                  </a:lnTo>
                  <a:lnTo>
                    <a:pt x="8055" y="12487"/>
                  </a:lnTo>
                  <a:lnTo>
                    <a:pt x="8064" y="12487"/>
                  </a:lnTo>
                  <a:lnTo>
                    <a:pt x="8064" y="12478"/>
                  </a:lnTo>
                  <a:lnTo>
                    <a:pt x="8055" y="12478"/>
                  </a:lnTo>
                  <a:lnTo>
                    <a:pt x="8046" y="12478"/>
                  </a:lnTo>
                  <a:lnTo>
                    <a:pt x="8028" y="12470"/>
                  </a:lnTo>
                  <a:lnTo>
                    <a:pt x="8028" y="12478"/>
                  </a:lnTo>
                  <a:lnTo>
                    <a:pt x="8011" y="12496"/>
                  </a:lnTo>
                  <a:lnTo>
                    <a:pt x="8011" y="12505"/>
                  </a:lnTo>
                  <a:lnTo>
                    <a:pt x="8020" y="12514"/>
                  </a:lnTo>
                  <a:lnTo>
                    <a:pt x="8011" y="12514"/>
                  </a:lnTo>
                  <a:lnTo>
                    <a:pt x="8002" y="12523"/>
                  </a:lnTo>
                  <a:lnTo>
                    <a:pt x="7975" y="12540"/>
                  </a:lnTo>
                  <a:lnTo>
                    <a:pt x="7984" y="12540"/>
                  </a:lnTo>
                  <a:lnTo>
                    <a:pt x="7975" y="12549"/>
                  </a:lnTo>
                  <a:lnTo>
                    <a:pt x="7975" y="12558"/>
                  </a:lnTo>
                  <a:lnTo>
                    <a:pt x="7984" y="12567"/>
                  </a:lnTo>
                  <a:lnTo>
                    <a:pt x="7993" y="12576"/>
                  </a:lnTo>
                  <a:lnTo>
                    <a:pt x="7993" y="12567"/>
                  </a:lnTo>
                  <a:lnTo>
                    <a:pt x="8002" y="12567"/>
                  </a:lnTo>
                  <a:lnTo>
                    <a:pt x="8011" y="12567"/>
                  </a:lnTo>
                  <a:lnTo>
                    <a:pt x="8020" y="12558"/>
                  </a:lnTo>
                  <a:lnTo>
                    <a:pt x="8011" y="12549"/>
                  </a:lnTo>
                  <a:lnTo>
                    <a:pt x="8046" y="12558"/>
                  </a:lnTo>
                  <a:lnTo>
                    <a:pt x="8046" y="12549"/>
                  </a:lnTo>
                  <a:lnTo>
                    <a:pt x="8046" y="12540"/>
                  </a:lnTo>
                  <a:lnTo>
                    <a:pt x="8072" y="12531"/>
                  </a:lnTo>
                  <a:lnTo>
                    <a:pt x="8081" y="12531"/>
                  </a:lnTo>
                  <a:lnTo>
                    <a:pt x="8081" y="12523"/>
                  </a:lnTo>
                  <a:lnTo>
                    <a:pt x="8090" y="12523"/>
                  </a:lnTo>
                  <a:lnTo>
                    <a:pt x="8108" y="12514"/>
                  </a:lnTo>
                  <a:lnTo>
                    <a:pt x="8108" y="12505"/>
                  </a:lnTo>
                  <a:close/>
                  <a:moveTo>
                    <a:pt x="8064" y="12549"/>
                  </a:moveTo>
                  <a:lnTo>
                    <a:pt x="8055" y="12549"/>
                  </a:lnTo>
                  <a:lnTo>
                    <a:pt x="8064" y="12558"/>
                  </a:lnTo>
                  <a:close/>
                  <a:moveTo>
                    <a:pt x="8787" y="10307"/>
                  </a:moveTo>
                  <a:lnTo>
                    <a:pt x="8778" y="10316"/>
                  </a:lnTo>
                  <a:lnTo>
                    <a:pt x="8787" y="10325"/>
                  </a:lnTo>
                  <a:lnTo>
                    <a:pt x="8787" y="10316"/>
                  </a:lnTo>
                  <a:lnTo>
                    <a:pt x="8796" y="10316"/>
                  </a:lnTo>
                  <a:close/>
                  <a:moveTo>
                    <a:pt x="8796" y="10404"/>
                  </a:moveTo>
                  <a:lnTo>
                    <a:pt x="8796" y="10413"/>
                  </a:lnTo>
                  <a:lnTo>
                    <a:pt x="8787" y="10422"/>
                  </a:lnTo>
                  <a:lnTo>
                    <a:pt x="8787" y="10440"/>
                  </a:lnTo>
                  <a:lnTo>
                    <a:pt x="8796" y="10431"/>
                  </a:lnTo>
                  <a:lnTo>
                    <a:pt x="8796" y="10422"/>
                  </a:lnTo>
                  <a:lnTo>
                    <a:pt x="8805" y="10404"/>
                  </a:lnTo>
                  <a:close/>
                  <a:moveTo>
                    <a:pt x="7808" y="11366"/>
                  </a:moveTo>
                  <a:lnTo>
                    <a:pt x="7799" y="11366"/>
                  </a:lnTo>
                  <a:lnTo>
                    <a:pt x="7790" y="11366"/>
                  </a:lnTo>
                  <a:lnTo>
                    <a:pt x="7799" y="11366"/>
                  </a:lnTo>
                  <a:lnTo>
                    <a:pt x="7808" y="11375"/>
                  </a:lnTo>
                  <a:close/>
                  <a:moveTo>
                    <a:pt x="7878" y="12531"/>
                  </a:moveTo>
                  <a:lnTo>
                    <a:pt x="7887" y="12523"/>
                  </a:lnTo>
                  <a:lnTo>
                    <a:pt x="7878" y="12523"/>
                  </a:lnTo>
                  <a:lnTo>
                    <a:pt x="7870" y="12523"/>
                  </a:lnTo>
                  <a:lnTo>
                    <a:pt x="7861" y="12531"/>
                  </a:lnTo>
                  <a:lnTo>
                    <a:pt x="7870" y="12531"/>
                  </a:lnTo>
                  <a:lnTo>
                    <a:pt x="7870" y="12540"/>
                  </a:lnTo>
                  <a:lnTo>
                    <a:pt x="7878" y="12540"/>
                  </a:lnTo>
                  <a:close/>
                  <a:moveTo>
                    <a:pt x="7940" y="12478"/>
                  </a:moveTo>
                  <a:lnTo>
                    <a:pt x="7931" y="12478"/>
                  </a:lnTo>
                  <a:lnTo>
                    <a:pt x="7931" y="12487"/>
                  </a:lnTo>
                  <a:lnTo>
                    <a:pt x="7940" y="12487"/>
                  </a:lnTo>
                  <a:close/>
                  <a:moveTo>
                    <a:pt x="7975" y="12514"/>
                  </a:moveTo>
                  <a:lnTo>
                    <a:pt x="7984" y="12505"/>
                  </a:lnTo>
                  <a:lnTo>
                    <a:pt x="7993" y="12505"/>
                  </a:lnTo>
                  <a:lnTo>
                    <a:pt x="7993" y="12496"/>
                  </a:lnTo>
                  <a:lnTo>
                    <a:pt x="8002" y="12496"/>
                  </a:lnTo>
                  <a:lnTo>
                    <a:pt x="8002" y="12487"/>
                  </a:lnTo>
                  <a:lnTo>
                    <a:pt x="7993" y="12487"/>
                  </a:lnTo>
                  <a:lnTo>
                    <a:pt x="7993" y="12478"/>
                  </a:lnTo>
                  <a:lnTo>
                    <a:pt x="7984" y="12487"/>
                  </a:lnTo>
                  <a:lnTo>
                    <a:pt x="7967" y="12487"/>
                  </a:lnTo>
                  <a:lnTo>
                    <a:pt x="7958" y="12487"/>
                  </a:lnTo>
                  <a:lnTo>
                    <a:pt x="7949" y="12487"/>
                  </a:lnTo>
                  <a:lnTo>
                    <a:pt x="7940" y="12496"/>
                  </a:lnTo>
                  <a:lnTo>
                    <a:pt x="7922" y="12496"/>
                  </a:lnTo>
                  <a:lnTo>
                    <a:pt x="7914" y="12487"/>
                  </a:lnTo>
                  <a:lnTo>
                    <a:pt x="7914" y="12478"/>
                  </a:lnTo>
                  <a:lnTo>
                    <a:pt x="7905" y="12478"/>
                  </a:lnTo>
                  <a:lnTo>
                    <a:pt x="7905" y="12487"/>
                  </a:lnTo>
                  <a:lnTo>
                    <a:pt x="7905" y="12496"/>
                  </a:lnTo>
                  <a:lnTo>
                    <a:pt x="7914" y="12496"/>
                  </a:lnTo>
                  <a:lnTo>
                    <a:pt x="7914" y="12505"/>
                  </a:lnTo>
                  <a:lnTo>
                    <a:pt x="7922" y="12505"/>
                  </a:lnTo>
                  <a:lnTo>
                    <a:pt x="7931" y="12514"/>
                  </a:lnTo>
                  <a:lnTo>
                    <a:pt x="7922" y="12514"/>
                  </a:lnTo>
                  <a:lnTo>
                    <a:pt x="7914" y="12514"/>
                  </a:lnTo>
                  <a:lnTo>
                    <a:pt x="7905" y="12514"/>
                  </a:lnTo>
                  <a:lnTo>
                    <a:pt x="7914" y="12523"/>
                  </a:lnTo>
                  <a:lnTo>
                    <a:pt x="7922" y="12523"/>
                  </a:lnTo>
                  <a:lnTo>
                    <a:pt x="7922" y="12514"/>
                  </a:lnTo>
                  <a:lnTo>
                    <a:pt x="7931" y="12523"/>
                  </a:lnTo>
                  <a:lnTo>
                    <a:pt x="7922" y="12523"/>
                  </a:lnTo>
                  <a:lnTo>
                    <a:pt x="7922" y="12531"/>
                  </a:lnTo>
                  <a:lnTo>
                    <a:pt x="7914" y="12531"/>
                  </a:lnTo>
                  <a:lnTo>
                    <a:pt x="7905" y="12540"/>
                  </a:lnTo>
                  <a:lnTo>
                    <a:pt x="7887" y="12540"/>
                  </a:lnTo>
                  <a:lnTo>
                    <a:pt x="7878" y="12549"/>
                  </a:lnTo>
                  <a:lnTo>
                    <a:pt x="7887" y="12558"/>
                  </a:lnTo>
                  <a:lnTo>
                    <a:pt x="7896" y="12567"/>
                  </a:lnTo>
                  <a:lnTo>
                    <a:pt x="7914" y="12567"/>
                  </a:lnTo>
                  <a:lnTo>
                    <a:pt x="7914" y="12558"/>
                  </a:lnTo>
                  <a:lnTo>
                    <a:pt x="7922" y="12558"/>
                  </a:lnTo>
                  <a:lnTo>
                    <a:pt x="7922" y="12549"/>
                  </a:lnTo>
                  <a:lnTo>
                    <a:pt x="7931" y="12540"/>
                  </a:lnTo>
                  <a:lnTo>
                    <a:pt x="7940" y="12540"/>
                  </a:lnTo>
                  <a:lnTo>
                    <a:pt x="7949" y="12540"/>
                  </a:lnTo>
                  <a:lnTo>
                    <a:pt x="7967" y="12523"/>
                  </a:lnTo>
                  <a:close/>
                  <a:moveTo>
                    <a:pt x="9793" y="8860"/>
                  </a:moveTo>
                  <a:lnTo>
                    <a:pt x="9793" y="8851"/>
                  </a:lnTo>
                  <a:lnTo>
                    <a:pt x="9784" y="8816"/>
                  </a:lnTo>
                  <a:lnTo>
                    <a:pt x="9775" y="8807"/>
                  </a:lnTo>
                  <a:lnTo>
                    <a:pt x="9775" y="8781"/>
                  </a:lnTo>
                  <a:lnTo>
                    <a:pt x="9766" y="8754"/>
                  </a:lnTo>
                  <a:lnTo>
                    <a:pt x="9758" y="8736"/>
                  </a:lnTo>
                  <a:lnTo>
                    <a:pt x="9749" y="8728"/>
                  </a:lnTo>
                  <a:lnTo>
                    <a:pt x="9713" y="8719"/>
                  </a:lnTo>
                  <a:lnTo>
                    <a:pt x="9696" y="8728"/>
                  </a:lnTo>
                  <a:lnTo>
                    <a:pt x="9687" y="8719"/>
                  </a:lnTo>
                  <a:lnTo>
                    <a:pt x="9669" y="8728"/>
                  </a:lnTo>
                  <a:lnTo>
                    <a:pt x="9660" y="8719"/>
                  </a:lnTo>
                  <a:lnTo>
                    <a:pt x="9652" y="8710"/>
                  </a:lnTo>
                  <a:lnTo>
                    <a:pt x="9643" y="8710"/>
                  </a:lnTo>
                  <a:lnTo>
                    <a:pt x="9625" y="8710"/>
                  </a:lnTo>
                  <a:lnTo>
                    <a:pt x="9616" y="8692"/>
                  </a:lnTo>
                  <a:lnTo>
                    <a:pt x="9590" y="8683"/>
                  </a:lnTo>
                  <a:lnTo>
                    <a:pt x="9581" y="8675"/>
                  </a:lnTo>
                  <a:lnTo>
                    <a:pt x="9563" y="8657"/>
                  </a:lnTo>
                  <a:lnTo>
                    <a:pt x="9546" y="8639"/>
                  </a:lnTo>
                  <a:lnTo>
                    <a:pt x="9537" y="8630"/>
                  </a:lnTo>
                  <a:lnTo>
                    <a:pt x="9528" y="8622"/>
                  </a:lnTo>
                  <a:lnTo>
                    <a:pt x="9511" y="8622"/>
                  </a:lnTo>
                  <a:lnTo>
                    <a:pt x="9502" y="8604"/>
                  </a:lnTo>
                  <a:lnTo>
                    <a:pt x="9493" y="8595"/>
                  </a:lnTo>
                  <a:lnTo>
                    <a:pt x="9466" y="8586"/>
                  </a:lnTo>
                  <a:lnTo>
                    <a:pt x="9458" y="8578"/>
                  </a:lnTo>
                  <a:lnTo>
                    <a:pt x="9449" y="8578"/>
                  </a:lnTo>
                  <a:lnTo>
                    <a:pt x="9431" y="8569"/>
                  </a:lnTo>
                  <a:lnTo>
                    <a:pt x="9422" y="8560"/>
                  </a:lnTo>
                  <a:lnTo>
                    <a:pt x="9396" y="8560"/>
                  </a:lnTo>
                  <a:lnTo>
                    <a:pt x="9378" y="8551"/>
                  </a:lnTo>
                  <a:lnTo>
                    <a:pt x="9352" y="8560"/>
                  </a:lnTo>
                  <a:lnTo>
                    <a:pt x="9325" y="8560"/>
                  </a:lnTo>
                  <a:lnTo>
                    <a:pt x="9316" y="8569"/>
                  </a:lnTo>
                  <a:lnTo>
                    <a:pt x="9308" y="8560"/>
                  </a:lnTo>
                  <a:lnTo>
                    <a:pt x="9299" y="8560"/>
                  </a:lnTo>
                  <a:lnTo>
                    <a:pt x="9290" y="8560"/>
                  </a:lnTo>
                  <a:lnTo>
                    <a:pt x="9281" y="8551"/>
                  </a:lnTo>
                  <a:lnTo>
                    <a:pt x="9272" y="8560"/>
                  </a:lnTo>
                  <a:lnTo>
                    <a:pt x="9255" y="8551"/>
                  </a:lnTo>
                  <a:lnTo>
                    <a:pt x="9228" y="8542"/>
                  </a:lnTo>
                  <a:lnTo>
                    <a:pt x="9219" y="8542"/>
                  </a:lnTo>
                  <a:lnTo>
                    <a:pt x="9211" y="8533"/>
                  </a:lnTo>
                  <a:lnTo>
                    <a:pt x="9202" y="8533"/>
                  </a:lnTo>
                  <a:lnTo>
                    <a:pt x="9184" y="8525"/>
                  </a:lnTo>
                  <a:lnTo>
                    <a:pt x="9166" y="8525"/>
                  </a:lnTo>
                  <a:lnTo>
                    <a:pt x="9166" y="8533"/>
                  </a:lnTo>
                  <a:lnTo>
                    <a:pt x="9140" y="8533"/>
                  </a:lnTo>
                  <a:lnTo>
                    <a:pt x="9131" y="8542"/>
                  </a:lnTo>
                  <a:lnTo>
                    <a:pt x="9122" y="8542"/>
                  </a:lnTo>
                  <a:lnTo>
                    <a:pt x="9114" y="8560"/>
                  </a:lnTo>
                  <a:lnTo>
                    <a:pt x="9105" y="8551"/>
                  </a:lnTo>
                  <a:lnTo>
                    <a:pt x="9114" y="8551"/>
                  </a:lnTo>
                  <a:lnTo>
                    <a:pt x="9114" y="8542"/>
                  </a:lnTo>
                  <a:lnTo>
                    <a:pt x="9114" y="8533"/>
                  </a:lnTo>
                  <a:lnTo>
                    <a:pt x="9105" y="8533"/>
                  </a:lnTo>
                  <a:lnTo>
                    <a:pt x="9096" y="8551"/>
                  </a:lnTo>
                  <a:lnTo>
                    <a:pt x="9087" y="8569"/>
                  </a:lnTo>
                  <a:lnTo>
                    <a:pt x="9078" y="8578"/>
                  </a:lnTo>
                  <a:lnTo>
                    <a:pt x="9069" y="8586"/>
                  </a:lnTo>
                  <a:lnTo>
                    <a:pt x="9069" y="8578"/>
                  </a:lnTo>
                  <a:lnTo>
                    <a:pt x="9078" y="8551"/>
                  </a:lnTo>
                  <a:lnTo>
                    <a:pt x="9078" y="8542"/>
                  </a:lnTo>
                  <a:lnTo>
                    <a:pt x="9078" y="8533"/>
                  </a:lnTo>
                  <a:lnTo>
                    <a:pt x="9087" y="8533"/>
                  </a:lnTo>
                  <a:lnTo>
                    <a:pt x="9087" y="8525"/>
                  </a:lnTo>
                  <a:lnTo>
                    <a:pt x="9096" y="8525"/>
                  </a:lnTo>
                  <a:lnTo>
                    <a:pt x="9096" y="8516"/>
                  </a:lnTo>
                  <a:lnTo>
                    <a:pt x="9087" y="8507"/>
                  </a:lnTo>
                  <a:lnTo>
                    <a:pt x="9078" y="8516"/>
                  </a:lnTo>
                  <a:lnTo>
                    <a:pt x="9078" y="8525"/>
                  </a:lnTo>
                  <a:lnTo>
                    <a:pt x="9069" y="8525"/>
                  </a:lnTo>
                  <a:lnTo>
                    <a:pt x="9069" y="8516"/>
                  </a:lnTo>
                  <a:lnTo>
                    <a:pt x="9078" y="8516"/>
                  </a:lnTo>
                  <a:lnTo>
                    <a:pt x="9078" y="8507"/>
                  </a:lnTo>
                  <a:lnTo>
                    <a:pt x="9087" y="8498"/>
                  </a:lnTo>
                  <a:lnTo>
                    <a:pt x="9087" y="8489"/>
                  </a:lnTo>
                  <a:lnTo>
                    <a:pt x="9078" y="8489"/>
                  </a:lnTo>
                  <a:lnTo>
                    <a:pt x="9078" y="8480"/>
                  </a:lnTo>
                  <a:lnTo>
                    <a:pt x="9069" y="8480"/>
                  </a:lnTo>
                  <a:lnTo>
                    <a:pt x="9061" y="8472"/>
                  </a:lnTo>
                  <a:lnTo>
                    <a:pt x="9052" y="8472"/>
                  </a:lnTo>
                  <a:lnTo>
                    <a:pt x="9052" y="8463"/>
                  </a:lnTo>
                  <a:lnTo>
                    <a:pt x="9043" y="8454"/>
                  </a:lnTo>
                  <a:lnTo>
                    <a:pt x="9034" y="8463"/>
                  </a:lnTo>
                  <a:lnTo>
                    <a:pt x="9034" y="8472"/>
                  </a:lnTo>
                  <a:lnTo>
                    <a:pt x="9025" y="8472"/>
                  </a:lnTo>
                  <a:lnTo>
                    <a:pt x="9025" y="8480"/>
                  </a:lnTo>
                  <a:lnTo>
                    <a:pt x="9025" y="8463"/>
                  </a:lnTo>
                  <a:lnTo>
                    <a:pt x="9016" y="8454"/>
                  </a:lnTo>
                  <a:lnTo>
                    <a:pt x="9008" y="8445"/>
                  </a:lnTo>
                  <a:lnTo>
                    <a:pt x="8999" y="8454"/>
                  </a:lnTo>
                  <a:lnTo>
                    <a:pt x="8990" y="8445"/>
                  </a:lnTo>
                  <a:lnTo>
                    <a:pt x="8981" y="8436"/>
                  </a:lnTo>
                  <a:lnTo>
                    <a:pt x="8972" y="8427"/>
                  </a:lnTo>
                  <a:lnTo>
                    <a:pt x="8964" y="8436"/>
                  </a:lnTo>
                  <a:lnTo>
                    <a:pt x="8964" y="8427"/>
                  </a:lnTo>
                  <a:lnTo>
                    <a:pt x="8955" y="8427"/>
                  </a:lnTo>
                  <a:lnTo>
                    <a:pt x="8946" y="8427"/>
                  </a:lnTo>
                  <a:lnTo>
                    <a:pt x="8937" y="8427"/>
                  </a:lnTo>
                  <a:lnTo>
                    <a:pt x="8928" y="8419"/>
                  </a:lnTo>
                  <a:lnTo>
                    <a:pt x="8919" y="8410"/>
                  </a:lnTo>
                  <a:lnTo>
                    <a:pt x="8911" y="8410"/>
                  </a:lnTo>
                  <a:lnTo>
                    <a:pt x="8902" y="8410"/>
                  </a:lnTo>
                  <a:lnTo>
                    <a:pt x="8893" y="8410"/>
                  </a:lnTo>
                  <a:lnTo>
                    <a:pt x="8884" y="8401"/>
                  </a:lnTo>
                  <a:lnTo>
                    <a:pt x="8875" y="8401"/>
                  </a:lnTo>
                  <a:lnTo>
                    <a:pt x="8866" y="8401"/>
                  </a:lnTo>
                  <a:lnTo>
                    <a:pt x="8875" y="8401"/>
                  </a:lnTo>
                  <a:lnTo>
                    <a:pt x="8875" y="8410"/>
                  </a:lnTo>
                  <a:lnTo>
                    <a:pt x="8866" y="8410"/>
                  </a:lnTo>
                  <a:lnTo>
                    <a:pt x="8858" y="8401"/>
                  </a:lnTo>
                  <a:lnTo>
                    <a:pt x="8849" y="8401"/>
                  </a:lnTo>
                  <a:lnTo>
                    <a:pt x="8840" y="8401"/>
                  </a:lnTo>
                  <a:lnTo>
                    <a:pt x="8831" y="8410"/>
                  </a:lnTo>
                  <a:lnTo>
                    <a:pt x="8831" y="8401"/>
                  </a:lnTo>
                  <a:lnTo>
                    <a:pt x="8822" y="8401"/>
                  </a:lnTo>
                  <a:lnTo>
                    <a:pt x="8822" y="8410"/>
                  </a:lnTo>
                  <a:lnTo>
                    <a:pt x="8814" y="8410"/>
                  </a:lnTo>
                  <a:lnTo>
                    <a:pt x="8814" y="8419"/>
                  </a:lnTo>
                  <a:lnTo>
                    <a:pt x="8805" y="8419"/>
                  </a:lnTo>
                  <a:lnTo>
                    <a:pt x="8805" y="8427"/>
                  </a:lnTo>
                  <a:lnTo>
                    <a:pt x="8796" y="8436"/>
                  </a:lnTo>
                  <a:lnTo>
                    <a:pt x="8796" y="8445"/>
                  </a:lnTo>
                  <a:lnTo>
                    <a:pt x="8796" y="8454"/>
                  </a:lnTo>
                  <a:lnTo>
                    <a:pt x="8805" y="8463"/>
                  </a:lnTo>
                  <a:lnTo>
                    <a:pt x="8796" y="8463"/>
                  </a:lnTo>
                  <a:lnTo>
                    <a:pt x="8796" y="8472"/>
                  </a:lnTo>
                  <a:lnTo>
                    <a:pt x="8787" y="8463"/>
                  </a:lnTo>
                  <a:lnTo>
                    <a:pt x="8778" y="8463"/>
                  </a:lnTo>
                  <a:lnTo>
                    <a:pt x="8761" y="8480"/>
                  </a:lnTo>
                  <a:lnTo>
                    <a:pt x="8743" y="8489"/>
                  </a:lnTo>
                  <a:lnTo>
                    <a:pt x="8725" y="8525"/>
                  </a:lnTo>
                  <a:lnTo>
                    <a:pt x="8725" y="8533"/>
                  </a:lnTo>
                  <a:lnTo>
                    <a:pt x="8717" y="8542"/>
                  </a:lnTo>
                  <a:lnTo>
                    <a:pt x="8708" y="8542"/>
                  </a:lnTo>
                  <a:lnTo>
                    <a:pt x="8717" y="8533"/>
                  </a:lnTo>
                  <a:lnTo>
                    <a:pt x="8717" y="8516"/>
                  </a:lnTo>
                  <a:lnTo>
                    <a:pt x="8725" y="8507"/>
                  </a:lnTo>
                  <a:lnTo>
                    <a:pt x="8725" y="8498"/>
                  </a:lnTo>
                  <a:lnTo>
                    <a:pt x="8734" y="8480"/>
                  </a:lnTo>
                  <a:lnTo>
                    <a:pt x="8717" y="8489"/>
                  </a:lnTo>
                  <a:lnTo>
                    <a:pt x="8699" y="8489"/>
                  </a:lnTo>
                  <a:lnTo>
                    <a:pt x="8690" y="8489"/>
                  </a:lnTo>
                  <a:lnTo>
                    <a:pt x="8681" y="8489"/>
                  </a:lnTo>
                  <a:lnTo>
                    <a:pt x="8672" y="8489"/>
                  </a:lnTo>
                  <a:lnTo>
                    <a:pt x="8664" y="8489"/>
                  </a:lnTo>
                  <a:lnTo>
                    <a:pt x="8655" y="8498"/>
                  </a:lnTo>
                  <a:lnTo>
                    <a:pt x="8637" y="8489"/>
                  </a:lnTo>
                  <a:lnTo>
                    <a:pt x="8637" y="8480"/>
                  </a:lnTo>
                  <a:lnTo>
                    <a:pt x="8628" y="8480"/>
                  </a:lnTo>
                  <a:lnTo>
                    <a:pt x="8628" y="8472"/>
                  </a:lnTo>
                  <a:lnTo>
                    <a:pt x="8628" y="8463"/>
                  </a:lnTo>
                  <a:lnTo>
                    <a:pt x="8619" y="8454"/>
                  </a:lnTo>
                  <a:lnTo>
                    <a:pt x="8619" y="8445"/>
                  </a:lnTo>
                  <a:lnTo>
                    <a:pt x="8619" y="8436"/>
                  </a:lnTo>
                  <a:lnTo>
                    <a:pt x="8611" y="8436"/>
                  </a:lnTo>
                  <a:lnTo>
                    <a:pt x="8619" y="8427"/>
                  </a:lnTo>
                  <a:lnTo>
                    <a:pt x="8619" y="8419"/>
                  </a:lnTo>
                  <a:lnTo>
                    <a:pt x="8611" y="8427"/>
                  </a:lnTo>
                  <a:lnTo>
                    <a:pt x="8593" y="8436"/>
                  </a:lnTo>
                  <a:lnTo>
                    <a:pt x="8584" y="8436"/>
                  </a:lnTo>
                  <a:lnTo>
                    <a:pt x="8567" y="8454"/>
                  </a:lnTo>
                  <a:lnTo>
                    <a:pt x="8558" y="8454"/>
                  </a:lnTo>
                  <a:lnTo>
                    <a:pt x="8540" y="8463"/>
                  </a:lnTo>
                  <a:lnTo>
                    <a:pt x="8522" y="8472"/>
                  </a:lnTo>
                  <a:lnTo>
                    <a:pt x="8514" y="8463"/>
                  </a:lnTo>
                  <a:lnTo>
                    <a:pt x="8487" y="8463"/>
                  </a:lnTo>
                  <a:lnTo>
                    <a:pt x="8496" y="8463"/>
                  </a:lnTo>
                  <a:lnTo>
                    <a:pt x="8522" y="8454"/>
                  </a:lnTo>
                  <a:lnTo>
                    <a:pt x="8531" y="8454"/>
                  </a:lnTo>
                  <a:lnTo>
                    <a:pt x="8540" y="8454"/>
                  </a:lnTo>
                  <a:lnTo>
                    <a:pt x="8540" y="8445"/>
                  </a:lnTo>
                  <a:lnTo>
                    <a:pt x="8540" y="8436"/>
                  </a:lnTo>
                  <a:lnTo>
                    <a:pt x="8549" y="8436"/>
                  </a:lnTo>
                  <a:lnTo>
                    <a:pt x="8558" y="8427"/>
                  </a:lnTo>
                  <a:lnTo>
                    <a:pt x="8558" y="8410"/>
                  </a:lnTo>
                  <a:lnTo>
                    <a:pt x="8567" y="8392"/>
                  </a:lnTo>
                  <a:lnTo>
                    <a:pt x="8575" y="8392"/>
                  </a:lnTo>
                  <a:lnTo>
                    <a:pt x="8575" y="8383"/>
                  </a:lnTo>
                  <a:lnTo>
                    <a:pt x="8584" y="8366"/>
                  </a:lnTo>
                  <a:lnTo>
                    <a:pt x="8584" y="8357"/>
                  </a:lnTo>
                  <a:lnTo>
                    <a:pt x="8602" y="8357"/>
                  </a:lnTo>
                  <a:lnTo>
                    <a:pt x="8611" y="8339"/>
                  </a:lnTo>
                  <a:lnTo>
                    <a:pt x="8619" y="8339"/>
                  </a:lnTo>
                  <a:lnTo>
                    <a:pt x="8628" y="8339"/>
                  </a:lnTo>
                  <a:lnTo>
                    <a:pt x="8637" y="8322"/>
                  </a:lnTo>
                  <a:lnTo>
                    <a:pt x="8646" y="8304"/>
                  </a:lnTo>
                  <a:lnTo>
                    <a:pt x="8655" y="8295"/>
                  </a:lnTo>
                  <a:lnTo>
                    <a:pt x="8664" y="8286"/>
                  </a:lnTo>
                  <a:lnTo>
                    <a:pt x="8681" y="8277"/>
                  </a:lnTo>
                  <a:lnTo>
                    <a:pt x="8690" y="8269"/>
                  </a:lnTo>
                  <a:lnTo>
                    <a:pt x="8690" y="8260"/>
                  </a:lnTo>
                  <a:lnTo>
                    <a:pt x="8690" y="8251"/>
                  </a:lnTo>
                  <a:lnTo>
                    <a:pt x="8681" y="8233"/>
                  </a:lnTo>
                  <a:lnTo>
                    <a:pt x="8681" y="8225"/>
                  </a:lnTo>
                  <a:lnTo>
                    <a:pt x="8672" y="8225"/>
                  </a:lnTo>
                  <a:lnTo>
                    <a:pt x="8664" y="8216"/>
                  </a:lnTo>
                  <a:lnTo>
                    <a:pt x="8646" y="8216"/>
                  </a:lnTo>
                  <a:lnTo>
                    <a:pt x="8646" y="8207"/>
                  </a:lnTo>
                  <a:lnTo>
                    <a:pt x="8637" y="8207"/>
                  </a:lnTo>
                  <a:lnTo>
                    <a:pt x="8637" y="8198"/>
                  </a:lnTo>
                  <a:lnTo>
                    <a:pt x="8628" y="8198"/>
                  </a:lnTo>
                  <a:lnTo>
                    <a:pt x="8628" y="8189"/>
                  </a:lnTo>
                  <a:lnTo>
                    <a:pt x="8628" y="8180"/>
                  </a:lnTo>
                  <a:lnTo>
                    <a:pt x="8628" y="8172"/>
                  </a:lnTo>
                  <a:lnTo>
                    <a:pt x="8619" y="8163"/>
                  </a:lnTo>
                  <a:lnTo>
                    <a:pt x="8619" y="8154"/>
                  </a:lnTo>
                  <a:lnTo>
                    <a:pt x="8611" y="8127"/>
                  </a:lnTo>
                  <a:lnTo>
                    <a:pt x="8602" y="8110"/>
                  </a:lnTo>
                  <a:lnTo>
                    <a:pt x="8602" y="8083"/>
                  </a:lnTo>
                  <a:lnTo>
                    <a:pt x="8593" y="8048"/>
                  </a:lnTo>
                  <a:lnTo>
                    <a:pt x="8584" y="8039"/>
                  </a:lnTo>
                  <a:lnTo>
                    <a:pt x="8575" y="8039"/>
                  </a:lnTo>
                  <a:lnTo>
                    <a:pt x="8567" y="8039"/>
                  </a:lnTo>
                  <a:lnTo>
                    <a:pt x="8558" y="8057"/>
                  </a:lnTo>
                  <a:lnTo>
                    <a:pt x="8558" y="8048"/>
                  </a:lnTo>
                  <a:lnTo>
                    <a:pt x="8558" y="8039"/>
                  </a:lnTo>
                  <a:lnTo>
                    <a:pt x="8549" y="8022"/>
                  </a:lnTo>
                  <a:lnTo>
                    <a:pt x="8549" y="8013"/>
                  </a:lnTo>
                  <a:lnTo>
                    <a:pt x="8540" y="8013"/>
                  </a:lnTo>
                  <a:lnTo>
                    <a:pt x="8540" y="8022"/>
                  </a:lnTo>
                  <a:lnTo>
                    <a:pt x="8540" y="8030"/>
                  </a:lnTo>
                  <a:lnTo>
                    <a:pt x="8531" y="8030"/>
                  </a:lnTo>
                  <a:lnTo>
                    <a:pt x="8540" y="8030"/>
                  </a:lnTo>
                  <a:lnTo>
                    <a:pt x="8540" y="8022"/>
                  </a:lnTo>
                  <a:lnTo>
                    <a:pt x="8531" y="8013"/>
                  </a:lnTo>
                  <a:lnTo>
                    <a:pt x="8531" y="8004"/>
                  </a:lnTo>
                  <a:lnTo>
                    <a:pt x="8522" y="7995"/>
                  </a:lnTo>
                  <a:lnTo>
                    <a:pt x="8514" y="8004"/>
                  </a:lnTo>
                  <a:lnTo>
                    <a:pt x="8514" y="7995"/>
                  </a:lnTo>
                  <a:lnTo>
                    <a:pt x="8514" y="7986"/>
                  </a:lnTo>
                  <a:lnTo>
                    <a:pt x="8505" y="7986"/>
                  </a:lnTo>
                  <a:lnTo>
                    <a:pt x="8478" y="7969"/>
                  </a:lnTo>
                  <a:lnTo>
                    <a:pt x="8469" y="7951"/>
                  </a:lnTo>
                  <a:lnTo>
                    <a:pt x="8443" y="7942"/>
                  </a:lnTo>
                  <a:lnTo>
                    <a:pt x="8425" y="7942"/>
                  </a:lnTo>
                  <a:lnTo>
                    <a:pt x="8399" y="7924"/>
                  </a:lnTo>
                  <a:lnTo>
                    <a:pt x="8390" y="7933"/>
                  </a:lnTo>
                  <a:lnTo>
                    <a:pt x="8381" y="7960"/>
                  </a:lnTo>
                  <a:lnTo>
                    <a:pt x="8372" y="7960"/>
                  </a:lnTo>
                  <a:lnTo>
                    <a:pt x="8381" y="7951"/>
                  </a:lnTo>
                  <a:lnTo>
                    <a:pt x="8381" y="7942"/>
                  </a:lnTo>
                  <a:lnTo>
                    <a:pt x="8381" y="7933"/>
                  </a:lnTo>
                  <a:lnTo>
                    <a:pt x="8381" y="7924"/>
                  </a:lnTo>
                  <a:lnTo>
                    <a:pt x="8364" y="7916"/>
                  </a:lnTo>
                  <a:lnTo>
                    <a:pt x="8328" y="7916"/>
                  </a:lnTo>
                  <a:lnTo>
                    <a:pt x="8302" y="7916"/>
                  </a:lnTo>
                  <a:lnTo>
                    <a:pt x="8284" y="7916"/>
                  </a:lnTo>
                  <a:lnTo>
                    <a:pt x="8267" y="7916"/>
                  </a:lnTo>
                  <a:lnTo>
                    <a:pt x="8258" y="7916"/>
                  </a:lnTo>
                  <a:lnTo>
                    <a:pt x="8249" y="7924"/>
                  </a:lnTo>
                  <a:lnTo>
                    <a:pt x="8249" y="7933"/>
                  </a:lnTo>
                  <a:lnTo>
                    <a:pt x="8249" y="7924"/>
                  </a:lnTo>
                  <a:lnTo>
                    <a:pt x="8222" y="7924"/>
                  </a:lnTo>
                  <a:lnTo>
                    <a:pt x="8205" y="7916"/>
                  </a:lnTo>
                  <a:lnTo>
                    <a:pt x="8170" y="7916"/>
                  </a:lnTo>
                  <a:lnTo>
                    <a:pt x="8161" y="7916"/>
                  </a:lnTo>
                  <a:lnTo>
                    <a:pt x="8161" y="7924"/>
                  </a:lnTo>
                  <a:lnTo>
                    <a:pt x="8161" y="7933"/>
                  </a:lnTo>
                  <a:lnTo>
                    <a:pt x="8161" y="7942"/>
                  </a:lnTo>
                  <a:lnTo>
                    <a:pt x="8152" y="7951"/>
                  </a:lnTo>
                  <a:lnTo>
                    <a:pt x="8152" y="7942"/>
                  </a:lnTo>
                  <a:lnTo>
                    <a:pt x="8152" y="7924"/>
                  </a:lnTo>
                  <a:lnTo>
                    <a:pt x="8152" y="7907"/>
                  </a:lnTo>
                  <a:lnTo>
                    <a:pt x="8152" y="7898"/>
                  </a:lnTo>
                  <a:lnTo>
                    <a:pt x="8143" y="7889"/>
                  </a:lnTo>
                  <a:lnTo>
                    <a:pt x="8125" y="7889"/>
                  </a:lnTo>
                  <a:lnTo>
                    <a:pt x="8125" y="7880"/>
                  </a:lnTo>
                  <a:lnTo>
                    <a:pt x="8108" y="7871"/>
                  </a:lnTo>
                  <a:lnTo>
                    <a:pt x="8099" y="7854"/>
                  </a:lnTo>
                  <a:lnTo>
                    <a:pt x="8090" y="7854"/>
                  </a:lnTo>
                  <a:lnTo>
                    <a:pt x="8081" y="7854"/>
                  </a:lnTo>
                  <a:lnTo>
                    <a:pt x="8072" y="7845"/>
                  </a:lnTo>
                  <a:lnTo>
                    <a:pt x="8064" y="7854"/>
                  </a:lnTo>
                  <a:lnTo>
                    <a:pt x="8055" y="7863"/>
                  </a:lnTo>
                  <a:lnTo>
                    <a:pt x="8055" y="7880"/>
                  </a:lnTo>
                  <a:lnTo>
                    <a:pt x="8046" y="7880"/>
                  </a:lnTo>
                  <a:lnTo>
                    <a:pt x="8046" y="7871"/>
                  </a:lnTo>
                  <a:lnTo>
                    <a:pt x="8046" y="7863"/>
                  </a:lnTo>
                  <a:lnTo>
                    <a:pt x="8055" y="7854"/>
                  </a:lnTo>
                  <a:lnTo>
                    <a:pt x="8055" y="7836"/>
                  </a:lnTo>
                  <a:lnTo>
                    <a:pt x="8055" y="7819"/>
                  </a:lnTo>
                  <a:lnTo>
                    <a:pt x="8055" y="7810"/>
                  </a:lnTo>
                  <a:lnTo>
                    <a:pt x="8046" y="7801"/>
                  </a:lnTo>
                  <a:lnTo>
                    <a:pt x="8046" y="7792"/>
                  </a:lnTo>
                  <a:lnTo>
                    <a:pt x="8037" y="7783"/>
                  </a:lnTo>
                  <a:lnTo>
                    <a:pt x="8002" y="7757"/>
                  </a:lnTo>
                  <a:lnTo>
                    <a:pt x="7984" y="7748"/>
                  </a:lnTo>
                  <a:lnTo>
                    <a:pt x="7975" y="7739"/>
                  </a:lnTo>
                  <a:lnTo>
                    <a:pt x="7967" y="7739"/>
                  </a:lnTo>
                  <a:lnTo>
                    <a:pt x="7958" y="7739"/>
                  </a:lnTo>
                  <a:lnTo>
                    <a:pt x="7949" y="7730"/>
                  </a:lnTo>
                  <a:lnTo>
                    <a:pt x="7949" y="7721"/>
                  </a:lnTo>
                  <a:lnTo>
                    <a:pt x="7931" y="7721"/>
                  </a:lnTo>
                  <a:lnTo>
                    <a:pt x="7922" y="7721"/>
                  </a:lnTo>
                  <a:lnTo>
                    <a:pt x="7914" y="7721"/>
                  </a:lnTo>
                  <a:lnTo>
                    <a:pt x="7887" y="7721"/>
                  </a:lnTo>
                  <a:lnTo>
                    <a:pt x="7870" y="7730"/>
                  </a:lnTo>
                  <a:lnTo>
                    <a:pt x="7861" y="7730"/>
                  </a:lnTo>
                  <a:lnTo>
                    <a:pt x="7852" y="7739"/>
                  </a:lnTo>
                  <a:lnTo>
                    <a:pt x="7843" y="7730"/>
                  </a:lnTo>
                  <a:lnTo>
                    <a:pt x="7834" y="7721"/>
                  </a:lnTo>
                  <a:lnTo>
                    <a:pt x="7825" y="7721"/>
                  </a:lnTo>
                  <a:lnTo>
                    <a:pt x="7852" y="7721"/>
                  </a:lnTo>
                  <a:lnTo>
                    <a:pt x="7861" y="7713"/>
                  </a:lnTo>
                  <a:lnTo>
                    <a:pt x="7861" y="7704"/>
                  </a:lnTo>
                  <a:lnTo>
                    <a:pt x="7870" y="7695"/>
                  </a:lnTo>
                  <a:lnTo>
                    <a:pt x="7870" y="7686"/>
                  </a:lnTo>
                  <a:lnTo>
                    <a:pt x="7870" y="7677"/>
                  </a:lnTo>
                  <a:lnTo>
                    <a:pt x="7878" y="7677"/>
                  </a:lnTo>
                  <a:lnTo>
                    <a:pt x="7887" y="7668"/>
                  </a:lnTo>
                  <a:lnTo>
                    <a:pt x="7887" y="7660"/>
                  </a:lnTo>
                  <a:lnTo>
                    <a:pt x="7870" y="7651"/>
                  </a:lnTo>
                  <a:lnTo>
                    <a:pt x="7861" y="7651"/>
                  </a:lnTo>
                  <a:lnTo>
                    <a:pt x="7852" y="7642"/>
                  </a:lnTo>
                  <a:lnTo>
                    <a:pt x="7834" y="7633"/>
                  </a:lnTo>
                  <a:lnTo>
                    <a:pt x="7834" y="7624"/>
                  </a:lnTo>
                  <a:lnTo>
                    <a:pt x="7825" y="7633"/>
                  </a:lnTo>
                  <a:lnTo>
                    <a:pt x="7817" y="7633"/>
                  </a:lnTo>
                  <a:lnTo>
                    <a:pt x="7817" y="7642"/>
                  </a:lnTo>
                  <a:lnTo>
                    <a:pt x="7808" y="7633"/>
                  </a:lnTo>
                  <a:lnTo>
                    <a:pt x="7808" y="7624"/>
                  </a:lnTo>
                  <a:lnTo>
                    <a:pt x="7799" y="7624"/>
                  </a:lnTo>
                  <a:lnTo>
                    <a:pt x="7790" y="7624"/>
                  </a:lnTo>
                  <a:lnTo>
                    <a:pt x="7790" y="7616"/>
                  </a:lnTo>
                  <a:lnTo>
                    <a:pt x="7790" y="7624"/>
                  </a:lnTo>
                  <a:lnTo>
                    <a:pt x="7790" y="7633"/>
                  </a:lnTo>
                  <a:lnTo>
                    <a:pt x="7781" y="7624"/>
                  </a:lnTo>
                  <a:lnTo>
                    <a:pt x="7781" y="7633"/>
                  </a:lnTo>
                  <a:lnTo>
                    <a:pt x="7773" y="7633"/>
                  </a:lnTo>
                  <a:lnTo>
                    <a:pt x="7773" y="7624"/>
                  </a:lnTo>
                  <a:lnTo>
                    <a:pt x="7764" y="7607"/>
                  </a:lnTo>
                  <a:lnTo>
                    <a:pt x="7755" y="7598"/>
                  </a:lnTo>
                  <a:lnTo>
                    <a:pt x="7755" y="7607"/>
                  </a:lnTo>
                  <a:lnTo>
                    <a:pt x="7755" y="7616"/>
                  </a:lnTo>
                  <a:lnTo>
                    <a:pt x="7746" y="7616"/>
                  </a:lnTo>
                  <a:lnTo>
                    <a:pt x="7746" y="7607"/>
                  </a:lnTo>
                  <a:lnTo>
                    <a:pt x="7755" y="7607"/>
                  </a:lnTo>
                  <a:lnTo>
                    <a:pt x="7746" y="7598"/>
                  </a:lnTo>
                  <a:lnTo>
                    <a:pt x="7746" y="7589"/>
                  </a:lnTo>
                  <a:lnTo>
                    <a:pt x="7737" y="7589"/>
                  </a:lnTo>
                  <a:lnTo>
                    <a:pt x="7737" y="7580"/>
                  </a:lnTo>
                  <a:lnTo>
                    <a:pt x="7746" y="7580"/>
                  </a:lnTo>
                  <a:lnTo>
                    <a:pt x="7773" y="7580"/>
                  </a:lnTo>
                  <a:lnTo>
                    <a:pt x="7781" y="7571"/>
                  </a:lnTo>
                  <a:lnTo>
                    <a:pt x="7799" y="7571"/>
                  </a:lnTo>
                  <a:lnTo>
                    <a:pt x="7808" y="7571"/>
                  </a:lnTo>
                  <a:lnTo>
                    <a:pt x="7808" y="7563"/>
                  </a:lnTo>
                  <a:lnTo>
                    <a:pt x="7781" y="7563"/>
                  </a:lnTo>
                  <a:lnTo>
                    <a:pt x="7746" y="7563"/>
                  </a:lnTo>
                  <a:lnTo>
                    <a:pt x="7728" y="7563"/>
                  </a:lnTo>
                  <a:lnTo>
                    <a:pt x="7711" y="7563"/>
                  </a:lnTo>
                  <a:lnTo>
                    <a:pt x="7693" y="7571"/>
                  </a:lnTo>
                  <a:lnTo>
                    <a:pt x="7667" y="7571"/>
                  </a:lnTo>
                  <a:lnTo>
                    <a:pt x="7640" y="7571"/>
                  </a:lnTo>
                  <a:lnTo>
                    <a:pt x="7631" y="7571"/>
                  </a:lnTo>
                  <a:lnTo>
                    <a:pt x="7631" y="7580"/>
                  </a:lnTo>
                  <a:lnTo>
                    <a:pt x="7640" y="7571"/>
                  </a:lnTo>
                  <a:lnTo>
                    <a:pt x="7667" y="7580"/>
                  </a:lnTo>
                  <a:lnTo>
                    <a:pt x="7675" y="7580"/>
                  </a:lnTo>
                  <a:lnTo>
                    <a:pt x="7667" y="7580"/>
                  </a:lnTo>
                  <a:lnTo>
                    <a:pt x="7667" y="7589"/>
                  </a:lnTo>
                  <a:lnTo>
                    <a:pt x="7640" y="7580"/>
                  </a:lnTo>
                  <a:lnTo>
                    <a:pt x="7587" y="7607"/>
                  </a:lnTo>
                  <a:lnTo>
                    <a:pt x="7587" y="7616"/>
                  </a:lnTo>
                  <a:lnTo>
                    <a:pt x="7578" y="7616"/>
                  </a:lnTo>
                  <a:lnTo>
                    <a:pt x="7570" y="7616"/>
                  </a:lnTo>
                  <a:lnTo>
                    <a:pt x="7552" y="7607"/>
                  </a:lnTo>
                  <a:lnTo>
                    <a:pt x="7543" y="7607"/>
                  </a:lnTo>
                  <a:lnTo>
                    <a:pt x="7534" y="7598"/>
                  </a:lnTo>
                  <a:lnTo>
                    <a:pt x="7517" y="7598"/>
                  </a:lnTo>
                  <a:lnTo>
                    <a:pt x="7499" y="7580"/>
                  </a:lnTo>
                  <a:lnTo>
                    <a:pt x="7490" y="7571"/>
                  </a:lnTo>
                  <a:lnTo>
                    <a:pt x="7437" y="7571"/>
                  </a:lnTo>
                  <a:lnTo>
                    <a:pt x="7420" y="7580"/>
                  </a:lnTo>
                  <a:lnTo>
                    <a:pt x="7393" y="7580"/>
                  </a:lnTo>
                  <a:lnTo>
                    <a:pt x="7367" y="7580"/>
                  </a:lnTo>
                  <a:lnTo>
                    <a:pt x="7349" y="7580"/>
                  </a:lnTo>
                  <a:lnTo>
                    <a:pt x="7340" y="7580"/>
                  </a:lnTo>
                  <a:lnTo>
                    <a:pt x="7340" y="7571"/>
                  </a:lnTo>
                  <a:lnTo>
                    <a:pt x="7331" y="7563"/>
                  </a:lnTo>
                  <a:lnTo>
                    <a:pt x="7340" y="7554"/>
                  </a:lnTo>
                  <a:lnTo>
                    <a:pt x="7331" y="7545"/>
                  </a:lnTo>
                  <a:lnTo>
                    <a:pt x="7331" y="7536"/>
                  </a:lnTo>
                  <a:lnTo>
                    <a:pt x="7314" y="7518"/>
                  </a:lnTo>
                  <a:lnTo>
                    <a:pt x="7296" y="7510"/>
                  </a:lnTo>
                  <a:lnTo>
                    <a:pt x="7278" y="7510"/>
                  </a:lnTo>
                  <a:lnTo>
                    <a:pt x="7270" y="7510"/>
                  </a:lnTo>
                  <a:lnTo>
                    <a:pt x="7243" y="7510"/>
                  </a:lnTo>
                  <a:lnTo>
                    <a:pt x="7234" y="7501"/>
                  </a:lnTo>
                  <a:lnTo>
                    <a:pt x="7226" y="7492"/>
                  </a:lnTo>
                  <a:lnTo>
                    <a:pt x="7226" y="7483"/>
                  </a:lnTo>
                  <a:lnTo>
                    <a:pt x="7226" y="7474"/>
                  </a:lnTo>
                  <a:lnTo>
                    <a:pt x="7226" y="7466"/>
                  </a:lnTo>
                  <a:lnTo>
                    <a:pt x="7217" y="7466"/>
                  </a:lnTo>
                  <a:lnTo>
                    <a:pt x="7208" y="7457"/>
                  </a:lnTo>
                  <a:lnTo>
                    <a:pt x="7199" y="7457"/>
                  </a:lnTo>
                  <a:lnTo>
                    <a:pt x="7199" y="7466"/>
                  </a:lnTo>
                  <a:lnTo>
                    <a:pt x="7190" y="7474"/>
                  </a:lnTo>
                  <a:lnTo>
                    <a:pt x="7190" y="7483"/>
                  </a:lnTo>
                  <a:lnTo>
                    <a:pt x="7199" y="7492"/>
                  </a:lnTo>
                  <a:lnTo>
                    <a:pt x="7199" y="7501"/>
                  </a:lnTo>
                  <a:lnTo>
                    <a:pt x="7217" y="7492"/>
                  </a:lnTo>
                  <a:lnTo>
                    <a:pt x="7226" y="7492"/>
                  </a:lnTo>
                  <a:lnTo>
                    <a:pt x="7226" y="7501"/>
                  </a:lnTo>
                  <a:lnTo>
                    <a:pt x="7226" y="7510"/>
                  </a:lnTo>
                  <a:lnTo>
                    <a:pt x="7217" y="7510"/>
                  </a:lnTo>
                  <a:lnTo>
                    <a:pt x="7208" y="7501"/>
                  </a:lnTo>
                  <a:lnTo>
                    <a:pt x="7208" y="7510"/>
                  </a:lnTo>
                  <a:lnTo>
                    <a:pt x="7199" y="7510"/>
                  </a:lnTo>
                  <a:lnTo>
                    <a:pt x="7199" y="7518"/>
                  </a:lnTo>
                  <a:lnTo>
                    <a:pt x="7173" y="7527"/>
                  </a:lnTo>
                  <a:lnTo>
                    <a:pt x="7155" y="7527"/>
                  </a:lnTo>
                  <a:lnTo>
                    <a:pt x="7120" y="7545"/>
                  </a:lnTo>
                  <a:lnTo>
                    <a:pt x="7102" y="7545"/>
                  </a:lnTo>
                  <a:lnTo>
                    <a:pt x="7102" y="7554"/>
                  </a:lnTo>
                  <a:lnTo>
                    <a:pt x="7102" y="7563"/>
                  </a:lnTo>
                  <a:lnTo>
                    <a:pt x="7102" y="7571"/>
                  </a:lnTo>
                  <a:lnTo>
                    <a:pt x="7102" y="7580"/>
                  </a:lnTo>
                  <a:lnTo>
                    <a:pt x="7111" y="7598"/>
                  </a:lnTo>
                  <a:lnTo>
                    <a:pt x="7120" y="7607"/>
                  </a:lnTo>
                  <a:lnTo>
                    <a:pt x="7120" y="7616"/>
                  </a:lnTo>
                  <a:lnTo>
                    <a:pt x="7128" y="7633"/>
                  </a:lnTo>
                  <a:lnTo>
                    <a:pt x="7137" y="7642"/>
                  </a:lnTo>
                  <a:lnTo>
                    <a:pt x="7128" y="7651"/>
                  </a:lnTo>
                  <a:lnTo>
                    <a:pt x="7128" y="7668"/>
                  </a:lnTo>
                  <a:lnTo>
                    <a:pt x="7120" y="7677"/>
                  </a:lnTo>
                  <a:lnTo>
                    <a:pt x="7120" y="7686"/>
                  </a:lnTo>
                  <a:lnTo>
                    <a:pt x="7102" y="7686"/>
                  </a:lnTo>
                  <a:lnTo>
                    <a:pt x="7093" y="7686"/>
                  </a:lnTo>
                  <a:lnTo>
                    <a:pt x="7084" y="7686"/>
                  </a:lnTo>
                  <a:lnTo>
                    <a:pt x="7084" y="7677"/>
                  </a:lnTo>
                  <a:lnTo>
                    <a:pt x="7084" y="7668"/>
                  </a:lnTo>
                  <a:lnTo>
                    <a:pt x="7076" y="7660"/>
                  </a:lnTo>
                  <a:lnTo>
                    <a:pt x="7067" y="7651"/>
                  </a:lnTo>
                  <a:lnTo>
                    <a:pt x="7067" y="7642"/>
                  </a:lnTo>
                  <a:lnTo>
                    <a:pt x="7058" y="7633"/>
                  </a:lnTo>
                  <a:lnTo>
                    <a:pt x="7067" y="7607"/>
                  </a:lnTo>
                  <a:lnTo>
                    <a:pt x="7076" y="7607"/>
                  </a:lnTo>
                  <a:lnTo>
                    <a:pt x="7084" y="7598"/>
                  </a:lnTo>
                  <a:lnTo>
                    <a:pt x="7093" y="7589"/>
                  </a:lnTo>
                  <a:lnTo>
                    <a:pt x="7093" y="7571"/>
                  </a:lnTo>
                  <a:lnTo>
                    <a:pt x="7093" y="7563"/>
                  </a:lnTo>
                  <a:lnTo>
                    <a:pt x="7084" y="7554"/>
                  </a:lnTo>
                  <a:lnTo>
                    <a:pt x="7084" y="7545"/>
                  </a:lnTo>
                  <a:lnTo>
                    <a:pt x="7093" y="7545"/>
                  </a:lnTo>
                  <a:lnTo>
                    <a:pt x="7084" y="7536"/>
                  </a:lnTo>
                  <a:lnTo>
                    <a:pt x="7076" y="7527"/>
                  </a:lnTo>
                  <a:lnTo>
                    <a:pt x="7067" y="7510"/>
                  </a:lnTo>
                  <a:lnTo>
                    <a:pt x="7067" y="7501"/>
                  </a:lnTo>
                  <a:lnTo>
                    <a:pt x="7076" y="7501"/>
                  </a:lnTo>
                  <a:lnTo>
                    <a:pt x="7102" y="7492"/>
                  </a:lnTo>
                  <a:lnTo>
                    <a:pt x="7111" y="7492"/>
                  </a:lnTo>
                  <a:lnTo>
                    <a:pt x="7111" y="7483"/>
                  </a:lnTo>
                  <a:lnTo>
                    <a:pt x="7120" y="7474"/>
                  </a:lnTo>
                  <a:lnTo>
                    <a:pt x="7128" y="7466"/>
                  </a:lnTo>
                  <a:lnTo>
                    <a:pt x="7128" y="7457"/>
                  </a:lnTo>
                  <a:lnTo>
                    <a:pt x="7120" y="7448"/>
                  </a:lnTo>
                  <a:lnTo>
                    <a:pt x="7102" y="7439"/>
                  </a:lnTo>
                  <a:lnTo>
                    <a:pt x="7093" y="7439"/>
                  </a:lnTo>
                  <a:lnTo>
                    <a:pt x="7084" y="7439"/>
                  </a:lnTo>
                  <a:lnTo>
                    <a:pt x="7067" y="7448"/>
                  </a:lnTo>
                  <a:lnTo>
                    <a:pt x="7067" y="7457"/>
                  </a:lnTo>
                  <a:lnTo>
                    <a:pt x="7058" y="7457"/>
                  </a:lnTo>
                  <a:lnTo>
                    <a:pt x="7049" y="7466"/>
                  </a:lnTo>
                  <a:lnTo>
                    <a:pt x="7049" y="7474"/>
                  </a:lnTo>
                  <a:lnTo>
                    <a:pt x="7031" y="7483"/>
                  </a:lnTo>
                  <a:lnTo>
                    <a:pt x="7014" y="7492"/>
                  </a:lnTo>
                  <a:lnTo>
                    <a:pt x="6970" y="7518"/>
                  </a:lnTo>
                  <a:lnTo>
                    <a:pt x="6943" y="7527"/>
                  </a:lnTo>
                  <a:lnTo>
                    <a:pt x="6934" y="7527"/>
                  </a:lnTo>
                  <a:lnTo>
                    <a:pt x="6926" y="7518"/>
                  </a:lnTo>
                  <a:lnTo>
                    <a:pt x="6917" y="7518"/>
                  </a:lnTo>
                  <a:lnTo>
                    <a:pt x="6908" y="7518"/>
                  </a:lnTo>
                  <a:lnTo>
                    <a:pt x="6899" y="7527"/>
                  </a:lnTo>
                  <a:lnTo>
                    <a:pt x="6899" y="7536"/>
                  </a:lnTo>
                  <a:lnTo>
                    <a:pt x="6899" y="7545"/>
                  </a:lnTo>
                  <a:lnTo>
                    <a:pt x="6890" y="7563"/>
                  </a:lnTo>
                  <a:lnTo>
                    <a:pt x="6881" y="7563"/>
                  </a:lnTo>
                  <a:lnTo>
                    <a:pt x="6881" y="7554"/>
                  </a:lnTo>
                  <a:lnTo>
                    <a:pt x="6881" y="7545"/>
                  </a:lnTo>
                  <a:lnTo>
                    <a:pt x="6890" y="7545"/>
                  </a:lnTo>
                  <a:lnTo>
                    <a:pt x="6881" y="7545"/>
                  </a:lnTo>
                  <a:lnTo>
                    <a:pt x="6855" y="7536"/>
                  </a:lnTo>
                  <a:lnTo>
                    <a:pt x="6846" y="7536"/>
                  </a:lnTo>
                  <a:lnTo>
                    <a:pt x="6837" y="7554"/>
                  </a:lnTo>
                  <a:lnTo>
                    <a:pt x="6829" y="7563"/>
                  </a:lnTo>
                  <a:lnTo>
                    <a:pt x="6820" y="7563"/>
                  </a:lnTo>
                  <a:lnTo>
                    <a:pt x="6811" y="7571"/>
                  </a:lnTo>
                  <a:lnTo>
                    <a:pt x="6811" y="7580"/>
                  </a:lnTo>
                  <a:lnTo>
                    <a:pt x="6802" y="7598"/>
                  </a:lnTo>
                  <a:lnTo>
                    <a:pt x="6793" y="7607"/>
                  </a:lnTo>
                  <a:lnTo>
                    <a:pt x="6802" y="7598"/>
                  </a:lnTo>
                  <a:lnTo>
                    <a:pt x="6802" y="7607"/>
                  </a:lnTo>
                  <a:lnTo>
                    <a:pt x="6802" y="7616"/>
                  </a:lnTo>
                  <a:lnTo>
                    <a:pt x="6802" y="7633"/>
                  </a:lnTo>
                  <a:lnTo>
                    <a:pt x="6793" y="7642"/>
                  </a:lnTo>
                  <a:lnTo>
                    <a:pt x="6802" y="7642"/>
                  </a:lnTo>
                  <a:lnTo>
                    <a:pt x="6802" y="7651"/>
                  </a:lnTo>
                  <a:lnTo>
                    <a:pt x="6793" y="7660"/>
                  </a:lnTo>
                  <a:lnTo>
                    <a:pt x="6776" y="7660"/>
                  </a:lnTo>
                  <a:lnTo>
                    <a:pt x="6767" y="7668"/>
                  </a:lnTo>
                  <a:lnTo>
                    <a:pt x="6758" y="7668"/>
                  </a:lnTo>
                  <a:lnTo>
                    <a:pt x="6749" y="7695"/>
                  </a:lnTo>
                  <a:lnTo>
                    <a:pt x="6723" y="7713"/>
                  </a:lnTo>
                  <a:lnTo>
                    <a:pt x="6714" y="7721"/>
                  </a:lnTo>
                  <a:lnTo>
                    <a:pt x="6705" y="7721"/>
                  </a:lnTo>
                  <a:lnTo>
                    <a:pt x="6705" y="7730"/>
                  </a:lnTo>
                  <a:lnTo>
                    <a:pt x="6714" y="7730"/>
                  </a:lnTo>
                  <a:lnTo>
                    <a:pt x="6714" y="7739"/>
                  </a:lnTo>
                  <a:lnTo>
                    <a:pt x="6714" y="7766"/>
                  </a:lnTo>
                  <a:lnTo>
                    <a:pt x="6714" y="7774"/>
                  </a:lnTo>
                  <a:lnTo>
                    <a:pt x="6705" y="7774"/>
                  </a:lnTo>
                  <a:lnTo>
                    <a:pt x="6705" y="7766"/>
                  </a:lnTo>
                  <a:lnTo>
                    <a:pt x="6705" y="7757"/>
                  </a:lnTo>
                  <a:lnTo>
                    <a:pt x="6696" y="7748"/>
                  </a:lnTo>
                  <a:lnTo>
                    <a:pt x="6687" y="7739"/>
                  </a:lnTo>
                  <a:lnTo>
                    <a:pt x="6679" y="7730"/>
                  </a:lnTo>
                  <a:lnTo>
                    <a:pt x="6670" y="7721"/>
                  </a:lnTo>
                  <a:lnTo>
                    <a:pt x="6643" y="7704"/>
                  </a:lnTo>
                  <a:lnTo>
                    <a:pt x="6634" y="7686"/>
                  </a:lnTo>
                  <a:lnTo>
                    <a:pt x="6617" y="7677"/>
                  </a:lnTo>
                  <a:lnTo>
                    <a:pt x="6590" y="7660"/>
                  </a:lnTo>
                  <a:lnTo>
                    <a:pt x="6573" y="7660"/>
                  </a:lnTo>
                  <a:lnTo>
                    <a:pt x="6555" y="7660"/>
                  </a:lnTo>
                  <a:lnTo>
                    <a:pt x="6546" y="7651"/>
                  </a:lnTo>
                  <a:lnTo>
                    <a:pt x="6537" y="7651"/>
                  </a:lnTo>
                  <a:lnTo>
                    <a:pt x="6529" y="7651"/>
                  </a:lnTo>
                  <a:lnTo>
                    <a:pt x="6511" y="7651"/>
                  </a:lnTo>
                  <a:lnTo>
                    <a:pt x="6502" y="7651"/>
                  </a:lnTo>
                  <a:lnTo>
                    <a:pt x="6493" y="7660"/>
                  </a:lnTo>
                  <a:lnTo>
                    <a:pt x="6484" y="7668"/>
                  </a:lnTo>
                  <a:lnTo>
                    <a:pt x="6476" y="7668"/>
                  </a:lnTo>
                  <a:lnTo>
                    <a:pt x="6467" y="7677"/>
                  </a:lnTo>
                  <a:lnTo>
                    <a:pt x="6440" y="7686"/>
                  </a:lnTo>
                  <a:lnTo>
                    <a:pt x="6432" y="7686"/>
                  </a:lnTo>
                  <a:lnTo>
                    <a:pt x="6414" y="7704"/>
                  </a:lnTo>
                  <a:lnTo>
                    <a:pt x="6396" y="7704"/>
                  </a:lnTo>
                  <a:lnTo>
                    <a:pt x="6387" y="7704"/>
                  </a:lnTo>
                  <a:lnTo>
                    <a:pt x="6379" y="7704"/>
                  </a:lnTo>
                  <a:lnTo>
                    <a:pt x="6361" y="7704"/>
                  </a:lnTo>
                  <a:lnTo>
                    <a:pt x="6352" y="7695"/>
                  </a:lnTo>
                  <a:lnTo>
                    <a:pt x="6343" y="7686"/>
                  </a:lnTo>
                  <a:lnTo>
                    <a:pt x="6334" y="7677"/>
                  </a:lnTo>
                  <a:lnTo>
                    <a:pt x="6334" y="7686"/>
                  </a:lnTo>
                  <a:lnTo>
                    <a:pt x="6343" y="7686"/>
                  </a:lnTo>
                  <a:lnTo>
                    <a:pt x="6343" y="7695"/>
                  </a:lnTo>
                  <a:lnTo>
                    <a:pt x="6334" y="7695"/>
                  </a:lnTo>
                  <a:lnTo>
                    <a:pt x="6326" y="7695"/>
                  </a:lnTo>
                  <a:lnTo>
                    <a:pt x="6317" y="7695"/>
                  </a:lnTo>
                  <a:lnTo>
                    <a:pt x="6308" y="7686"/>
                  </a:lnTo>
                  <a:lnTo>
                    <a:pt x="6317" y="7677"/>
                  </a:lnTo>
                  <a:lnTo>
                    <a:pt x="6308" y="7677"/>
                  </a:lnTo>
                  <a:lnTo>
                    <a:pt x="6299" y="7668"/>
                  </a:lnTo>
                  <a:lnTo>
                    <a:pt x="6299" y="7660"/>
                  </a:lnTo>
                  <a:lnTo>
                    <a:pt x="6290" y="7651"/>
                  </a:lnTo>
                  <a:lnTo>
                    <a:pt x="6282" y="7651"/>
                  </a:lnTo>
                  <a:lnTo>
                    <a:pt x="6273" y="7642"/>
                  </a:lnTo>
                  <a:lnTo>
                    <a:pt x="6264" y="7633"/>
                  </a:lnTo>
                  <a:lnTo>
                    <a:pt x="6255" y="7616"/>
                  </a:lnTo>
                  <a:lnTo>
                    <a:pt x="6246" y="7616"/>
                  </a:lnTo>
                  <a:lnTo>
                    <a:pt x="6229" y="7598"/>
                  </a:lnTo>
                  <a:lnTo>
                    <a:pt x="6220" y="7580"/>
                  </a:lnTo>
                  <a:lnTo>
                    <a:pt x="6211" y="7563"/>
                  </a:lnTo>
                  <a:lnTo>
                    <a:pt x="6211" y="7554"/>
                  </a:lnTo>
                  <a:lnTo>
                    <a:pt x="6202" y="7545"/>
                  </a:lnTo>
                  <a:lnTo>
                    <a:pt x="6193" y="7536"/>
                  </a:lnTo>
                  <a:lnTo>
                    <a:pt x="6193" y="7518"/>
                  </a:lnTo>
                  <a:lnTo>
                    <a:pt x="6193" y="7510"/>
                  </a:lnTo>
                  <a:lnTo>
                    <a:pt x="6202" y="7510"/>
                  </a:lnTo>
                  <a:lnTo>
                    <a:pt x="6202" y="7501"/>
                  </a:lnTo>
                  <a:lnTo>
                    <a:pt x="6211" y="7501"/>
                  </a:lnTo>
                  <a:lnTo>
                    <a:pt x="6211" y="7492"/>
                  </a:lnTo>
                  <a:lnTo>
                    <a:pt x="6202" y="7483"/>
                  </a:lnTo>
                  <a:lnTo>
                    <a:pt x="6193" y="7483"/>
                  </a:lnTo>
                  <a:lnTo>
                    <a:pt x="6193" y="7474"/>
                  </a:lnTo>
                  <a:lnTo>
                    <a:pt x="6202" y="7474"/>
                  </a:lnTo>
                  <a:lnTo>
                    <a:pt x="6202" y="7466"/>
                  </a:lnTo>
                  <a:lnTo>
                    <a:pt x="6211" y="7457"/>
                  </a:lnTo>
                  <a:lnTo>
                    <a:pt x="6211" y="7448"/>
                  </a:lnTo>
                  <a:lnTo>
                    <a:pt x="6202" y="7439"/>
                  </a:lnTo>
                  <a:lnTo>
                    <a:pt x="6202" y="7430"/>
                  </a:lnTo>
                  <a:lnTo>
                    <a:pt x="6211" y="7421"/>
                  </a:lnTo>
                  <a:lnTo>
                    <a:pt x="6211" y="7430"/>
                  </a:lnTo>
                  <a:lnTo>
                    <a:pt x="6211" y="7439"/>
                  </a:lnTo>
                  <a:lnTo>
                    <a:pt x="6220" y="7439"/>
                  </a:lnTo>
                  <a:lnTo>
                    <a:pt x="6220" y="7430"/>
                  </a:lnTo>
                  <a:lnTo>
                    <a:pt x="6220" y="7404"/>
                  </a:lnTo>
                  <a:lnTo>
                    <a:pt x="6211" y="7368"/>
                  </a:lnTo>
                  <a:lnTo>
                    <a:pt x="6220" y="7342"/>
                  </a:lnTo>
                  <a:lnTo>
                    <a:pt x="6229" y="7324"/>
                  </a:lnTo>
                  <a:lnTo>
                    <a:pt x="6229" y="7315"/>
                  </a:lnTo>
                  <a:lnTo>
                    <a:pt x="6237" y="7307"/>
                  </a:lnTo>
                  <a:lnTo>
                    <a:pt x="6237" y="7298"/>
                  </a:lnTo>
                  <a:lnTo>
                    <a:pt x="6246" y="7298"/>
                  </a:lnTo>
                  <a:lnTo>
                    <a:pt x="6237" y="7263"/>
                  </a:lnTo>
                  <a:lnTo>
                    <a:pt x="6229" y="7263"/>
                  </a:lnTo>
                  <a:lnTo>
                    <a:pt x="6229" y="7254"/>
                  </a:lnTo>
                  <a:lnTo>
                    <a:pt x="6237" y="7254"/>
                  </a:lnTo>
                  <a:lnTo>
                    <a:pt x="6237" y="7263"/>
                  </a:lnTo>
                  <a:lnTo>
                    <a:pt x="6237" y="7254"/>
                  </a:lnTo>
                  <a:lnTo>
                    <a:pt x="6246" y="7254"/>
                  </a:lnTo>
                  <a:lnTo>
                    <a:pt x="6246" y="7245"/>
                  </a:lnTo>
                  <a:lnTo>
                    <a:pt x="6237" y="7245"/>
                  </a:lnTo>
                  <a:lnTo>
                    <a:pt x="6229" y="7227"/>
                  </a:lnTo>
                  <a:lnTo>
                    <a:pt x="6211" y="7218"/>
                  </a:lnTo>
                  <a:lnTo>
                    <a:pt x="6220" y="7227"/>
                  </a:lnTo>
                  <a:lnTo>
                    <a:pt x="6211" y="7227"/>
                  </a:lnTo>
                  <a:lnTo>
                    <a:pt x="6202" y="7227"/>
                  </a:lnTo>
                  <a:lnTo>
                    <a:pt x="6193" y="7227"/>
                  </a:lnTo>
                  <a:lnTo>
                    <a:pt x="6193" y="7218"/>
                  </a:lnTo>
                  <a:lnTo>
                    <a:pt x="6184" y="7218"/>
                  </a:lnTo>
                  <a:lnTo>
                    <a:pt x="6176" y="7218"/>
                  </a:lnTo>
                  <a:lnTo>
                    <a:pt x="6176" y="7210"/>
                  </a:lnTo>
                  <a:lnTo>
                    <a:pt x="6184" y="7210"/>
                  </a:lnTo>
                  <a:lnTo>
                    <a:pt x="6202" y="7218"/>
                  </a:lnTo>
                  <a:lnTo>
                    <a:pt x="6167" y="7183"/>
                  </a:lnTo>
                  <a:lnTo>
                    <a:pt x="6149" y="7183"/>
                  </a:lnTo>
                  <a:lnTo>
                    <a:pt x="6149" y="7192"/>
                  </a:lnTo>
                  <a:lnTo>
                    <a:pt x="6140" y="7183"/>
                  </a:lnTo>
                  <a:lnTo>
                    <a:pt x="6132" y="7183"/>
                  </a:lnTo>
                  <a:lnTo>
                    <a:pt x="6114" y="7174"/>
                  </a:lnTo>
                  <a:lnTo>
                    <a:pt x="6105" y="7174"/>
                  </a:lnTo>
                  <a:lnTo>
                    <a:pt x="6096" y="7174"/>
                  </a:lnTo>
                  <a:lnTo>
                    <a:pt x="6070" y="7183"/>
                  </a:lnTo>
                  <a:lnTo>
                    <a:pt x="6052" y="7174"/>
                  </a:lnTo>
                  <a:lnTo>
                    <a:pt x="6035" y="7174"/>
                  </a:lnTo>
                  <a:lnTo>
                    <a:pt x="6043" y="7174"/>
                  </a:lnTo>
                  <a:lnTo>
                    <a:pt x="6035" y="7183"/>
                  </a:lnTo>
                  <a:lnTo>
                    <a:pt x="6026" y="7183"/>
                  </a:lnTo>
                  <a:lnTo>
                    <a:pt x="6008" y="7192"/>
                  </a:lnTo>
                  <a:lnTo>
                    <a:pt x="5999" y="7183"/>
                  </a:lnTo>
                  <a:lnTo>
                    <a:pt x="5982" y="7192"/>
                  </a:lnTo>
                  <a:lnTo>
                    <a:pt x="5973" y="7192"/>
                  </a:lnTo>
                  <a:lnTo>
                    <a:pt x="5937" y="7183"/>
                  </a:lnTo>
                  <a:lnTo>
                    <a:pt x="5929" y="7192"/>
                  </a:lnTo>
                  <a:lnTo>
                    <a:pt x="5920" y="7183"/>
                  </a:lnTo>
                  <a:lnTo>
                    <a:pt x="5911" y="7183"/>
                  </a:lnTo>
                  <a:lnTo>
                    <a:pt x="5902" y="7183"/>
                  </a:lnTo>
                  <a:lnTo>
                    <a:pt x="5893" y="7183"/>
                  </a:lnTo>
                  <a:lnTo>
                    <a:pt x="5885" y="7192"/>
                  </a:lnTo>
                  <a:lnTo>
                    <a:pt x="5876" y="7192"/>
                  </a:lnTo>
                  <a:lnTo>
                    <a:pt x="5849" y="7174"/>
                  </a:lnTo>
                  <a:lnTo>
                    <a:pt x="5849" y="7183"/>
                  </a:lnTo>
                  <a:lnTo>
                    <a:pt x="5840" y="7192"/>
                  </a:lnTo>
                  <a:lnTo>
                    <a:pt x="5840" y="7183"/>
                  </a:lnTo>
                  <a:lnTo>
                    <a:pt x="5832" y="7183"/>
                  </a:lnTo>
                  <a:lnTo>
                    <a:pt x="5823" y="7183"/>
                  </a:lnTo>
                  <a:lnTo>
                    <a:pt x="5823" y="7174"/>
                  </a:lnTo>
                  <a:lnTo>
                    <a:pt x="5840" y="7157"/>
                  </a:lnTo>
                  <a:lnTo>
                    <a:pt x="5849" y="7148"/>
                  </a:lnTo>
                  <a:lnTo>
                    <a:pt x="5858" y="7139"/>
                  </a:lnTo>
                  <a:lnTo>
                    <a:pt x="5867" y="7121"/>
                  </a:lnTo>
                  <a:lnTo>
                    <a:pt x="5867" y="7104"/>
                  </a:lnTo>
                  <a:lnTo>
                    <a:pt x="5867" y="7086"/>
                  </a:lnTo>
                  <a:lnTo>
                    <a:pt x="5867" y="7077"/>
                  </a:lnTo>
                  <a:lnTo>
                    <a:pt x="5867" y="7068"/>
                  </a:lnTo>
                  <a:lnTo>
                    <a:pt x="5876" y="7060"/>
                  </a:lnTo>
                  <a:lnTo>
                    <a:pt x="5867" y="7051"/>
                  </a:lnTo>
                  <a:lnTo>
                    <a:pt x="5876" y="7042"/>
                  </a:lnTo>
                  <a:lnTo>
                    <a:pt x="5876" y="7033"/>
                  </a:lnTo>
                  <a:lnTo>
                    <a:pt x="5885" y="7015"/>
                  </a:lnTo>
                  <a:lnTo>
                    <a:pt x="5885" y="7007"/>
                  </a:lnTo>
                  <a:lnTo>
                    <a:pt x="5876" y="6998"/>
                  </a:lnTo>
                  <a:lnTo>
                    <a:pt x="5867" y="6998"/>
                  </a:lnTo>
                  <a:lnTo>
                    <a:pt x="5867" y="6989"/>
                  </a:lnTo>
                  <a:lnTo>
                    <a:pt x="5867" y="6980"/>
                  </a:lnTo>
                  <a:lnTo>
                    <a:pt x="5876" y="6971"/>
                  </a:lnTo>
                  <a:lnTo>
                    <a:pt x="5876" y="6962"/>
                  </a:lnTo>
                  <a:lnTo>
                    <a:pt x="5885" y="6962"/>
                  </a:lnTo>
                  <a:lnTo>
                    <a:pt x="5885" y="6971"/>
                  </a:lnTo>
                  <a:lnTo>
                    <a:pt x="5885" y="6980"/>
                  </a:lnTo>
                  <a:lnTo>
                    <a:pt x="5885" y="6989"/>
                  </a:lnTo>
                  <a:lnTo>
                    <a:pt x="5893" y="6989"/>
                  </a:lnTo>
                  <a:lnTo>
                    <a:pt x="5893" y="6998"/>
                  </a:lnTo>
                  <a:lnTo>
                    <a:pt x="5902" y="6998"/>
                  </a:lnTo>
                  <a:lnTo>
                    <a:pt x="5902" y="6989"/>
                  </a:lnTo>
                  <a:lnTo>
                    <a:pt x="5911" y="6971"/>
                  </a:lnTo>
                  <a:lnTo>
                    <a:pt x="5911" y="6962"/>
                  </a:lnTo>
                  <a:lnTo>
                    <a:pt x="5920" y="6945"/>
                  </a:lnTo>
                  <a:lnTo>
                    <a:pt x="5929" y="6927"/>
                  </a:lnTo>
                  <a:lnTo>
                    <a:pt x="5929" y="6918"/>
                  </a:lnTo>
                  <a:lnTo>
                    <a:pt x="5920" y="6918"/>
                  </a:lnTo>
                  <a:lnTo>
                    <a:pt x="5920" y="6927"/>
                  </a:lnTo>
                  <a:lnTo>
                    <a:pt x="5911" y="6927"/>
                  </a:lnTo>
                  <a:lnTo>
                    <a:pt x="5911" y="6918"/>
                  </a:lnTo>
                  <a:lnTo>
                    <a:pt x="5920" y="6918"/>
                  </a:lnTo>
                  <a:lnTo>
                    <a:pt x="5929" y="6918"/>
                  </a:lnTo>
                  <a:lnTo>
                    <a:pt x="5929" y="6909"/>
                  </a:lnTo>
                  <a:lnTo>
                    <a:pt x="5929" y="6901"/>
                  </a:lnTo>
                  <a:lnTo>
                    <a:pt x="5920" y="6901"/>
                  </a:lnTo>
                  <a:lnTo>
                    <a:pt x="5911" y="6901"/>
                  </a:lnTo>
                  <a:lnTo>
                    <a:pt x="5920" y="6883"/>
                  </a:lnTo>
                  <a:lnTo>
                    <a:pt x="5929" y="6883"/>
                  </a:lnTo>
                  <a:lnTo>
                    <a:pt x="5929" y="6874"/>
                  </a:lnTo>
                  <a:lnTo>
                    <a:pt x="5929" y="6865"/>
                  </a:lnTo>
                  <a:lnTo>
                    <a:pt x="5929" y="6857"/>
                  </a:lnTo>
                  <a:lnTo>
                    <a:pt x="5946" y="6830"/>
                  </a:lnTo>
                  <a:lnTo>
                    <a:pt x="5955" y="6821"/>
                  </a:lnTo>
                  <a:lnTo>
                    <a:pt x="5964" y="6812"/>
                  </a:lnTo>
                  <a:lnTo>
                    <a:pt x="5973" y="6804"/>
                  </a:lnTo>
                  <a:lnTo>
                    <a:pt x="5973" y="6795"/>
                  </a:lnTo>
                  <a:lnTo>
                    <a:pt x="5982" y="6786"/>
                  </a:lnTo>
                  <a:lnTo>
                    <a:pt x="5973" y="6777"/>
                  </a:lnTo>
                  <a:lnTo>
                    <a:pt x="5973" y="6759"/>
                  </a:lnTo>
                  <a:lnTo>
                    <a:pt x="5964" y="6751"/>
                  </a:lnTo>
                  <a:lnTo>
                    <a:pt x="5955" y="6751"/>
                  </a:lnTo>
                  <a:lnTo>
                    <a:pt x="5946" y="6751"/>
                  </a:lnTo>
                  <a:lnTo>
                    <a:pt x="5937" y="6751"/>
                  </a:lnTo>
                  <a:lnTo>
                    <a:pt x="5946" y="6751"/>
                  </a:lnTo>
                  <a:lnTo>
                    <a:pt x="5946" y="6759"/>
                  </a:lnTo>
                  <a:lnTo>
                    <a:pt x="5929" y="6759"/>
                  </a:lnTo>
                  <a:lnTo>
                    <a:pt x="5911" y="6751"/>
                  </a:lnTo>
                  <a:lnTo>
                    <a:pt x="5902" y="6751"/>
                  </a:lnTo>
                  <a:lnTo>
                    <a:pt x="5885" y="6751"/>
                  </a:lnTo>
                  <a:lnTo>
                    <a:pt x="5876" y="6751"/>
                  </a:lnTo>
                  <a:lnTo>
                    <a:pt x="5867" y="6751"/>
                  </a:lnTo>
                  <a:lnTo>
                    <a:pt x="5858" y="6751"/>
                  </a:lnTo>
                  <a:lnTo>
                    <a:pt x="5849" y="6751"/>
                  </a:lnTo>
                  <a:lnTo>
                    <a:pt x="5832" y="6759"/>
                  </a:lnTo>
                  <a:lnTo>
                    <a:pt x="5823" y="6759"/>
                  </a:lnTo>
                  <a:lnTo>
                    <a:pt x="5752" y="6777"/>
                  </a:lnTo>
                  <a:lnTo>
                    <a:pt x="5726" y="6786"/>
                  </a:lnTo>
                  <a:lnTo>
                    <a:pt x="5717" y="6795"/>
                  </a:lnTo>
                  <a:lnTo>
                    <a:pt x="5708" y="6812"/>
                  </a:lnTo>
                  <a:lnTo>
                    <a:pt x="5708" y="6830"/>
                  </a:lnTo>
                  <a:lnTo>
                    <a:pt x="5708" y="6839"/>
                  </a:lnTo>
                  <a:lnTo>
                    <a:pt x="5708" y="6857"/>
                  </a:lnTo>
                  <a:lnTo>
                    <a:pt x="5708" y="6865"/>
                  </a:lnTo>
                  <a:lnTo>
                    <a:pt x="5708" y="6874"/>
                  </a:lnTo>
                  <a:lnTo>
                    <a:pt x="5690" y="6883"/>
                  </a:lnTo>
                  <a:lnTo>
                    <a:pt x="5690" y="6892"/>
                  </a:lnTo>
                  <a:lnTo>
                    <a:pt x="5690" y="6918"/>
                  </a:lnTo>
                  <a:lnTo>
                    <a:pt x="5673" y="6936"/>
                  </a:lnTo>
                  <a:lnTo>
                    <a:pt x="5664" y="6936"/>
                  </a:lnTo>
                  <a:lnTo>
                    <a:pt x="5655" y="6945"/>
                  </a:lnTo>
                  <a:lnTo>
                    <a:pt x="5637" y="6954"/>
                  </a:lnTo>
                  <a:lnTo>
                    <a:pt x="5637" y="6962"/>
                  </a:lnTo>
                  <a:lnTo>
                    <a:pt x="5646" y="6954"/>
                  </a:lnTo>
                  <a:lnTo>
                    <a:pt x="5637" y="6962"/>
                  </a:lnTo>
                  <a:lnTo>
                    <a:pt x="5646" y="6962"/>
                  </a:lnTo>
                  <a:lnTo>
                    <a:pt x="5646" y="6971"/>
                  </a:lnTo>
                  <a:lnTo>
                    <a:pt x="5637" y="6980"/>
                  </a:lnTo>
                  <a:lnTo>
                    <a:pt x="5629" y="6989"/>
                  </a:lnTo>
                  <a:lnTo>
                    <a:pt x="5611" y="6989"/>
                  </a:lnTo>
                  <a:lnTo>
                    <a:pt x="5602" y="6980"/>
                  </a:lnTo>
                  <a:lnTo>
                    <a:pt x="5602" y="6971"/>
                  </a:lnTo>
                  <a:lnTo>
                    <a:pt x="5593" y="6971"/>
                  </a:lnTo>
                  <a:lnTo>
                    <a:pt x="5585" y="6971"/>
                  </a:lnTo>
                  <a:lnTo>
                    <a:pt x="5576" y="6971"/>
                  </a:lnTo>
                  <a:lnTo>
                    <a:pt x="5558" y="6971"/>
                  </a:lnTo>
                  <a:lnTo>
                    <a:pt x="5540" y="6980"/>
                  </a:lnTo>
                  <a:lnTo>
                    <a:pt x="5532" y="6989"/>
                  </a:lnTo>
                  <a:lnTo>
                    <a:pt x="5514" y="6989"/>
                  </a:lnTo>
                  <a:lnTo>
                    <a:pt x="5505" y="6989"/>
                  </a:lnTo>
                  <a:lnTo>
                    <a:pt x="5479" y="6989"/>
                  </a:lnTo>
                  <a:lnTo>
                    <a:pt x="5461" y="6998"/>
                  </a:lnTo>
                  <a:lnTo>
                    <a:pt x="5435" y="7007"/>
                  </a:lnTo>
                  <a:lnTo>
                    <a:pt x="5417" y="7007"/>
                  </a:lnTo>
                  <a:lnTo>
                    <a:pt x="5408" y="7007"/>
                  </a:lnTo>
                  <a:lnTo>
                    <a:pt x="5399" y="6998"/>
                  </a:lnTo>
                  <a:lnTo>
                    <a:pt x="5390" y="6980"/>
                  </a:lnTo>
                  <a:lnTo>
                    <a:pt x="5373" y="6980"/>
                  </a:lnTo>
                  <a:lnTo>
                    <a:pt x="5364" y="6971"/>
                  </a:lnTo>
                  <a:lnTo>
                    <a:pt x="5329" y="6971"/>
                  </a:lnTo>
                  <a:lnTo>
                    <a:pt x="5320" y="6962"/>
                  </a:lnTo>
                  <a:lnTo>
                    <a:pt x="5329" y="6971"/>
                  </a:lnTo>
                  <a:lnTo>
                    <a:pt x="5311" y="6962"/>
                  </a:lnTo>
                  <a:lnTo>
                    <a:pt x="5302" y="6954"/>
                  </a:lnTo>
                  <a:lnTo>
                    <a:pt x="5311" y="6962"/>
                  </a:lnTo>
                  <a:lnTo>
                    <a:pt x="5320" y="6962"/>
                  </a:lnTo>
                  <a:lnTo>
                    <a:pt x="5311" y="6954"/>
                  </a:lnTo>
                  <a:lnTo>
                    <a:pt x="5302" y="6945"/>
                  </a:lnTo>
                  <a:lnTo>
                    <a:pt x="5293" y="6936"/>
                  </a:lnTo>
                  <a:lnTo>
                    <a:pt x="5293" y="6927"/>
                  </a:lnTo>
                  <a:lnTo>
                    <a:pt x="5276" y="6918"/>
                  </a:lnTo>
                  <a:lnTo>
                    <a:pt x="5276" y="6909"/>
                  </a:lnTo>
                  <a:lnTo>
                    <a:pt x="5276" y="6901"/>
                  </a:lnTo>
                  <a:lnTo>
                    <a:pt x="5267" y="6883"/>
                  </a:lnTo>
                  <a:lnTo>
                    <a:pt x="5249" y="6857"/>
                  </a:lnTo>
                  <a:lnTo>
                    <a:pt x="5223" y="6821"/>
                  </a:lnTo>
                  <a:lnTo>
                    <a:pt x="5214" y="6812"/>
                  </a:lnTo>
                  <a:lnTo>
                    <a:pt x="5205" y="6786"/>
                  </a:lnTo>
                  <a:lnTo>
                    <a:pt x="5188" y="6759"/>
                  </a:lnTo>
                  <a:lnTo>
                    <a:pt x="5188" y="6751"/>
                  </a:lnTo>
                  <a:lnTo>
                    <a:pt x="5179" y="6751"/>
                  </a:lnTo>
                  <a:lnTo>
                    <a:pt x="5170" y="6715"/>
                  </a:lnTo>
                  <a:lnTo>
                    <a:pt x="5188" y="6733"/>
                  </a:lnTo>
                  <a:lnTo>
                    <a:pt x="5196" y="6751"/>
                  </a:lnTo>
                  <a:lnTo>
                    <a:pt x="5196" y="6759"/>
                  </a:lnTo>
                  <a:lnTo>
                    <a:pt x="5196" y="6768"/>
                  </a:lnTo>
                  <a:lnTo>
                    <a:pt x="5196" y="6777"/>
                  </a:lnTo>
                  <a:lnTo>
                    <a:pt x="5196" y="6768"/>
                  </a:lnTo>
                  <a:lnTo>
                    <a:pt x="5205" y="6759"/>
                  </a:lnTo>
                  <a:lnTo>
                    <a:pt x="5205" y="6751"/>
                  </a:lnTo>
                  <a:lnTo>
                    <a:pt x="5188" y="6742"/>
                  </a:lnTo>
                  <a:lnTo>
                    <a:pt x="5188" y="6733"/>
                  </a:lnTo>
                  <a:lnTo>
                    <a:pt x="5170" y="6706"/>
                  </a:lnTo>
                  <a:lnTo>
                    <a:pt x="5170" y="6698"/>
                  </a:lnTo>
                  <a:lnTo>
                    <a:pt x="5161" y="6680"/>
                  </a:lnTo>
                  <a:lnTo>
                    <a:pt x="5161" y="6671"/>
                  </a:lnTo>
                  <a:lnTo>
                    <a:pt x="5170" y="6654"/>
                  </a:lnTo>
                  <a:lnTo>
                    <a:pt x="5170" y="6645"/>
                  </a:lnTo>
                  <a:lnTo>
                    <a:pt x="5170" y="6618"/>
                  </a:lnTo>
                  <a:lnTo>
                    <a:pt x="5170" y="6584"/>
                  </a:lnTo>
                  <a:lnTo>
                    <a:pt x="5179" y="6566"/>
                  </a:lnTo>
                  <a:lnTo>
                    <a:pt x="5179" y="6531"/>
                  </a:lnTo>
                  <a:lnTo>
                    <a:pt x="5188" y="6487"/>
                  </a:lnTo>
                  <a:lnTo>
                    <a:pt x="5196" y="6469"/>
                  </a:lnTo>
                  <a:lnTo>
                    <a:pt x="5214" y="6443"/>
                  </a:lnTo>
                  <a:lnTo>
                    <a:pt x="5214" y="6425"/>
                  </a:lnTo>
                  <a:lnTo>
                    <a:pt x="5214" y="6407"/>
                  </a:lnTo>
                  <a:lnTo>
                    <a:pt x="5196" y="6381"/>
                  </a:lnTo>
                  <a:lnTo>
                    <a:pt x="5196" y="6372"/>
                  </a:lnTo>
                  <a:lnTo>
                    <a:pt x="5196" y="6354"/>
                  </a:lnTo>
                  <a:lnTo>
                    <a:pt x="5188" y="6346"/>
                  </a:lnTo>
                  <a:lnTo>
                    <a:pt x="5188" y="6337"/>
                  </a:lnTo>
                  <a:lnTo>
                    <a:pt x="5188" y="6328"/>
                  </a:lnTo>
                  <a:lnTo>
                    <a:pt x="5196" y="6319"/>
                  </a:lnTo>
                  <a:lnTo>
                    <a:pt x="5188" y="6310"/>
                  </a:lnTo>
                  <a:lnTo>
                    <a:pt x="5179" y="6310"/>
                  </a:lnTo>
                  <a:lnTo>
                    <a:pt x="5170" y="6293"/>
                  </a:lnTo>
                  <a:lnTo>
                    <a:pt x="5179" y="6302"/>
                  </a:lnTo>
                  <a:lnTo>
                    <a:pt x="5188" y="6302"/>
                  </a:lnTo>
                  <a:lnTo>
                    <a:pt x="5196" y="6302"/>
                  </a:lnTo>
                  <a:lnTo>
                    <a:pt x="5205" y="6275"/>
                  </a:lnTo>
                  <a:lnTo>
                    <a:pt x="5196" y="6266"/>
                  </a:lnTo>
                  <a:lnTo>
                    <a:pt x="5196" y="6257"/>
                  </a:lnTo>
                  <a:lnTo>
                    <a:pt x="5205" y="6266"/>
                  </a:lnTo>
                  <a:lnTo>
                    <a:pt x="5214" y="6257"/>
                  </a:lnTo>
                  <a:lnTo>
                    <a:pt x="5223" y="6249"/>
                  </a:lnTo>
                  <a:lnTo>
                    <a:pt x="5223" y="6240"/>
                  </a:lnTo>
                  <a:lnTo>
                    <a:pt x="5214" y="6249"/>
                  </a:lnTo>
                  <a:lnTo>
                    <a:pt x="5214" y="6240"/>
                  </a:lnTo>
                  <a:lnTo>
                    <a:pt x="5223" y="6240"/>
                  </a:lnTo>
                  <a:lnTo>
                    <a:pt x="5232" y="6240"/>
                  </a:lnTo>
                  <a:lnTo>
                    <a:pt x="5232" y="6231"/>
                  </a:lnTo>
                  <a:lnTo>
                    <a:pt x="5232" y="6240"/>
                  </a:lnTo>
                  <a:lnTo>
                    <a:pt x="5240" y="6240"/>
                  </a:lnTo>
                  <a:lnTo>
                    <a:pt x="5240" y="6231"/>
                  </a:lnTo>
                  <a:lnTo>
                    <a:pt x="5240" y="6222"/>
                  </a:lnTo>
                  <a:lnTo>
                    <a:pt x="5249" y="6222"/>
                  </a:lnTo>
                  <a:lnTo>
                    <a:pt x="5258" y="6222"/>
                  </a:lnTo>
                  <a:lnTo>
                    <a:pt x="5267" y="6222"/>
                  </a:lnTo>
                  <a:lnTo>
                    <a:pt x="5267" y="6213"/>
                  </a:lnTo>
                  <a:lnTo>
                    <a:pt x="5258" y="6213"/>
                  </a:lnTo>
                  <a:lnTo>
                    <a:pt x="5258" y="6196"/>
                  </a:lnTo>
                  <a:lnTo>
                    <a:pt x="5267" y="6204"/>
                  </a:lnTo>
                  <a:lnTo>
                    <a:pt x="5276" y="6204"/>
                  </a:lnTo>
                  <a:lnTo>
                    <a:pt x="5276" y="6196"/>
                  </a:lnTo>
                  <a:lnTo>
                    <a:pt x="5285" y="6196"/>
                  </a:lnTo>
                  <a:lnTo>
                    <a:pt x="5293" y="6204"/>
                  </a:lnTo>
                  <a:lnTo>
                    <a:pt x="5302" y="6204"/>
                  </a:lnTo>
                  <a:lnTo>
                    <a:pt x="5293" y="6204"/>
                  </a:lnTo>
                  <a:lnTo>
                    <a:pt x="5285" y="6213"/>
                  </a:lnTo>
                  <a:lnTo>
                    <a:pt x="5302" y="6204"/>
                  </a:lnTo>
                  <a:lnTo>
                    <a:pt x="5311" y="6204"/>
                  </a:lnTo>
                  <a:lnTo>
                    <a:pt x="5320" y="6196"/>
                  </a:lnTo>
                  <a:lnTo>
                    <a:pt x="5329" y="6196"/>
                  </a:lnTo>
                  <a:lnTo>
                    <a:pt x="5346" y="6178"/>
                  </a:lnTo>
                  <a:lnTo>
                    <a:pt x="5355" y="6178"/>
                  </a:lnTo>
                  <a:lnTo>
                    <a:pt x="5364" y="6169"/>
                  </a:lnTo>
                  <a:lnTo>
                    <a:pt x="5364" y="6160"/>
                  </a:lnTo>
                  <a:lnTo>
                    <a:pt x="5373" y="6151"/>
                  </a:lnTo>
                  <a:lnTo>
                    <a:pt x="5382" y="6143"/>
                  </a:lnTo>
                  <a:lnTo>
                    <a:pt x="5382" y="6134"/>
                  </a:lnTo>
                  <a:lnTo>
                    <a:pt x="5373" y="6134"/>
                  </a:lnTo>
                  <a:lnTo>
                    <a:pt x="5373" y="6116"/>
                  </a:lnTo>
                  <a:lnTo>
                    <a:pt x="5382" y="6116"/>
                  </a:lnTo>
                  <a:lnTo>
                    <a:pt x="5390" y="6116"/>
                  </a:lnTo>
                  <a:lnTo>
                    <a:pt x="5390" y="6125"/>
                  </a:lnTo>
                  <a:lnTo>
                    <a:pt x="5399" y="6125"/>
                  </a:lnTo>
                  <a:lnTo>
                    <a:pt x="5408" y="6125"/>
                  </a:lnTo>
                  <a:lnTo>
                    <a:pt x="5390" y="6143"/>
                  </a:lnTo>
                  <a:lnTo>
                    <a:pt x="5408" y="6134"/>
                  </a:lnTo>
                  <a:lnTo>
                    <a:pt x="5443" y="6116"/>
                  </a:lnTo>
                  <a:lnTo>
                    <a:pt x="5452" y="6116"/>
                  </a:lnTo>
                  <a:lnTo>
                    <a:pt x="5452" y="6107"/>
                  </a:lnTo>
                  <a:lnTo>
                    <a:pt x="5461" y="6090"/>
                  </a:lnTo>
                  <a:lnTo>
                    <a:pt x="5461" y="6099"/>
                  </a:lnTo>
                  <a:lnTo>
                    <a:pt x="5461" y="6107"/>
                  </a:lnTo>
                  <a:lnTo>
                    <a:pt x="5452" y="6107"/>
                  </a:lnTo>
                  <a:lnTo>
                    <a:pt x="5461" y="6107"/>
                  </a:lnTo>
                  <a:lnTo>
                    <a:pt x="5461" y="6116"/>
                  </a:lnTo>
                  <a:lnTo>
                    <a:pt x="5470" y="6107"/>
                  </a:lnTo>
                  <a:lnTo>
                    <a:pt x="5496" y="6107"/>
                  </a:lnTo>
                  <a:lnTo>
                    <a:pt x="5505" y="6107"/>
                  </a:lnTo>
                  <a:lnTo>
                    <a:pt x="5523" y="6116"/>
                  </a:lnTo>
                  <a:lnTo>
                    <a:pt x="5540" y="6125"/>
                  </a:lnTo>
                  <a:lnTo>
                    <a:pt x="5549" y="6125"/>
                  </a:lnTo>
                  <a:lnTo>
                    <a:pt x="5576" y="6125"/>
                  </a:lnTo>
                  <a:lnTo>
                    <a:pt x="5585" y="6125"/>
                  </a:lnTo>
                  <a:lnTo>
                    <a:pt x="5593" y="6125"/>
                  </a:lnTo>
                  <a:lnTo>
                    <a:pt x="5585" y="6116"/>
                  </a:lnTo>
                  <a:lnTo>
                    <a:pt x="5593" y="6107"/>
                  </a:lnTo>
                  <a:lnTo>
                    <a:pt x="5602" y="6107"/>
                  </a:lnTo>
                  <a:lnTo>
                    <a:pt x="5611" y="6116"/>
                  </a:lnTo>
                  <a:lnTo>
                    <a:pt x="5620" y="6116"/>
                  </a:lnTo>
                  <a:lnTo>
                    <a:pt x="5629" y="6125"/>
                  </a:lnTo>
                  <a:lnTo>
                    <a:pt x="5646" y="6134"/>
                  </a:lnTo>
                  <a:lnTo>
                    <a:pt x="5646" y="6125"/>
                  </a:lnTo>
                  <a:lnTo>
                    <a:pt x="5646" y="6134"/>
                  </a:lnTo>
                  <a:lnTo>
                    <a:pt x="5655" y="6143"/>
                  </a:lnTo>
                  <a:lnTo>
                    <a:pt x="5646" y="6143"/>
                  </a:lnTo>
                  <a:lnTo>
                    <a:pt x="5646" y="6151"/>
                  </a:lnTo>
                  <a:lnTo>
                    <a:pt x="5664" y="6160"/>
                  </a:lnTo>
                  <a:lnTo>
                    <a:pt x="5690" y="6160"/>
                  </a:lnTo>
                  <a:lnTo>
                    <a:pt x="5699" y="6151"/>
                  </a:lnTo>
                  <a:lnTo>
                    <a:pt x="5708" y="6151"/>
                  </a:lnTo>
                  <a:lnTo>
                    <a:pt x="5717" y="6151"/>
                  </a:lnTo>
                  <a:lnTo>
                    <a:pt x="5726" y="6160"/>
                  </a:lnTo>
                  <a:lnTo>
                    <a:pt x="5735" y="6160"/>
                  </a:lnTo>
                  <a:lnTo>
                    <a:pt x="5735" y="6151"/>
                  </a:lnTo>
                  <a:lnTo>
                    <a:pt x="5735" y="6143"/>
                  </a:lnTo>
                  <a:lnTo>
                    <a:pt x="5735" y="6134"/>
                  </a:lnTo>
                  <a:lnTo>
                    <a:pt x="5726" y="6134"/>
                  </a:lnTo>
                  <a:lnTo>
                    <a:pt x="5735" y="6125"/>
                  </a:lnTo>
                  <a:lnTo>
                    <a:pt x="5752" y="6134"/>
                  </a:lnTo>
                  <a:lnTo>
                    <a:pt x="5752" y="6143"/>
                  </a:lnTo>
                  <a:lnTo>
                    <a:pt x="5761" y="6143"/>
                  </a:lnTo>
                  <a:lnTo>
                    <a:pt x="5770" y="6143"/>
                  </a:lnTo>
                  <a:lnTo>
                    <a:pt x="5770" y="6151"/>
                  </a:lnTo>
                  <a:lnTo>
                    <a:pt x="5779" y="6151"/>
                  </a:lnTo>
                  <a:lnTo>
                    <a:pt x="5779" y="6160"/>
                  </a:lnTo>
                  <a:lnTo>
                    <a:pt x="5787" y="6160"/>
                  </a:lnTo>
                  <a:lnTo>
                    <a:pt x="5787" y="6169"/>
                  </a:lnTo>
                  <a:lnTo>
                    <a:pt x="5796" y="6169"/>
                  </a:lnTo>
                  <a:lnTo>
                    <a:pt x="5805" y="6169"/>
                  </a:lnTo>
                  <a:lnTo>
                    <a:pt x="5805" y="6160"/>
                  </a:lnTo>
                  <a:lnTo>
                    <a:pt x="5814" y="6160"/>
                  </a:lnTo>
                  <a:lnTo>
                    <a:pt x="5814" y="6151"/>
                  </a:lnTo>
                  <a:lnTo>
                    <a:pt x="5805" y="6151"/>
                  </a:lnTo>
                  <a:lnTo>
                    <a:pt x="5805" y="6143"/>
                  </a:lnTo>
                  <a:lnTo>
                    <a:pt x="5796" y="6143"/>
                  </a:lnTo>
                  <a:lnTo>
                    <a:pt x="5779" y="6143"/>
                  </a:lnTo>
                  <a:lnTo>
                    <a:pt x="5770" y="6134"/>
                  </a:lnTo>
                  <a:lnTo>
                    <a:pt x="5770" y="6125"/>
                  </a:lnTo>
                  <a:lnTo>
                    <a:pt x="5761" y="6125"/>
                  </a:lnTo>
                  <a:lnTo>
                    <a:pt x="5761" y="6116"/>
                  </a:lnTo>
                  <a:lnTo>
                    <a:pt x="5770" y="6116"/>
                  </a:lnTo>
                  <a:lnTo>
                    <a:pt x="5779" y="6116"/>
                  </a:lnTo>
                  <a:lnTo>
                    <a:pt x="5770" y="6116"/>
                  </a:lnTo>
                  <a:lnTo>
                    <a:pt x="5779" y="6107"/>
                  </a:lnTo>
                  <a:lnTo>
                    <a:pt x="5787" y="6107"/>
                  </a:lnTo>
                  <a:lnTo>
                    <a:pt x="5787" y="6099"/>
                  </a:lnTo>
                  <a:lnTo>
                    <a:pt x="5787" y="6090"/>
                  </a:lnTo>
                  <a:lnTo>
                    <a:pt x="5779" y="6090"/>
                  </a:lnTo>
                  <a:lnTo>
                    <a:pt x="5770" y="6090"/>
                  </a:lnTo>
                  <a:lnTo>
                    <a:pt x="5770" y="6099"/>
                  </a:lnTo>
                  <a:lnTo>
                    <a:pt x="5761" y="6099"/>
                  </a:lnTo>
                  <a:lnTo>
                    <a:pt x="5752" y="6090"/>
                  </a:lnTo>
                  <a:lnTo>
                    <a:pt x="5761" y="6090"/>
                  </a:lnTo>
                  <a:lnTo>
                    <a:pt x="5770" y="6081"/>
                  </a:lnTo>
                  <a:lnTo>
                    <a:pt x="5761" y="6081"/>
                  </a:lnTo>
                  <a:lnTo>
                    <a:pt x="5752" y="6081"/>
                  </a:lnTo>
                  <a:lnTo>
                    <a:pt x="5743" y="6090"/>
                  </a:lnTo>
                  <a:lnTo>
                    <a:pt x="5726" y="6090"/>
                  </a:lnTo>
                  <a:lnTo>
                    <a:pt x="5717" y="6090"/>
                  </a:lnTo>
                  <a:lnTo>
                    <a:pt x="5708" y="6081"/>
                  </a:lnTo>
                  <a:lnTo>
                    <a:pt x="5717" y="6072"/>
                  </a:lnTo>
                  <a:lnTo>
                    <a:pt x="5726" y="6063"/>
                  </a:lnTo>
                  <a:lnTo>
                    <a:pt x="5735" y="6063"/>
                  </a:lnTo>
                  <a:lnTo>
                    <a:pt x="5743" y="6072"/>
                  </a:lnTo>
                  <a:lnTo>
                    <a:pt x="5770" y="6081"/>
                  </a:lnTo>
                  <a:lnTo>
                    <a:pt x="5779" y="6072"/>
                  </a:lnTo>
                  <a:lnTo>
                    <a:pt x="5787" y="6063"/>
                  </a:lnTo>
                  <a:lnTo>
                    <a:pt x="5796" y="6063"/>
                  </a:lnTo>
                  <a:lnTo>
                    <a:pt x="5814" y="6063"/>
                  </a:lnTo>
                  <a:lnTo>
                    <a:pt x="5823" y="6054"/>
                  </a:lnTo>
                  <a:lnTo>
                    <a:pt x="5832" y="6063"/>
                  </a:lnTo>
                  <a:lnTo>
                    <a:pt x="5840" y="6063"/>
                  </a:lnTo>
                  <a:lnTo>
                    <a:pt x="5867" y="6063"/>
                  </a:lnTo>
                  <a:lnTo>
                    <a:pt x="5876" y="6063"/>
                  </a:lnTo>
                  <a:lnTo>
                    <a:pt x="5885" y="6054"/>
                  </a:lnTo>
                  <a:lnTo>
                    <a:pt x="5885" y="6046"/>
                  </a:lnTo>
                  <a:lnTo>
                    <a:pt x="5885" y="6037"/>
                  </a:lnTo>
                  <a:lnTo>
                    <a:pt x="5893" y="6046"/>
                  </a:lnTo>
                  <a:lnTo>
                    <a:pt x="5893" y="6054"/>
                  </a:lnTo>
                  <a:lnTo>
                    <a:pt x="5902" y="6063"/>
                  </a:lnTo>
                  <a:lnTo>
                    <a:pt x="5902" y="6072"/>
                  </a:lnTo>
                  <a:lnTo>
                    <a:pt x="5893" y="6072"/>
                  </a:lnTo>
                  <a:lnTo>
                    <a:pt x="5885" y="6072"/>
                  </a:lnTo>
                  <a:lnTo>
                    <a:pt x="5920" y="6072"/>
                  </a:lnTo>
                  <a:lnTo>
                    <a:pt x="5929" y="6063"/>
                  </a:lnTo>
                  <a:lnTo>
                    <a:pt x="5929" y="6072"/>
                  </a:lnTo>
                  <a:lnTo>
                    <a:pt x="5937" y="6063"/>
                  </a:lnTo>
                  <a:lnTo>
                    <a:pt x="5946" y="6063"/>
                  </a:lnTo>
                  <a:lnTo>
                    <a:pt x="5946" y="6054"/>
                  </a:lnTo>
                  <a:lnTo>
                    <a:pt x="5946" y="6046"/>
                  </a:lnTo>
                  <a:lnTo>
                    <a:pt x="5955" y="6046"/>
                  </a:lnTo>
                  <a:lnTo>
                    <a:pt x="5955" y="6054"/>
                  </a:lnTo>
                  <a:lnTo>
                    <a:pt x="5964" y="6046"/>
                  </a:lnTo>
                  <a:lnTo>
                    <a:pt x="5964" y="6054"/>
                  </a:lnTo>
                  <a:lnTo>
                    <a:pt x="5955" y="6063"/>
                  </a:lnTo>
                  <a:lnTo>
                    <a:pt x="5946" y="6063"/>
                  </a:lnTo>
                  <a:lnTo>
                    <a:pt x="5964" y="6063"/>
                  </a:lnTo>
                  <a:lnTo>
                    <a:pt x="5990" y="6063"/>
                  </a:lnTo>
                  <a:lnTo>
                    <a:pt x="5990" y="6054"/>
                  </a:lnTo>
                  <a:lnTo>
                    <a:pt x="5999" y="6054"/>
                  </a:lnTo>
                  <a:lnTo>
                    <a:pt x="6008" y="6054"/>
                  </a:lnTo>
                  <a:lnTo>
                    <a:pt x="6017" y="6054"/>
                  </a:lnTo>
                  <a:lnTo>
                    <a:pt x="6026" y="6054"/>
                  </a:lnTo>
                  <a:lnTo>
                    <a:pt x="6026" y="6063"/>
                  </a:lnTo>
                  <a:lnTo>
                    <a:pt x="6017" y="6054"/>
                  </a:lnTo>
                  <a:lnTo>
                    <a:pt x="5999" y="6063"/>
                  </a:lnTo>
                  <a:lnTo>
                    <a:pt x="6026" y="6063"/>
                  </a:lnTo>
                  <a:lnTo>
                    <a:pt x="6043" y="6072"/>
                  </a:lnTo>
                  <a:lnTo>
                    <a:pt x="6052" y="6081"/>
                  </a:lnTo>
                  <a:lnTo>
                    <a:pt x="6052" y="6072"/>
                  </a:lnTo>
                  <a:lnTo>
                    <a:pt x="6061" y="6072"/>
                  </a:lnTo>
                  <a:lnTo>
                    <a:pt x="6061" y="6081"/>
                  </a:lnTo>
                  <a:lnTo>
                    <a:pt x="6070" y="6090"/>
                  </a:lnTo>
                  <a:lnTo>
                    <a:pt x="6087" y="6099"/>
                  </a:lnTo>
                  <a:lnTo>
                    <a:pt x="6087" y="6107"/>
                  </a:lnTo>
                  <a:lnTo>
                    <a:pt x="6087" y="6116"/>
                  </a:lnTo>
                  <a:lnTo>
                    <a:pt x="6079" y="6107"/>
                  </a:lnTo>
                  <a:lnTo>
                    <a:pt x="6079" y="6116"/>
                  </a:lnTo>
                  <a:lnTo>
                    <a:pt x="6087" y="6116"/>
                  </a:lnTo>
                  <a:lnTo>
                    <a:pt x="6096" y="6116"/>
                  </a:lnTo>
                  <a:lnTo>
                    <a:pt x="6105" y="6116"/>
                  </a:lnTo>
                  <a:lnTo>
                    <a:pt x="6114" y="6116"/>
                  </a:lnTo>
                  <a:lnTo>
                    <a:pt x="6114" y="6107"/>
                  </a:lnTo>
                  <a:lnTo>
                    <a:pt x="6123" y="6107"/>
                  </a:lnTo>
                  <a:lnTo>
                    <a:pt x="6140" y="6099"/>
                  </a:lnTo>
                  <a:lnTo>
                    <a:pt x="6149" y="6099"/>
                  </a:lnTo>
                  <a:lnTo>
                    <a:pt x="6158" y="6099"/>
                  </a:lnTo>
                  <a:lnTo>
                    <a:pt x="6158" y="6090"/>
                  </a:lnTo>
                  <a:lnTo>
                    <a:pt x="6176" y="6081"/>
                  </a:lnTo>
                  <a:lnTo>
                    <a:pt x="6202" y="6099"/>
                  </a:lnTo>
                  <a:lnTo>
                    <a:pt x="6237" y="6134"/>
                  </a:lnTo>
                  <a:lnTo>
                    <a:pt x="6273" y="6169"/>
                  </a:lnTo>
                  <a:lnTo>
                    <a:pt x="6282" y="6178"/>
                  </a:lnTo>
                  <a:lnTo>
                    <a:pt x="6282" y="6187"/>
                  </a:lnTo>
                  <a:lnTo>
                    <a:pt x="6282" y="6213"/>
                  </a:lnTo>
                  <a:lnTo>
                    <a:pt x="6273" y="6231"/>
                  </a:lnTo>
                  <a:lnTo>
                    <a:pt x="6264" y="6266"/>
                  </a:lnTo>
                  <a:lnTo>
                    <a:pt x="6273" y="6266"/>
                  </a:lnTo>
                  <a:lnTo>
                    <a:pt x="6273" y="6275"/>
                  </a:lnTo>
                  <a:lnTo>
                    <a:pt x="6282" y="6275"/>
                  </a:lnTo>
                  <a:lnTo>
                    <a:pt x="6282" y="6266"/>
                  </a:lnTo>
                  <a:lnTo>
                    <a:pt x="6290" y="6257"/>
                  </a:lnTo>
                  <a:lnTo>
                    <a:pt x="6282" y="6257"/>
                  </a:lnTo>
                  <a:lnTo>
                    <a:pt x="6282" y="6249"/>
                  </a:lnTo>
                  <a:lnTo>
                    <a:pt x="6290" y="6257"/>
                  </a:lnTo>
                  <a:lnTo>
                    <a:pt x="6299" y="6257"/>
                  </a:lnTo>
                  <a:lnTo>
                    <a:pt x="6299" y="6266"/>
                  </a:lnTo>
                  <a:lnTo>
                    <a:pt x="6290" y="6275"/>
                  </a:lnTo>
                  <a:lnTo>
                    <a:pt x="6282" y="6293"/>
                  </a:lnTo>
                  <a:lnTo>
                    <a:pt x="6282" y="6302"/>
                  </a:lnTo>
                  <a:lnTo>
                    <a:pt x="6299" y="6328"/>
                  </a:lnTo>
                  <a:lnTo>
                    <a:pt x="6308" y="6337"/>
                  </a:lnTo>
                  <a:lnTo>
                    <a:pt x="6308" y="6346"/>
                  </a:lnTo>
                  <a:lnTo>
                    <a:pt x="6317" y="6346"/>
                  </a:lnTo>
                  <a:lnTo>
                    <a:pt x="6317" y="6337"/>
                  </a:lnTo>
                  <a:lnTo>
                    <a:pt x="6326" y="6337"/>
                  </a:lnTo>
                  <a:lnTo>
                    <a:pt x="6326" y="6354"/>
                  </a:lnTo>
                  <a:lnTo>
                    <a:pt x="6326" y="6363"/>
                  </a:lnTo>
                  <a:lnTo>
                    <a:pt x="6334" y="6363"/>
                  </a:lnTo>
                  <a:lnTo>
                    <a:pt x="6334" y="6354"/>
                  </a:lnTo>
                  <a:lnTo>
                    <a:pt x="6343" y="6354"/>
                  </a:lnTo>
                  <a:lnTo>
                    <a:pt x="6334" y="6363"/>
                  </a:lnTo>
                  <a:lnTo>
                    <a:pt x="6334" y="6372"/>
                  </a:lnTo>
                  <a:lnTo>
                    <a:pt x="6343" y="6372"/>
                  </a:lnTo>
                  <a:lnTo>
                    <a:pt x="6343" y="6399"/>
                  </a:lnTo>
                  <a:lnTo>
                    <a:pt x="6352" y="6407"/>
                  </a:lnTo>
                  <a:lnTo>
                    <a:pt x="6361" y="6416"/>
                  </a:lnTo>
                  <a:lnTo>
                    <a:pt x="6379" y="6425"/>
                  </a:lnTo>
                  <a:lnTo>
                    <a:pt x="6379" y="6434"/>
                  </a:lnTo>
                  <a:lnTo>
                    <a:pt x="6387" y="6443"/>
                  </a:lnTo>
                  <a:lnTo>
                    <a:pt x="6396" y="6460"/>
                  </a:lnTo>
                  <a:lnTo>
                    <a:pt x="6405" y="6460"/>
                  </a:lnTo>
                  <a:lnTo>
                    <a:pt x="6405" y="6469"/>
                  </a:lnTo>
                  <a:lnTo>
                    <a:pt x="6396" y="6460"/>
                  </a:lnTo>
                  <a:lnTo>
                    <a:pt x="6396" y="6469"/>
                  </a:lnTo>
                  <a:lnTo>
                    <a:pt x="6387" y="6469"/>
                  </a:lnTo>
                  <a:lnTo>
                    <a:pt x="6396" y="6478"/>
                  </a:lnTo>
                  <a:lnTo>
                    <a:pt x="6405" y="6478"/>
                  </a:lnTo>
                  <a:lnTo>
                    <a:pt x="6414" y="6469"/>
                  </a:lnTo>
                  <a:lnTo>
                    <a:pt x="6423" y="6478"/>
                  </a:lnTo>
                  <a:lnTo>
                    <a:pt x="6440" y="6469"/>
                  </a:lnTo>
                  <a:lnTo>
                    <a:pt x="6449" y="6460"/>
                  </a:lnTo>
                  <a:lnTo>
                    <a:pt x="6449" y="6452"/>
                  </a:lnTo>
                  <a:lnTo>
                    <a:pt x="6458" y="6443"/>
                  </a:lnTo>
                  <a:lnTo>
                    <a:pt x="6458" y="6425"/>
                  </a:lnTo>
                  <a:lnTo>
                    <a:pt x="6467" y="6416"/>
                  </a:lnTo>
                  <a:lnTo>
                    <a:pt x="6467" y="6425"/>
                  </a:lnTo>
                  <a:lnTo>
                    <a:pt x="6467" y="6399"/>
                  </a:lnTo>
                  <a:lnTo>
                    <a:pt x="6476" y="6363"/>
                  </a:lnTo>
                  <a:lnTo>
                    <a:pt x="6476" y="6346"/>
                  </a:lnTo>
                  <a:lnTo>
                    <a:pt x="6467" y="6328"/>
                  </a:lnTo>
                  <a:lnTo>
                    <a:pt x="6458" y="6310"/>
                  </a:lnTo>
                  <a:lnTo>
                    <a:pt x="6432" y="6240"/>
                  </a:lnTo>
                  <a:lnTo>
                    <a:pt x="6423" y="6231"/>
                  </a:lnTo>
                  <a:lnTo>
                    <a:pt x="6423" y="6222"/>
                  </a:lnTo>
                  <a:lnTo>
                    <a:pt x="6423" y="6204"/>
                  </a:lnTo>
                  <a:lnTo>
                    <a:pt x="6414" y="6204"/>
                  </a:lnTo>
                  <a:lnTo>
                    <a:pt x="6414" y="6187"/>
                  </a:lnTo>
                  <a:lnTo>
                    <a:pt x="6423" y="6196"/>
                  </a:lnTo>
                  <a:lnTo>
                    <a:pt x="6423" y="6204"/>
                  </a:lnTo>
                  <a:lnTo>
                    <a:pt x="6423" y="6213"/>
                  </a:lnTo>
                  <a:lnTo>
                    <a:pt x="6423" y="6222"/>
                  </a:lnTo>
                  <a:lnTo>
                    <a:pt x="6432" y="6222"/>
                  </a:lnTo>
                  <a:lnTo>
                    <a:pt x="6432" y="6213"/>
                  </a:lnTo>
                  <a:lnTo>
                    <a:pt x="6432" y="6222"/>
                  </a:lnTo>
                  <a:lnTo>
                    <a:pt x="6432" y="6240"/>
                  </a:lnTo>
                  <a:lnTo>
                    <a:pt x="6440" y="6257"/>
                  </a:lnTo>
                  <a:lnTo>
                    <a:pt x="6440" y="6249"/>
                  </a:lnTo>
                  <a:lnTo>
                    <a:pt x="6432" y="6240"/>
                  </a:lnTo>
                  <a:lnTo>
                    <a:pt x="6432" y="6231"/>
                  </a:lnTo>
                  <a:lnTo>
                    <a:pt x="6432" y="6222"/>
                  </a:lnTo>
                  <a:lnTo>
                    <a:pt x="6432" y="6213"/>
                  </a:lnTo>
                  <a:lnTo>
                    <a:pt x="6440" y="6213"/>
                  </a:lnTo>
                  <a:lnTo>
                    <a:pt x="6432" y="6204"/>
                  </a:lnTo>
                  <a:lnTo>
                    <a:pt x="6414" y="6169"/>
                  </a:lnTo>
                  <a:lnTo>
                    <a:pt x="6396" y="6134"/>
                  </a:lnTo>
                  <a:lnTo>
                    <a:pt x="6387" y="6107"/>
                  </a:lnTo>
                  <a:lnTo>
                    <a:pt x="6379" y="6081"/>
                  </a:lnTo>
                  <a:lnTo>
                    <a:pt x="6379" y="6072"/>
                  </a:lnTo>
                  <a:lnTo>
                    <a:pt x="6370" y="6037"/>
                  </a:lnTo>
                  <a:lnTo>
                    <a:pt x="6370" y="6028"/>
                  </a:lnTo>
                  <a:lnTo>
                    <a:pt x="6361" y="6019"/>
                  </a:lnTo>
                  <a:lnTo>
                    <a:pt x="6370" y="6019"/>
                  </a:lnTo>
                  <a:lnTo>
                    <a:pt x="6370" y="6010"/>
                  </a:lnTo>
                  <a:lnTo>
                    <a:pt x="6370" y="6001"/>
                  </a:lnTo>
                  <a:lnTo>
                    <a:pt x="6370" y="5993"/>
                  </a:lnTo>
                  <a:lnTo>
                    <a:pt x="6370" y="6001"/>
                  </a:lnTo>
                  <a:lnTo>
                    <a:pt x="6379" y="6001"/>
                  </a:lnTo>
                  <a:lnTo>
                    <a:pt x="6379" y="5993"/>
                  </a:lnTo>
                  <a:lnTo>
                    <a:pt x="6379" y="5984"/>
                  </a:lnTo>
                  <a:lnTo>
                    <a:pt x="6387" y="5975"/>
                  </a:lnTo>
                  <a:lnTo>
                    <a:pt x="6387" y="5966"/>
                  </a:lnTo>
                  <a:lnTo>
                    <a:pt x="6387" y="5957"/>
                  </a:lnTo>
                  <a:lnTo>
                    <a:pt x="6387" y="5948"/>
                  </a:lnTo>
                  <a:lnTo>
                    <a:pt x="6396" y="5948"/>
                  </a:lnTo>
                  <a:lnTo>
                    <a:pt x="6396" y="5940"/>
                  </a:lnTo>
                  <a:lnTo>
                    <a:pt x="6405" y="5931"/>
                  </a:lnTo>
                  <a:lnTo>
                    <a:pt x="6414" y="5931"/>
                  </a:lnTo>
                  <a:lnTo>
                    <a:pt x="6414" y="5922"/>
                  </a:lnTo>
                  <a:lnTo>
                    <a:pt x="6423" y="5922"/>
                  </a:lnTo>
                  <a:lnTo>
                    <a:pt x="6423" y="5913"/>
                  </a:lnTo>
                  <a:lnTo>
                    <a:pt x="6423" y="5904"/>
                  </a:lnTo>
                  <a:lnTo>
                    <a:pt x="6414" y="5896"/>
                  </a:lnTo>
                  <a:lnTo>
                    <a:pt x="6423" y="5904"/>
                  </a:lnTo>
                  <a:lnTo>
                    <a:pt x="6432" y="5896"/>
                  </a:lnTo>
                  <a:lnTo>
                    <a:pt x="6432" y="5904"/>
                  </a:lnTo>
                  <a:lnTo>
                    <a:pt x="6440" y="5904"/>
                  </a:lnTo>
                  <a:lnTo>
                    <a:pt x="6440" y="5896"/>
                  </a:lnTo>
                  <a:lnTo>
                    <a:pt x="6432" y="5887"/>
                  </a:lnTo>
                  <a:lnTo>
                    <a:pt x="6440" y="5887"/>
                  </a:lnTo>
                  <a:lnTo>
                    <a:pt x="6449" y="5887"/>
                  </a:lnTo>
                  <a:lnTo>
                    <a:pt x="6458" y="5887"/>
                  </a:lnTo>
                  <a:lnTo>
                    <a:pt x="6467" y="5887"/>
                  </a:lnTo>
                  <a:lnTo>
                    <a:pt x="6476" y="5878"/>
                  </a:lnTo>
                  <a:lnTo>
                    <a:pt x="6484" y="5878"/>
                  </a:lnTo>
                  <a:lnTo>
                    <a:pt x="6484" y="5869"/>
                  </a:lnTo>
                  <a:lnTo>
                    <a:pt x="6493" y="5869"/>
                  </a:lnTo>
                  <a:lnTo>
                    <a:pt x="6493" y="5860"/>
                  </a:lnTo>
                  <a:lnTo>
                    <a:pt x="6502" y="5860"/>
                  </a:lnTo>
                  <a:lnTo>
                    <a:pt x="6511" y="5851"/>
                  </a:lnTo>
                  <a:lnTo>
                    <a:pt x="6511" y="5843"/>
                  </a:lnTo>
                  <a:lnTo>
                    <a:pt x="6520" y="5843"/>
                  </a:lnTo>
                  <a:lnTo>
                    <a:pt x="6529" y="5834"/>
                  </a:lnTo>
                  <a:lnTo>
                    <a:pt x="6537" y="5834"/>
                  </a:lnTo>
                  <a:lnTo>
                    <a:pt x="6529" y="5825"/>
                  </a:lnTo>
                  <a:lnTo>
                    <a:pt x="6537" y="5816"/>
                  </a:lnTo>
                  <a:lnTo>
                    <a:pt x="6537" y="5825"/>
                  </a:lnTo>
                  <a:lnTo>
                    <a:pt x="6537" y="5816"/>
                  </a:lnTo>
                  <a:lnTo>
                    <a:pt x="6555" y="5798"/>
                  </a:lnTo>
                  <a:lnTo>
                    <a:pt x="6564" y="5790"/>
                  </a:lnTo>
                  <a:lnTo>
                    <a:pt x="6581" y="5781"/>
                  </a:lnTo>
                  <a:lnTo>
                    <a:pt x="6590" y="5772"/>
                  </a:lnTo>
                  <a:lnTo>
                    <a:pt x="6626" y="5772"/>
                  </a:lnTo>
                  <a:lnTo>
                    <a:pt x="6626" y="5754"/>
                  </a:lnTo>
                  <a:lnTo>
                    <a:pt x="6626" y="5763"/>
                  </a:lnTo>
                  <a:lnTo>
                    <a:pt x="6626" y="5772"/>
                  </a:lnTo>
                  <a:lnTo>
                    <a:pt x="6634" y="5763"/>
                  </a:lnTo>
                  <a:lnTo>
                    <a:pt x="6634" y="5754"/>
                  </a:lnTo>
                  <a:lnTo>
                    <a:pt x="6643" y="5745"/>
                  </a:lnTo>
                  <a:lnTo>
                    <a:pt x="6643" y="5737"/>
                  </a:lnTo>
                  <a:lnTo>
                    <a:pt x="6652" y="5737"/>
                  </a:lnTo>
                  <a:lnTo>
                    <a:pt x="6661" y="5728"/>
                  </a:lnTo>
                  <a:lnTo>
                    <a:pt x="6670" y="5728"/>
                  </a:lnTo>
                  <a:lnTo>
                    <a:pt x="6670" y="5719"/>
                  </a:lnTo>
                  <a:lnTo>
                    <a:pt x="6670" y="5710"/>
                  </a:lnTo>
                  <a:lnTo>
                    <a:pt x="6670" y="5719"/>
                  </a:lnTo>
                  <a:lnTo>
                    <a:pt x="6679" y="5719"/>
                  </a:lnTo>
                  <a:lnTo>
                    <a:pt x="6687" y="5710"/>
                  </a:lnTo>
                  <a:lnTo>
                    <a:pt x="6696" y="5710"/>
                  </a:lnTo>
                  <a:lnTo>
                    <a:pt x="6705" y="5710"/>
                  </a:lnTo>
                  <a:lnTo>
                    <a:pt x="6714" y="5710"/>
                  </a:lnTo>
                  <a:lnTo>
                    <a:pt x="6723" y="5701"/>
                  </a:lnTo>
                  <a:lnTo>
                    <a:pt x="6731" y="5701"/>
                  </a:lnTo>
                  <a:lnTo>
                    <a:pt x="6740" y="5701"/>
                  </a:lnTo>
                  <a:lnTo>
                    <a:pt x="6740" y="5693"/>
                  </a:lnTo>
                  <a:lnTo>
                    <a:pt x="6740" y="5684"/>
                  </a:lnTo>
                  <a:lnTo>
                    <a:pt x="6714" y="5693"/>
                  </a:lnTo>
                  <a:lnTo>
                    <a:pt x="6705" y="5684"/>
                  </a:lnTo>
                  <a:lnTo>
                    <a:pt x="6696" y="5684"/>
                  </a:lnTo>
                  <a:lnTo>
                    <a:pt x="6696" y="5675"/>
                  </a:lnTo>
                  <a:lnTo>
                    <a:pt x="6705" y="5684"/>
                  </a:lnTo>
                  <a:lnTo>
                    <a:pt x="6714" y="5684"/>
                  </a:lnTo>
                  <a:lnTo>
                    <a:pt x="6723" y="5675"/>
                  </a:lnTo>
                  <a:lnTo>
                    <a:pt x="6731" y="5666"/>
                  </a:lnTo>
                  <a:lnTo>
                    <a:pt x="6731" y="5657"/>
                  </a:lnTo>
                  <a:lnTo>
                    <a:pt x="6696" y="5648"/>
                  </a:lnTo>
                  <a:lnTo>
                    <a:pt x="6696" y="5640"/>
                  </a:lnTo>
                  <a:lnTo>
                    <a:pt x="6705" y="5648"/>
                  </a:lnTo>
                  <a:lnTo>
                    <a:pt x="6714" y="5648"/>
                  </a:lnTo>
                  <a:lnTo>
                    <a:pt x="6723" y="5648"/>
                  </a:lnTo>
                  <a:lnTo>
                    <a:pt x="6723" y="5640"/>
                  </a:lnTo>
                  <a:lnTo>
                    <a:pt x="6731" y="5640"/>
                  </a:lnTo>
                  <a:lnTo>
                    <a:pt x="6731" y="5648"/>
                  </a:lnTo>
                  <a:lnTo>
                    <a:pt x="6740" y="5648"/>
                  </a:lnTo>
                  <a:lnTo>
                    <a:pt x="6749" y="5657"/>
                  </a:lnTo>
                  <a:lnTo>
                    <a:pt x="6758" y="5657"/>
                  </a:lnTo>
                  <a:lnTo>
                    <a:pt x="6767" y="5648"/>
                  </a:lnTo>
                  <a:lnTo>
                    <a:pt x="6776" y="5640"/>
                  </a:lnTo>
                  <a:lnTo>
                    <a:pt x="6784" y="5631"/>
                  </a:lnTo>
                  <a:lnTo>
                    <a:pt x="6793" y="5622"/>
                  </a:lnTo>
                  <a:lnTo>
                    <a:pt x="6784" y="5613"/>
                  </a:lnTo>
                  <a:lnTo>
                    <a:pt x="6784" y="5604"/>
                  </a:lnTo>
                  <a:lnTo>
                    <a:pt x="6776" y="5613"/>
                  </a:lnTo>
                  <a:lnTo>
                    <a:pt x="6767" y="5622"/>
                  </a:lnTo>
                  <a:lnTo>
                    <a:pt x="6767" y="5631"/>
                  </a:lnTo>
                  <a:lnTo>
                    <a:pt x="6767" y="5622"/>
                  </a:lnTo>
                  <a:lnTo>
                    <a:pt x="6767" y="5613"/>
                  </a:lnTo>
                  <a:lnTo>
                    <a:pt x="6767" y="5604"/>
                  </a:lnTo>
                  <a:lnTo>
                    <a:pt x="6758" y="5604"/>
                  </a:lnTo>
                  <a:lnTo>
                    <a:pt x="6749" y="5604"/>
                  </a:lnTo>
                  <a:lnTo>
                    <a:pt x="6731" y="5604"/>
                  </a:lnTo>
                  <a:lnTo>
                    <a:pt x="6723" y="5604"/>
                  </a:lnTo>
                  <a:lnTo>
                    <a:pt x="6714" y="5604"/>
                  </a:lnTo>
                  <a:lnTo>
                    <a:pt x="6714" y="5595"/>
                  </a:lnTo>
                  <a:lnTo>
                    <a:pt x="6714" y="5587"/>
                  </a:lnTo>
                  <a:lnTo>
                    <a:pt x="6714" y="5578"/>
                  </a:lnTo>
                  <a:lnTo>
                    <a:pt x="6723" y="5587"/>
                  </a:lnTo>
                  <a:lnTo>
                    <a:pt x="6723" y="5595"/>
                  </a:lnTo>
                  <a:lnTo>
                    <a:pt x="6731" y="5595"/>
                  </a:lnTo>
                  <a:lnTo>
                    <a:pt x="6740" y="5595"/>
                  </a:lnTo>
                  <a:lnTo>
                    <a:pt x="6740" y="5587"/>
                  </a:lnTo>
                  <a:lnTo>
                    <a:pt x="6749" y="5587"/>
                  </a:lnTo>
                  <a:lnTo>
                    <a:pt x="6758" y="5595"/>
                  </a:lnTo>
                  <a:lnTo>
                    <a:pt x="6749" y="5587"/>
                  </a:lnTo>
                  <a:lnTo>
                    <a:pt x="6758" y="5587"/>
                  </a:lnTo>
                  <a:lnTo>
                    <a:pt x="6758" y="5578"/>
                  </a:lnTo>
                  <a:lnTo>
                    <a:pt x="6767" y="5578"/>
                  </a:lnTo>
                  <a:lnTo>
                    <a:pt x="6776" y="5587"/>
                  </a:lnTo>
                  <a:lnTo>
                    <a:pt x="6784" y="5595"/>
                  </a:lnTo>
                  <a:lnTo>
                    <a:pt x="6784" y="5578"/>
                  </a:lnTo>
                  <a:lnTo>
                    <a:pt x="6776" y="5569"/>
                  </a:lnTo>
                  <a:lnTo>
                    <a:pt x="6776" y="5560"/>
                  </a:lnTo>
                  <a:lnTo>
                    <a:pt x="6776" y="5551"/>
                  </a:lnTo>
                  <a:lnTo>
                    <a:pt x="6776" y="5543"/>
                  </a:lnTo>
                  <a:lnTo>
                    <a:pt x="6776" y="5551"/>
                  </a:lnTo>
                  <a:lnTo>
                    <a:pt x="6784" y="5578"/>
                  </a:lnTo>
                  <a:lnTo>
                    <a:pt x="6793" y="5595"/>
                  </a:lnTo>
                  <a:lnTo>
                    <a:pt x="6802" y="5613"/>
                  </a:lnTo>
                  <a:lnTo>
                    <a:pt x="6793" y="5578"/>
                  </a:lnTo>
                  <a:lnTo>
                    <a:pt x="6776" y="5543"/>
                  </a:lnTo>
                  <a:lnTo>
                    <a:pt x="6776" y="5534"/>
                  </a:lnTo>
                  <a:lnTo>
                    <a:pt x="6776" y="5525"/>
                  </a:lnTo>
                  <a:lnTo>
                    <a:pt x="6767" y="5525"/>
                  </a:lnTo>
                  <a:lnTo>
                    <a:pt x="6758" y="5525"/>
                  </a:lnTo>
                  <a:lnTo>
                    <a:pt x="6749" y="5525"/>
                  </a:lnTo>
                  <a:lnTo>
                    <a:pt x="6740" y="5525"/>
                  </a:lnTo>
                  <a:lnTo>
                    <a:pt x="6731" y="5525"/>
                  </a:lnTo>
                  <a:lnTo>
                    <a:pt x="6731" y="5516"/>
                  </a:lnTo>
                  <a:lnTo>
                    <a:pt x="6723" y="5516"/>
                  </a:lnTo>
                  <a:lnTo>
                    <a:pt x="6723" y="5498"/>
                  </a:lnTo>
                  <a:lnTo>
                    <a:pt x="6714" y="5498"/>
                  </a:lnTo>
                  <a:lnTo>
                    <a:pt x="6705" y="5498"/>
                  </a:lnTo>
                  <a:lnTo>
                    <a:pt x="6696" y="5498"/>
                  </a:lnTo>
                  <a:lnTo>
                    <a:pt x="6687" y="5490"/>
                  </a:lnTo>
                  <a:lnTo>
                    <a:pt x="6679" y="5490"/>
                  </a:lnTo>
                  <a:lnTo>
                    <a:pt x="6696" y="5490"/>
                  </a:lnTo>
                  <a:lnTo>
                    <a:pt x="6723" y="5498"/>
                  </a:lnTo>
                  <a:lnTo>
                    <a:pt x="6723" y="5507"/>
                  </a:lnTo>
                  <a:lnTo>
                    <a:pt x="6731" y="5507"/>
                  </a:lnTo>
                  <a:lnTo>
                    <a:pt x="6740" y="5516"/>
                  </a:lnTo>
                  <a:lnTo>
                    <a:pt x="6749" y="5516"/>
                  </a:lnTo>
                  <a:lnTo>
                    <a:pt x="6749" y="5507"/>
                  </a:lnTo>
                  <a:lnTo>
                    <a:pt x="6740" y="5498"/>
                  </a:lnTo>
                  <a:lnTo>
                    <a:pt x="6731" y="5498"/>
                  </a:lnTo>
                  <a:lnTo>
                    <a:pt x="6723" y="5490"/>
                  </a:lnTo>
                  <a:lnTo>
                    <a:pt x="6714" y="5481"/>
                  </a:lnTo>
                  <a:lnTo>
                    <a:pt x="6714" y="5472"/>
                  </a:lnTo>
                  <a:lnTo>
                    <a:pt x="6731" y="5490"/>
                  </a:lnTo>
                  <a:lnTo>
                    <a:pt x="6740" y="5498"/>
                  </a:lnTo>
                  <a:lnTo>
                    <a:pt x="6740" y="5490"/>
                  </a:lnTo>
                  <a:lnTo>
                    <a:pt x="6740" y="5481"/>
                  </a:lnTo>
                  <a:lnTo>
                    <a:pt x="6749" y="5490"/>
                  </a:lnTo>
                  <a:lnTo>
                    <a:pt x="6749" y="5481"/>
                  </a:lnTo>
                  <a:lnTo>
                    <a:pt x="6749" y="5472"/>
                  </a:lnTo>
                  <a:lnTo>
                    <a:pt x="6740" y="5472"/>
                  </a:lnTo>
                  <a:lnTo>
                    <a:pt x="6749" y="5472"/>
                  </a:lnTo>
                  <a:lnTo>
                    <a:pt x="6731" y="5463"/>
                  </a:lnTo>
                  <a:lnTo>
                    <a:pt x="6723" y="5454"/>
                  </a:lnTo>
                  <a:lnTo>
                    <a:pt x="6723" y="5445"/>
                  </a:lnTo>
                  <a:lnTo>
                    <a:pt x="6705" y="5437"/>
                  </a:lnTo>
                  <a:lnTo>
                    <a:pt x="6705" y="5428"/>
                  </a:lnTo>
                  <a:lnTo>
                    <a:pt x="6687" y="5419"/>
                  </a:lnTo>
                  <a:lnTo>
                    <a:pt x="6696" y="5419"/>
                  </a:lnTo>
                  <a:lnTo>
                    <a:pt x="6705" y="5428"/>
                  </a:lnTo>
                  <a:lnTo>
                    <a:pt x="6714" y="5437"/>
                  </a:lnTo>
                  <a:lnTo>
                    <a:pt x="6731" y="5463"/>
                  </a:lnTo>
                  <a:lnTo>
                    <a:pt x="6740" y="5463"/>
                  </a:lnTo>
                  <a:lnTo>
                    <a:pt x="6749" y="5463"/>
                  </a:lnTo>
                  <a:lnTo>
                    <a:pt x="6749" y="5454"/>
                  </a:lnTo>
                  <a:lnTo>
                    <a:pt x="6749" y="5445"/>
                  </a:lnTo>
                  <a:lnTo>
                    <a:pt x="6749" y="5437"/>
                  </a:lnTo>
                  <a:lnTo>
                    <a:pt x="6740" y="5428"/>
                  </a:lnTo>
                  <a:lnTo>
                    <a:pt x="6731" y="5428"/>
                  </a:lnTo>
                  <a:lnTo>
                    <a:pt x="6723" y="5419"/>
                  </a:lnTo>
                  <a:lnTo>
                    <a:pt x="6705" y="5419"/>
                  </a:lnTo>
                  <a:lnTo>
                    <a:pt x="6696" y="5401"/>
                  </a:lnTo>
                  <a:lnTo>
                    <a:pt x="6687" y="5401"/>
                  </a:lnTo>
                  <a:lnTo>
                    <a:pt x="6679" y="5401"/>
                  </a:lnTo>
                  <a:lnTo>
                    <a:pt x="6679" y="5384"/>
                  </a:lnTo>
                  <a:lnTo>
                    <a:pt x="6687" y="5375"/>
                  </a:lnTo>
                  <a:lnTo>
                    <a:pt x="6696" y="5366"/>
                  </a:lnTo>
                  <a:lnTo>
                    <a:pt x="6696" y="5357"/>
                  </a:lnTo>
                  <a:lnTo>
                    <a:pt x="6696" y="5366"/>
                  </a:lnTo>
                  <a:lnTo>
                    <a:pt x="6696" y="5375"/>
                  </a:lnTo>
                  <a:lnTo>
                    <a:pt x="6687" y="5375"/>
                  </a:lnTo>
                  <a:lnTo>
                    <a:pt x="6679" y="5384"/>
                  </a:lnTo>
                  <a:lnTo>
                    <a:pt x="6679" y="5392"/>
                  </a:lnTo>
                  <a:lnTo>
                    <a:pt x="6679" y="5401"/>
                  </a:lnTo>
                  <a:lnTo>
                    <a:pt x="6687" y="5401"/>
                  </a:lnTo>
                  <a:lnTo>
                    <a:pt x="6696" y="5392"/>
                  </a:lnTo>
                  <a:lnTo>
                    <a:pt x="6696" y="5401"/>
                  </a:lnTo>
                  <a:lnTo>
                    <a:pt x="6705" y="5401"/>
                  </a:lnTo>
                  <a:lnTo>
                    <a:pt x="6705" y="5410"/>
                  </a:lnTo>
                  <a:lnTo>
                    <a:pt x="6705" y="5401"/>
                  </a:lnTo>
                  <a:lnTo>
                    <a:pt x="6714" y="5410"/>
                  </a:lnTo>
                  <a:lnTo>
                    <a:pt x="6731" y="5410"/>
                  </a:lnTo>
                  <a:lnTo>
                    <a:pt x="6740" y="5419"/>
                  </a:lnTo>
                  <a:lnTo>
                    <a:pt x="6749" y="5428"/>
                  </a:lnTo>
                  <a:lnTo>
                    <a:pt x="6749" y="5419"/>
                  </a:lnTo>
                  <a:lnTo>
                    <a:pt x="6740" y="5419"/>
                  </a:lnTo>
                  <a:lnTo>
                    <a:pt x="6740" y="5410"/>
                  </a:lnTo>
                  <a:lnTo>
                    <a:pt x="6723" y="5392"/>
                  </a:lnTo>
                  <a:lnTo>
                    <a:pt x="6723" y="5384"/>
                  </a:lnTo>
                  <a:lnTo>
                    <a:pt x="6731" y="5392"/>
                  </a:lnTo>
                  <a:lnTo>
                    <a:pt x="6731" y="5401"/>
                  </a:lnTo>
                  <a:lnTo>
                    <a:pt x="6740" y="5401"/>
                  </a:lnTo>
                  <a:lnTo>
                    <a:pt x="6740" y="5392"/>
                  </a:lnTo>
                  <a:lnTo>
                    <a:pt x="6731" y="5384"/>
                  </a:lnTo>
                  <a:lnTo>
                    <a:pt x="6731" y="5366"/>
                  </a:lnTo>
                  <a:lnTo>
                    <a:pt x="6731" y="5357"/>
                  </a:lnTo>
                  <a:lnTo>
                    <a:pt x="6731" y="5348"/>
                  </a:lnTo>
                  <a:lnTo>
                    <a:pt x="6731" y="5340"/>
                  </a:lnTo>
                  <a:lnTo>
                    <a:pt x="6740" y="5348"/>
                  </a:lnTo>
                  <a:lnTo>
                    <a:pt x="6740" y="5340"/>
                  </a:lnTo>
                  <a:lnTo>
                    <a:pt x="6731" y="5331"/>
                  </a:lnTo>
                  <a:lnTo>
                    <a:pt x="6731" y="5322"/>
                  </a:lnTo>
                  <a:lnTo>
                    <a:pt x="6740" y="5331"/>
                  </a:lnTo>
                  <a:lnTo>
                    <a:pt x="6740" y="5322"/>
                  </a:lnTo>
                  <a:lnTo>
                    <a:pt x="6749" y="5313"/>
                  </a:lnTo>
                  <a:lnTo>
                    <a:pt x="6749" y="5322"/>
                  </a:lnTo>
                  <a:lnTo>
                    <a:pt x="6749" y="5313"/>
                  </a:lnTo>
                  <a:lnTo>
                    <a:pt x="6758" y="5313"/>
                  </a:lnTo>
                  <a:lnTo>
                    <a:pt x="6767" y="5313"/>
                  </a:lnTo>
                  <a:lnTo>
                    <a:pt x="6767" y="5304"/>
                  </a:lnTo>
                  <a:lnTo>
                    <a:pt x="6767" y="5295"/>
                  </a:lnTo>
                  <a:lnTo>
                    <a:pt x="6776" y="5295"/>
                  </a:lnTo>
                  <a:lnTo>
                    <a:pt x="6776" y="5304"/>
                  </a:lnTo>
                  <a:lnTo>
                    <a:pt x="6784" y="5304"/>
                  </a:lnTo>
                  <a:lnTo>
                    <a:pt x="6776" y="5304"/>
                  </a:lnTo>
                  <a:lnTo>
                    <a:pt x="6767" y="5313"/>
                  </a:lnTo>
                  <a:lnTo>
                    <a:pt x="6776" y="5313"/>
                  </a:lnTo>
                  <a:lnTo>
                    <a:pt x="6784" y="5313"/>
                  </a:lnTo>
                  <a:lnTo>
                    <a:pt x="6776" y="5313"/>
                  </a:lnTo>
                  <a:lnTo>
                    <a:pt x="6767" y="5313"/>
                  </a:lnTo>
                  <a:lnTo>
                    <a:pt x="6758" y="5322"/>
                  </a:lnTo>
                  <a:lnTo>
                    <a:pt x="6758" y="5331"/>
                  </a:lnTo>
                  <a:lnTo>
                    <a:pt x="6758" y="5340"/>
                  </a:lnTo>
                  <a:lnTo>
                    <a:pt x="6758" y="5348"/>
                  </a:lnTo>
                  <a:lnTo>
                    <a:pt x="6749" y="5348"/>
                  </a:lnTo>
                  <a:lnTo>
                    <a:pt x="6749" y="5357"/>
                  </a:lnTo>
                  <a:lnTo>
                    <a:pt x="6749" y="5348"/>
                  </a:lnTo>
                  <a:lnTo>
                    <a:pt x="6758" y="5357"/>
                  </a:lnTo>
                  <a:lnTo>
                    <a:pt x="6749" y="5366"/>
                  </a:lnTo>
                  <a:lnTo>
                    <a:pt x="6749" y="5375"/>
                  </a:lnTo>
                  <a:lnTo>
                    <a:pt x="6749" y="5366"/>
                  </a:lnTo>
                  <a:lnTo>
                    <a:pt x="6758" y="5366"/>
                  </a:lnTo>
                  <a:lnTo>
                    <a:pt x="6758" y="5375"/>
                  </a:lnTo>
                  <a:lnTo>
                    <a:pt x="6767" y="5384"/>
                  </a:lnTo>
                  <a:lnTo>
                    <a:pt x="6758" y="5384"/>
                  </a:lnTo>
                  <a:lnTo>
                    <a:pt x="6749" y="5384"/>
                  </a:lnTo>
                  <a:lnTo>
                    <a:pt x="6749" y="5392"/>
                  </a:lnTo>
                  <a:lnTo>
                    <a:pt x="6758" y="5401"/>
                  </a:lnTo>
                  <a:lnTo>
                    <a:pt x="6767" y="5401"/>
                  </a:lnTo>
                  <a:lnTo>
                    <a:pt x="6767" y="5410"/>
                  </a:lnTo>
                  <a:lnTo>
                    <a:pt x="6767" y="5401"/>
                  </a:lnTo>
                  <a:lnTo>
                    <a:pt x="6776" y="5401"/>
                  </a:lnTo>
                  <a:lnTo>
                    <a:pt x="6776" y="5410"/>
                  </a:lnTo>
                  <a:lnTo>
                    <a:pt x="6776" y="5401"/>
                  </a:lnTo>
                  <a:lnTo>
                    <a:pt x="6784" y="5401"/>
                  </a:lnTo>
                  <a:lnTo>
                    <a:pt x="6784" y="5410"/>
                  </a:lnTo>
                  <a:lnTo>
                    <a:pt x="6776" y="5410"/>
                  </a:lnTo>
                  <a:lnTo>
                    <a:pt x="6776" y="5419"/>
                  </a:lnTo>
                  <a:lnTo>
                    <a:pt x="6784" y="5419"/>
                  </a:lnTo>
                  <a:lnTo>
                    <a:pt x="6784" y="5428"/>
                  </a:lnTo>
                  <a:lnTo>
                    <a:pt x="6784" y="5437"/>
                  </a:lnTo>
                  <a:lnTo>
                    <a:pt x="6793" y="5437"/>
                  </a:lnTo>
                  <a:lnTo>
                    <a:pt x="6793" y="5445"/>
                  </a:lnTo>
                  <a:lnTo>
                    <a:pt x="6784" y="5454"/>
                  </a:lnTo>
                  <a:lnTo>
                    <a:pt x="6776" y="5463"/>
                  </a:lnTo>
                  <a:lnTo>
                    <a:pt x="6776" y="5481"/>
                  </a:lnTo>
                  <a:lnTo>
                    <a:pt x="6776" y="5498"/>
                  </a:lnTo>
                  <a:lnTo>
                    <a:pt x="6776" y="5507"/>
                  </a:lnTo>
                  <a:lnTo>
                    <a:pt x="6784" y="5490"/>
                  </a:lnTo>
                  <a:lnTo>
                    <a:pt x="6784" y="5481"/>
                  </a:lnTo>
                  <a:lnTo>
                    <a:pt x="6793" y="5472"/>
                  </a:lnTo>
                  <a:lnTo>
                    <a:pt x="6802" y="5472"/>
                  </a:lnTo>
                  <a:lnTo>
                    <a:pt x="6802" y="5463"/>
                  </a:lnTo>
                  <a:lnTo>
                    <a:pt x="6820" y="5428"/>
                  </a:lnTo>
                  <a:lnTo>
                    <a:pt x="6820" y="5419"/>
                  </a:lnTo>
                  <a:lnTo>
                    <a:pt x="6829" y="5410"/>
                  </a:lnTo>
                  <a:lnTo>
                    <a:pt x="6837" y="5410"/>
                  </a:lnTo>
                  <a:lnTo>
                    <a:pt x="6837" y="5401"/>
                  </a:lnTo>
                  <a:lnTo>
                    <a:pt x="6837" y="5392"/>
                  </a:lnTo>
                  <a:lnTo>
                    <a:pt x="6837" y="5401"/>
                  </a:lnTo>
                  <a:lnTo>
                    <a:pt x="6837" y="5392"/>
                  </a:lnTo>
                  <a:lnTo>
                    <a:pt x="6846" y="5392"/>
                  </a:lnTo>
                  <a:lnTo>
                    <a:pt x="6837" y="5384"/>
                  </a:lnTo>
                  <a:lnTo>
                    <a:pt x="6829" y="5384"/>
                  </a:lnTo>
                  <a:lnTo>
                    <a:pt x="6837" y="5375"/>
                  </a:lnTo>
                  <a:lnTo>
                    <a:pt x="6837" y="5366"/>
                  </a:lnTo>
                  <a:lnTo>
                    <a:pt x="6829" y="5366"/>
                  </a:lnTo>
                  <a:lnTo>
                    <a:pt x="6820" y="5348"/>
                  </a:lnTo>
                  <a:lnTo>
                    <a:pt x="6820" y="5340"/>
                  </a:lnTo>
                  <a:lnTo>
                    <a:pt x="6811" y="5322"/>
                  </a:lnTo>
                  <a:lnTo>
                    <a:pt x="6802" y="5313"/>
                  </a:lnTo>
                  <a:lnTo>
                    <a:pt x="6802" y="5304"/>
                  </a:lnTo>
                  <a:lnTo>
                    <a:pt x="6802" y="5295"/>
                  </a:lnTo>
                  <a:lnTo>
                    <a:pt x="6811" y="5287"/>
                  </a:lnTo>
                  <a:lnTo>
                    <a:pt x="6811" y="5278"/>
                  </a:lnTo>
                  <a:lnTo>
                    <a:pt x="6820" y="5269"/>
                  </a:lnTo>
                  <a:lnTo>
                    <a:pt x="6829" y="5269"/>
                  </a:lnTo>
                  <a:lnTo>
                    <a:pt x="6837" y="5260"/>
                  </a:lnTo>
                  <a:lnTo>
                    <a:pt x="6837" y="5269"/>
                  </a:lnTo>
                  <a:lnTo>
                    <a:pt x="6820" y="5278"/>
                  </a:lnTo>
                  <a:lnTo>
                    <a:pt x="6811" y="5278"/>
                  </a:lnTo>
                  <a:lnTo>
                    <a:pt x="6811" y="5287"/>
                  </a:lnTo>
                  <a:lnTo>
                    <a:pt x="6802" y="5295"/>
                  </a:lnTo>
                  <a:lnTo>
                    <a:pt x="6802" y="5304"/>
                  </a:lnTo>
                  <a:lnTo>
                    <a:pt x="6820" y="5322"/>
                  </a:lnTo>
                  <a:lnTo>
                    <a:pt x="6829" y="5322"/>
                  </a:lnTo>
                  <a:lnTo>
                    <a:pt x="6837" y="5331"/>
                  </a:lnTo>
                  <a:lnTo>
                    <a:pt x="6846" y="5331"/>
                  </a:lnTo>
                  <a:lnTo>
                    <a:pt x="6855" y="5331"/>
                  </a:lnTo>
                  <a:lnTo>
                    <a:pt x="6846" y="5340"/>
                  </a:lnTo>
                  <a:lnTo>
                    <a:pt x="6846" y="5348"/>
                  </a:lnTo>
                  <a:lnTo>
                    <a:pt x="6864" y="5348"/>
                  </a:lnTo>
                  <a:lnTo>
                    <a:pt x="6873" y="5331"/>
                  </a:lnTo>
                  <a:lnTo>
                    <a:pt x="6873" y="5322"/>
                  </a:lnTo>
                  <a:lnTo>
                    <a:pt x="6881" y="5313"/>
                  </a:lnTo>
                  <a:lnTo>
                    <a:pt x="6881" y="5322"/>
                  </a:lnTo>
                  <a:lnTo>
                    <a:pt x="6890" y="5313"/>
                  </a:lnTo>
                  <a:lnTo>
                    <a:pt x="6890" y="5304"/>
                  </a:lnTo>
                  <a:lnTo>
                    <a:pt x="6899" y="5295"/>
                  </a:lnTo>
                  <a:lnTo>
                    <a:pt x="6908" y="5287"/>
                  </a:lnTo>
                  <a:lnTo>
                    <a:pt x="6908" y="5269"/>
                  </a:lnTo>
                  <a:lnTo>
                    <a:pt x="6908" y="5260"/>
                  </a:lnTo>
                  <a:lnTo>
                    <a:pt x="6917" y="5260"/>
                  </a:lnTo>
                  <a:lnTo>
                    <a:pt x="6908" y="5278"/>
                  </a:lnTo>
                  <a:lnTo>
                    <a:pt x="6917" y="5269"/>
                  </a:lnTo>
                  <a:lnTo>
                    <a:pt x="6917" y="5251"/>
                  </a:lnTo>
                  <a:lnTo>
                    <a:pt x="6917" y="5242"/>
                  </a:lnTo>
                  <a:lnTo>
                    <a:pt x="6926" y="5234"/>
                  </a:lnTo>
                  <a:lnTo>
                    <a:pt x="6917" y="5225"/>
                  </a:lnTo>
                  <a:lnTo>
                    <a:pt x="6899" y="5225"/>
                  </a:lnTo>
                  <a:lnTo>
                    <a:pt x="6899" y="5216"/>
                  </a:lnTo>
                  <a:lnTo>
                    <a:pt x="6899" y="5207"/>
                  </a:lnTo>
                  <a:lnTo>
                    <a:pt x="6908" y="5207"/>
                  </a:lnTo>
                  <a:lnTo>
                    <a:pt x="6908" y="5198"/>
                  </a:lnTo>
                  <a:lnTo>
                    <a:pt x="6917" y="5198"/>
                  </a:lnTo>
                  <a:lnTo>
                    <a:pt x="6926" y="5181"/>
                  </a:lnTo>
                  <a:lnTo>
                    <a:pt x="6926" y="5172"/>
                  </a:lnTo>
                  <a:lnTo>
                    <a:pt x="6926" y="5163"/>
                  </a:lnTo>
                  <a:lnTo>
                    <a:pt x="6917" y="5154"/>
                  </a:lnTo>
                  <a:lnTo>
                    <a:pt x="6926" y="5154"/>
                  </a:lnTo>
                  <a:lnTo>
                    <a:pt x="6926" y="5163"/>
                  </a:lnTo>
                  <a:lnTo>
                    <a:pt x="6926" y="5172"/>
                  </a:lnTo>
                  <a:lnTo>
                    <a:pt x="6926" y="5181"/>
                  </a:lnTo>
                  <a:lnTo>
                    <a:pt x="6926" y="5189"/>
                  </a:lnTo>
                  <a:lnTo>
                    <a:pt x="6917" y="5198"/>
                  </a:lnTo>
                  <a:lnTo>
                    <a:pt x="6926" y="5189"/>
                  </a:lnTo>
                  <a:lnTo>
                    <a:pt x="6934" y="5181"/>
                  </a:lnTo>
                  <a:lnTo>
                    <a:pt x="6943" y="5181"/>
                  </a:lnTo>
                  <a:lnTo>
                    <a:pt x="6952" y="5172"/>
                  </a:lnTo>
                  <a:lnTo>
                    <a:pt x="6978" y="5163"/>
                  </a:lnTo>
                  <a:lnTo>
                    <a:pt x="6987" y="5154"/>
                  </a:lnTo>
                  <a:lnTo>
                    <a:pt x="6996" y="5145"/>
                  </a:lnTo>
                  <a:lnTo>
                    <a:pt x="7005" y="5154"/>
                  </a:lnTo>
                  <a:lnTo>
                    <a:pt x="7031" y="5154"/>
                  </a:lnTo>
                  <a:lnTo>
                    <a:pt x="7040" y="5145"/>
                  </a:lnTo>
                  <a:lnTo>
                    <a:pt x="7049" y="5145"/>
                  </a:lnTo>
                  <a:lnTo>
                    <a:pt x="7058" y="5145"/>
                  </a:lnTo>
                  <a:lnTo>
                    <a:pt x="7067" y="5145"/>
                  </a:lnTo>
                  <a:lnTo>
                    <a:pt x="7084" y="5145"/>
                  </a:lnTo>
                  <a:lnTo>
                    <a:pt x="7102" y="5145"/>
                  </a:lnTo>
                  <a:lnTo>
                    <a:pt x="7102" y="5137"/>
                  </a:lnTo>
                  <a:lnTo>
                    <a:pt x="7111" y="5119"/>
                  </a:lnTo>
                  <a:lnTo>
                    <a:pt x="7111" y="5110"/>
                  </a:lnTo>
                  <a:lnTo>
                    <a:pt x="7111" y="5101"/>
                  </a:lnTo>
                  <a:lnTo>
                    <a:pt x="7111" y="5110"/>
                  </a:lnTo>
                  <a:lnTo>
                    <a:pt x="7120" y="5110"/>
                  </a:lnTo>
                  <a:lnTo>
                    <a:pt x="7120" y="5119"/>
                  </a:lnTo>
                  <a:lnTo>
                    <a:pt x="7128" y="5110"/>
                  </a:lnTo>
                  <a:lnTo>
                    <a:pt x="7120" y="5119"/>
                  </a:lnTo>
                  <a:lnTo>
                    <a:pt x="7128" y="5128"/>
                  </a:lnTo>
                  <a:lnTo>
                    <a:pt x="7137" y="5128"/>
                  </a:lnTo>
                  <a:lnTo>
                    <a:pt x="7164" y="5110"/>
                  </a:lnTo>
                  <a:lnTo>
                    <a:pt x="7164" y="5119"/>
                  </a:lnTo>
                  <a:lnTo>
                    <a:pt x="7164" y="5128"/>
                  </a:lnTo>
                  <a:lnTo>
                    <a:pt x="7173" y="5119"/>
                  </a:lnTo>
                  <a:lnTo>
                    <a:pt x="7181" y="5119"/>
                  </a:lnTo>
                  <a:lnTo>
                    <a:pt x="7208" y="5119"/>
                  </a:lnTo>
                  <a:lnTo>
                    <a:pt x="7217" y="5110"/>
                  </a:lnTo>
                  <a:lnTo>
                    <a:pt x="7217" y="5119"/>
                  </a:lnTo>
                  <a:lnTo>
                    <a:pt x="7217" y="5110"/>
                  </a:lnTo>
                  <a:lnTo>
                    <a:pt x="7217" y="5101"/>
                  </a:lnTo>
                  <a:lnTo>
                    <a:pt x="7217" y="5092"/>
                  </a:lnTo>
                  <a:lnTo>
                    <a:pt x="7208" y="5084"/>
                  </a:lnTo>
                  <a:lnTo>
                    <a:pt x="7199" y="5075"/>
                  </a:lnTo>
                  <a:lnTo>
                    <a:pt x="7190" y="5075"/>
                  </a:lnTo>
                  <a:lnTo>
                    <a:pt x="7199" y="5084"/>
                  </a:lnTo>
                  <a:lnTo>
                    <a:pt x="7208" y="5084"/>
                  </a:lnTo>
                  <a:lnTo>
                    <a:pt x="7208" y="5092"/>
                  </a:lnTo>
                  <a:lnTo>
                    <a:pt x="7208" y="5101"/>
                  </a:lnTo>
                  <a:lnTo>
                    <a:pt x="7199" y="5110"/>
                  </a:lnTo>
                  <a:lnTo>
                    <a:pt x="7190" y="5110"/>
                  </a:lnTo>
                  <a:lnTo>
                    <a:pt x="7181" y="5110"/>
                  </a:lnTo>
                  <a:lnTo>
                    <a:pt x="7173" y="5101"/>
                  </a:lnTo>
                  <a:lnTo>
                    <a:pt x="7173" y="5092"/>
                  </a:lnTo>
                  <a:lnTo>
                    <a:pt x="7164" y="5084"/>
                  </a:lnTo>
                  <a:lnTo>
                    <a:pt x="7155" y="5066"/>
                  </a:lnTo>
                  <a:lnTo>
                    <a:pt x="7137" y="5057"/>
                  </a:lnTo>
                  <a:lnTo>
                    <a:pt x="7146" y="5048"/>
                  </a:lnTo>
                  <a:lnTo>
                    <a:pt x="7146" y="5039"/>
                  </a:lnTo>
                  <a:lnTo>
                    <a:pt x="7155" y="5039"/>
                  </a:lnTo>
                  <a:lnTo>
                    <a:pt x="7164" y="5031"/>
                  </a:lnTo>
                  <a:lnTo>
                    <a:pt x="7155" y="5031"/>
                  </a:lnTo>
                  <a:lnTo>
                    <a:pt x="7155" y="5022"/>
                  </a:lnTo>
                  <a:lnTo>
                    <a:pt x="7155" y="5013"/>
                  </a:lnTo>
                  <a:lnTo>
                    <a:pt x="7155" y="5004"/>
                  </a:lnTo>
                  <a:lnTo>
                    <a:pt x="7155" y="4995"/>
                  </a:lnTo>
                  <a:lnTo>
                    <a:pt x="7164" y="4986"/>
                  </a:lnTo>
                  <a:lnTo>
                    <a:pt x="7173" y="4969"/>
                  </a:lnTo>
                  <a:lnTo>
                    <a:pt x="7181" y="4951"/>
                  </a:lnTo>
                  <a:lnTo>
                    <a:pt x="7199" y="4942"/>
                  </a:lnTo>
                  <a:lnTo>
                    <a:pt x="7190" y="4942"/>
                  </a:lnTo>
                  <a:lnTo>
                    <a:pt x="7199" y="4934"/>
                  </a:lnTo>
                  <a:lnTo>
                    <a:pt x="7208" y="4925"/>
                  </a:lnTo>
                  <a:lnTo>
                    <a:pt x="7217" y="4925"/>
                  </a:lnTo>
                  <a:lnTo>
                    <a:pt x="7226" y="4925"/>
                  </a:lnTo>
                  <a:lnTo>
                    <a:pt x="7226" y="4934"/>
                  </a:lnTo>
                  <a:lnTo>
                    <a:pt x="7226" y="4925"/>
                  </a:lnTo>
                  <a:lnTo>
                    <a:pt x="7226" y="4916"/>
                  </a:lnTo>
                  <a:lnTo>
                    <a:pt x="7226" y="4925"/>
                  </a:lnTo>
                  <a:lnTo>
                    <a:pt x="7234" y="4925"/>
                  </a:lnTo>
                  <a:lnTo>
                    <a:pt x="7234" y="4916"/>
                  </a:lnTo>
                  <a:lnTo>
                    <a:pt x="7234" y="4907"/>
                  </a:lnTo>
                  <a:lnTo>
                    <a:pt x="7243" y="4916"/>
                  </a:lnTo>
                  <a:lnTo>
                    <a:pt x="7243" y="4907"/>
                  </a:lnTo>
                  <a:lnTo>
                    <a:pt x="7243" y="4916"/>
                  </a:lnTo>
                  <a:lnTo>
                    <a:pt x="7252" y="4916"/>
                  </a:lnTo>
                  <a:lnTo>
                    <a:pt x="7261" y="4907"/>
                  </a:lnTo>
                  <a:lnTo>
                    <a:pt x="7270" y="4907"/>
                  </a:lnTo>
                  <a:lnTo>
                    <a:pt x="7278" y="4907"/>
                  </a:lnTo>
                  <a:lnTo>
                    <a:pt x="7278" y="4898"/>
                  </a:lnTo>
                  <a:lnTo>
                    <a:pt x="7278" y="4889"/>
                  </a:lnTo>
                  <a:lnTo>
                    <a:pt x="7287" y="4881"/>
                  </a:lnTo>
                  <a:lnTo>
                    <a:pt x="7287" y="4872"/>
                  </a:lnTo>
                  <a:lnTo>
                    <a:pt x="7296" y="4863"/>
                  </a:lnTo>
                  <a:lnTo>
                    <a:pt x="7305" y="4854"/>
                  </a:lnTo>
                  <a:lnTo>
                    <a:pt x="7305" y="4863"/>
                  </a:lnTo>
                  <a:lnTo>
                    <a:pt x="7305" y="4872"/>
                  </a:lnTo>
                  <a:lnTo>
                    <a:pt x="7296" y="4881"/>
                  </a:lnTo>
                  <a:lnTo>
                    <a:pt x="7305" y="4881"/>
                  </a:lnTo>
                  <a:lnTo>
                    <a:pt x="7314" y="4881"/>
                  </a:lnTo>
                  <a:lnTo>
                    <a:pt x="7323" y="4889"/>
                  </a:lnTo>
                  <a:lnTo>
                    <a:pt x="7323" y="4881"/>
                  </a:lnTo>
                  <a:lnTo>
                    <a:pt x="7323" y="4872"/>
                  </a:lnTo>
                  <a:lnTo>
                    <a:pt x="7323" y="4863"/>
                  </a:lnTo>
                  <a:lnTo>
                    <a:pt x="7331" y="4863"/>
                  </a:lnTo>
                  <a:lnTo>
                    <a:pt x="7331" y="4872"/>
                  </a:lnTo>
                  <a:lnTo>
                    <a:pt x="7340" y="4863"/>
                  </a:lnTo>
                  <a:lnTo>
                    <a:pt x="7349" y="4863"/>
                  </a:lnTo>
                  <a:lnTo>
                    <a:pt x="7349" y="4872"/>
                  </a:lnTo>
                  <a:lnTo>
                    <a:pt x="7358" y="4872"/>
                  </a:lnTo>
                  <a:lnTo>
                    <a:pt x="7358" y="4863"/>
                  </a:lnTo>
                  <a:lnTo>
                    <a:pt x="7367" y="4872"/>
                  </a:lnTo>
                  <a:lnTo>
                    <a:pt x="7367" y="4854"/>
                  </a:lnTo>
                  <a:lnTo>
                    <a:pt x="7376" y="4854"/>
                  </a:lnTo>
                  <a:lnTo>
                    <a:pt x="7384" y="4854"/>
                  </a:lnTo>
                  <a:lnTo>
                    <a:pt x="7393" y="4854"/>
                  </a:lnTo>
                  <a:lnTo>
                    <a:pt x="7402" y="4845"/>
                  </a:lnTo>
                  <a:lnTo>
                    <a:pt x="7420" y="4845"/>
                  </a:lnTo>
                  <a:lnTo>
                    <a:pt x="7437" y="4836"/>
                  </a:lnTo>
                  <a:lnTo>
                    <a:pt x="7428" y="4828"/>
                  </a:lnTo>
                  <a:lnTo>
                    <a:pt x="7428" y="4819"/>
                  </a:lnTo>
                  <a:lnTo>
                    <a:pt x="7428" y="4810"/>
                  </a:lnTo>
                  <a:lnTo>
                    <a:pt x="7420" y="4810"/>
                  </a:lnTo>
                  <a:lnTo>
                    <a:pt x="7420" y="4801"/>
                  </a:lnTo>
                  <a:lnTo>
                    <a:pt x="7428" y="4801"/>
                  </a:lnTo>
                  <a:lnTo>
                    <a:pt x="7437" y="4801"/>
                  </a:lnTo>
                  <a:lnTo>
                    <a:pt x="7437" y="4810"/>
                  </a:lnTo>
                  <a:lnTo>
                    <a:pt x="7446" y="4810"/>
                  </a:lnTo>
                  <a:lnTo>
                    <a:pt x="7455" y="4810"/>
                  </a:lnTo>
                  <a:lnTo>
                    <a:pt x="7473" y="4801"/>
                  </a:lnTo>
                  <a:lnTo>
                    <a:pt x="7473" y="4810"/>
                  </a:lnTo>
                  <a:lnTo>
                    <a:pt x="7481" y="4810"/>
                  </a:lnTo>
                  <a:lnTo>
                    <a:pt x="7490" y="4801"/>
                  </a:lnTo>
                  <a:lnTo>
                    <a:pt x="7499" y="4801"/>
                  </a:lnTo>
                  <a:lnTo>
                    <a:pt x="7499" y="4792"/>
                  </a:lnTo>
                  <a:lnTo>
                    <a:pt x="7490" y="4792"/>
                  </a:lnTo>
                  <a:lnTo>
                    <a:pt x="7499" y="4784"/>
                  </a:lnTo>
                  <a:lnTo>
                    <a:pt x="7508" y="4784"/>
                  </a:lnTo>
                  <a:lnTo>
                    <a:pt x="7499" y="4784"/>
                  </a:lnTo>
                  <a:lnTo>
                    <a:pt x="7499" y="4792"/>
                  </a:lnTo>
                  <a:lnTo>
                    <a:pt x="7508" y="4801"/>
                  </a:lnTo>
                  <a:lnTo>
                    <a:pt x="7517" y="4801"/>
                  </a:lnTo>
                  <a:lnTo>
                    <a:pt x="7543" y="4784"/>
                  </a:lnTo>
                  <a:lnTo>
                    <a:pt x="7561" y="4775"/>
                  </a:lnTo>
                  <a:lnTo>
                    <a:pt x="7578" y="4766"/>
                  </a:lnTo>
                  <a:lnTo>
                    <a:pt x="7587" y="4766"/>
                  </a:lnTo>
                  <a:lnTo>
                    <a:pt x="7596" y="4757"/>
                  </a:lnTo>
                  <a:lnTo>
                    <a:pt x="7614" y="4748"/>
                  </a:lnTo>
                  <a:lnTo>
                    <a:pt x="7605" y="4739"/>
                  </a:lnTo>
                  <a:lnTo>
                    <a:pt x="7605" y="4731"/>
                  </a:lnTo>
                  <a:lnTo>
                    <a:pt x="7614" y="4739"/>
                  </a:lnTo>
                  <a:lnTo>
                    <a:pt x="7614" y="4748"/>
                  </a:lnTo>
                  <a:lnTo>
                    <a:pt x="7623" y="4739"/>
                  </a:lnTo>
                  <a:lnTo>
                    <a:pt x="7631" y="4739"/>
                  </a:lnTo>
                  <a:lnTo>
                    <a:pt x="7631" y="4748"/>
                  </a:lnTo>
                  <a:lnTo>
                    <a:pt x="7623" y="4748"/>
                  </a:lnTo>
                  <a:lnTo>
                    <a:pt x="7614" y="4766"/>
                  </a:lnTo>
                  <a:lnTo>
                    <a:pt x="7596" y="4775"/>
                  </a:lnTo>
                  <a:lnTo>
                    <a:pt x="7587" y="4784"/>
                  </a:lnTo>
                  <a:lnTo>
                    <a:pt x="7596" y="4784"/>
                  </a:lnTo>
                  <a:lnTo>
                    <a:pt x="7596" y="4792"/>
                  </a:lnTo>
                  <a:lnTo>
                    <a:pt x="7605" y="4784"/>
                  </a:lnTo>
                  <a:lnTo>
                    <a:pt x="7631" y="4784"/>
                  </a:lnTo>
                  <a:lnTo>
                    <a:pt x="7649" y="4784"/>
                  </a:lnTo>
                  <a:lnTo>
                    <a:pt x="7658" y="4784"/>
                  </a:lnTo>
                  <a:lnTo>
                    <a:pt x="7684" y="4784"/>
                  </a:lnTo>
                  <a:lnTo>
                    <a:pt x="7702" y="4784"/>
                  </a:lnTo>
                  <a:lnTo>
                    <a:pt x="7693" y="4792"/>
                  </a:lnTo>
                  <a:lnTo>
                    <a:pt x="7675" y="4792"/>
                  </a:lnTo>
                  <a:lnTo>
                    <a:pt x="7649" y="4801"/>
                  </a:lnTo>
                  <a:lnTo>
                    <a:pt x="7640" y="4801"/>
                  </a:lnTo>
                  <a:lnTo>
                    <a:pt x="7640" y="4819"/>
                  </a:lnTo>
                  <a:lnTo>
                    <a:pt x="7640" y="4810"/>
                  </a:lnTo>
                  <a:lnTo>
                    <a:pt x="7631" y="4810"/>
                  </a:lnTo>
                  <a:lnTo>
                    <a:pt x="7623" y="4801"/>
                  </a:lnTo>
                  <a:lnTo>
                    <a:pt x="7631" y="4792"/>
                  </a:lnTo>
                  <a:lnTo>
                    <a:pt x="7623" y="4784"/>
                  </a:lnTo>
                  <a:lnTo>
                    <a:pt x="7623" y="4792"/>
                  </a:lnTo>
                  <a:lnTo>
                    <a:pt x="7596" y="4801"/>
                  </a:lnTo>
                  <a:lnTo>
                    <a:pt x="7587" y="4810"/>
                  </a:lnTo>
                  <a:lnTo>
                    <a:pt x="7534" y="4836"/>
                  </a:lnTo>
                  <a:lnTo>
                    <a:pt x="7525" y="4845"/>
                  </a:lnTo>
                  <a:lnTo>
                    <a:pt x="7534" y="4845"/>
                  </a:lnTo>
                  <a:lnTo>
                    <a:pt x="7543" y="4836"/>
                  </a:lnTo>
                  <a:lnTo>
                    <a:pt x="7543" y="4845"/>
                  </a:lnTo>
                  <a:lnTo>
                    <a:pt x="7534" y="4845"/>
                  </a:lnTo>
                  <a:lnTo>
                    <a:pt x="7525" y="4854"/>
                  </a:lnTo>
                  <a:lnTo>
                    <a:pt x="7517" y="4854"/>
                  </a:lnTo>
                  <a:lnTo>
                    <a:pt x="7508" y="4854"/>
                  </a:lnTo>
                  <a:lnTo>
                    <a:pt x="7499" y="4863"/>
                  </a:lnTo>
                  <a:lnTo>
                    <a:pt x="7499" y="4872"/>
                  </a:lnTo>
                  <a:lnTo>
                    <a:pt x="7508" y="4854"/>
                  </a:lnTo>
                  <a:lnTo>
                    <a:pt x="7517" y="4854"/>
                  </a:lnTo>
                  <a:lnTo>
                    <a:pt x="7499" y="4872"/>
                  </a:lnTo>
                  <a:lnTo>
                    <a:pt x="7490" y="4898"/>
                  </a:lnTo>
                  <a:lnTo>
                    <a:pt x="7499" y="4925"/>
                  </a:lnTo>
                  <a:lnTo>
                    <a:pt x="7499" y="4934"/>
                  </a:lnTo>
                  <a:lnTo>
                    <a:pt x="7508" y="4925"/>
                  </a:lnTo>
                  <a:lnTo>
                    <a:pt x="7517" y="4925"/>
                  </a:lnTo>
                  <a:lnTo>
                    <a:pt x="7517" y="4934"/>
                  </a:lnTo>
                  <a:lnTo>
                    <a:pt x="7525" y="4951"/>
                  </a:lnTo>
                  <a:lnTo>
                    <a:pt x="7534" y="4951"/>
                  </a:lnTo>
                  <a:lnTo>
                    <a:pt x="7543" y="4951"/>
                  </a:lnTo>
                  <a:lnTo>
                    <a:pt x="7552" y="4951"/>
                  </a:lnTo>
                  <a:lnTo>
                    <a:pt x="7552" y="4942"/>
                  </a:lnTo>
                  <a:lnTo>
                    <a:pt x="7561" y="4934"/>
                  </a:lnTo>
                  <a:lnTo>
                    <a:pt x="7570" y="4934"/>
                  </a:lnTo>
                  <a:lnTo>
                    <a:pt x="7587" y="4925"/>
                  </a:lnTo>
                  <a:lnTo>
                    <a:pt x="7596" y="4916"/>
                  </a:lnTo>
                  <a:lnTo>
                    <a:pt x="7605" y="4907"/>
                  </a:lnTo>
                  <a:lnTo>
                    <a:pt x="7614" y="4898"/>
                  </a:lnTo>
                  <a:lnTo>
                    <a:pt x="7623" y="4889"/>
                  </a:lnTo>
                  <a:lnTo>
                    <a:pt x="7623" y="4881"/>
                  </a:lnTo>
                  <a:lnTo>
                    <a:pt x="7631" y="4881"/>
                  </a:lnTo>
                  <a:lnTo>
                    <a:pt x="7631" y="4872"/>
                  </a:lnTo>
                  <a:lnTo>
                    <a:pt x="7631" y="4863"/>
                  </a:lnTo>
                  <a:lnTo>
                    <a:pt x="7640" y="4854"/>
                  </a:lnTo>
                  <a:lnTo>
                    <a:pt x="7649" y="4863"/>
                  </a:lnTo>
                  <a:lnTo>
                    <a:pt x="7649" y="4854"/>
                  </a:lnTo>
                  <a:lnTo>
                    <a:pt x="7658" y="4854"/>
                  </a:lnTo>
                  <a:lnTo>
                    <a:pt x="7658" y="4863"/>
                  </a:lnTo>
                  <a:lnTo>
                    <a:pt x="7667" y="4863"/>
                  </a:lnTo>
                  <a:lnTo>
                    <a:pt x="7684" y="4863"/>
                  </a:lnTo>
                  <a:lnTo>
                    <a:pt x="7684" y="4854"/>
                  </a:lnTo>
                  <a:lnTo>
                    <a:pt x="7684" y="4845"/>
                  </a:lnTo>
                  <a:lnTo>
                    <a:pt x="7684" y="4854"/>
                  </a:lnTo>
                  <a:lnTo>
                    <a:pt x="7693" y="4854"/>
                  </a:lnTo>
                  <a:lnTo>
                    <a:pt x="7702" y="4854"/>
                  </a:lnTo>
                  <a:lnTo>
                    <a:pt x="7720" y="4845"/>
                  </a:lnTo>
                  <a:lnTo>
                    <a:pt x="7728" y="4845"/>
                  </a:lnTo>
                  <a:lnTo>
                    <a:pt x="7746" y="4836"/>
                  </a:lnTo>
                  <a:lnTo>
                    <a:pt x="7764" y="4836"/>
                  </a:lnTo>
                  <a:lnTo>
                    <a:pt x="7781" y="4828"/>
                  </a:lnTo>
                  <a:lnTo>
                    <a:pt x="7799" y="4819"/>
                  </a:lnTo>
                  <a:lnTo>
                    <a:pt x="7817" y="4810"/>
                  </a:lnTo>
                  <a:lnTo>
                    <a:pt x="7825" y="4810"/>
                  </a:lnTo>
                  <a:lnTo>
                    <a:pt x="7834" y="4801"/>
                  </a:lnTo>
                  <a:lnTo>
                    <a:pt x="7843" y="4801"/>
                  </a:lnTo>
                  <a:lnTo>
                    <a:pt x="7852" y="4801"/>
                  </a:lnTo>
                  <a:lnTo>
                    <a:pt x="7861" y="4792"/>
                  </a:lnTo>
                  <a:lnTo>
                    <a:pt x="7870" y="4801"/>
                  </a:lnTo>
                  <a:lnTo>
                    <a:pt x="7870" y="4792"/>
                  </a:lnTo>
                  <a:lnTo>
                    <a:pt x="7870" y="4784"/>
                  </a:lnTo>
                  <a:lnTo>
                    <a:pt x="7843" y="4784"/>
                  </a:lnTo>
                  <a:lnTo>
                    <a:pt x="7852" y="4775"/>
                  </a:lnTo>
                  <a:lnTo>
                    <a:pt x="7852" y="4766"/>
                  </a:lnTo>
                  <a:lnTo>
                    <a:pt x="7843" y="4757"/>
                  </a:lnTo>
                  <a:lnTo>
                    <a:pt x="7834" y="4757"/>
                  </a:lnTo>
                  <a:lnTo>
                    <a:pt x="7825" y="4757"/>
                  </a:lnTo>
                  <a:lnTo>
                    <a:pt x="7817" y="4757"/>
                  </a:lnTo>
                  <a:lnTo>
                    <a:pt x="7808" y="4757"/>
                  </a:lnTo>
                  <a:lnTo>
                    <a:pt x="7808" y="4748"/>
                  </a:lnTo>
                  <a:lnTo>
                    <a:pt x="7808" y="4739"/>
                  </a:lnTo>
                  <a:lnTo>
                    <a:pt x="7781" y="4748"/>
                  </a:lnTo>
                  <a:lnTo>
                    <a:pt x="7773" y="4757"/>
                  </a:lnTo>
                  <a:lnTo>
                    <a:pt x="7764" y="4757"/>
                  </a:lnTo>
                  <a:lnTo>
                    <a:pt x="7764" y="4766"/>
                  </a:lnTo>
                  <a:lnTo>
                    <a:pt x="7755" y="4757"/>
                  </a:lnTo>
                  <a:lnTo>
                    <a:pt x="7746" y="4757"/>
                  </a:lnTo>
                  <a:lnTo>
                    <a:pt x="7746" y="4748"/>
                  </a:lnTo>
                  <a:lnTo>
                    <a:pt x="7737" y="4748"/>
                  </a:lnTo>
                  <a:lnTo>
                    <a:pt x="7720" y="4748"/>
                  </a:lnTo>
                  <a:lnTo>
                    <a:pt x="7711" y="4748"/>
                  </a:lnTo>
                  <a:lnTo>
                    <a:pt x="7702" y="4748"/>
                  </a:lnTo>
                  <a:lnTo>
                    <a:pt x="7693" y="4739"/>
                  </a:lnTo>
                  <a:lnTo>
                    <a:pt x="7684" y="4739"/>
                  </a:lnTo>
                  <a:lnTo>
                    <a:pt x="7675" y="4739"/>
                  </a:lnTo>
                  <a:lnTo>
                    <a:pt x="7667" y="4731"/>
                  </a:lnTo>
                  <a:lnTo>
                    <a:pt x="7649" y="4722"/>
                  </a:lnTo>
                  <a:lnTo>
                    <a:pt x="7667" y="4722"/>
                  </a:lnTo>
                  <a:lnTo>
                    <a:pt x="7667" y="4713"/>
                  </a:lnTo>
                  <a:lnTo>
                    <a:pt x="7658" y="4713"/>
                  </a:lnTo>
                  <a:lnTo>
                    <a:pt x="7640" y="4713"/>
                  </a:lnTo>
                  <a:lnTo>
                    <a:pt x="7640" y="4704"/>
                  </a:lnTo>
                  <a:lnTo>
                    <a:pt x="7614" y="4704"/>
                  </a:lnTo>
                  <a:lnTo>
                    <a:pt x="7614" y="4695"/>
                  </a:lnTo>
                  <a:lnTo>
                    <a:pt x="7605" y="4695"/>
                  </a:lnTo>
                  <a:lnTo>
                    <a:pt x="7605" y="4686"/>
                  </a:lnTo>
                  <a:lnTo>
                    <a:pt x="7605" y="4678"/>
                  </a:lnTo>
                  <a:lnTo>
                    <a:pt x="7596" y="4669"/>
                  </a:lnTo>
                  <a:lnTo>
                    <a:pt x="7596" y="4660"/>
                  </a:lnTo>
                  <a:lnTo>
                    <a:pt x="7587" y="4651"/>
                  </a:lnTo>
                  <a:lnTo>
                    <a:pt x="7587" y="4642"/>
                  </a:lnTo>
                  <a:lnTo>
                    <a:pt x="7596" y="4633"/>
                  </a:lnTo>
                  <a:lnTo>
                    <a:pt x="7587" y="4625"/>
                  </a:lnTo>
                  <a:lnTo>
                    <a:pt x="7578" y="4625"/>
                  </a:lnTo>
                  <a:lnTo>
                    <a:pt x="7570" y="4633"/>
                  </a:lnTo>
                  <a:lnTo>
                    <a:pt x="7561" y="4625"/>
                  </a:lnTo>
                  <a:lnTo>
                    <a:pt x="7552" y="4625"/>
                  </a:lnTo>
                  <a:lnTo>
                    <a:pt x="7570" y="4616"/>
                  </a:lnTo>
                  <a:lnTo>
                    <a:pt x="7587" y="4598"/>
                  </a:lnTo>
                  <a:lnTo>
                    <a:pt x="7587" y="4581"/>
                  </a:lnTo>
                  <a:lnTo>
                    <a:pt x="7596" y="4572"/>
                  </a:lnTo>
                  <a:lnTo>
                    <a:pt x="7605" y="4572"/>
                  </a:lnTo>
                  <a:lnTo>
                    <a:pt x="7587" y="4563"/>
                  </a:lnTo>
                  <a:lnTo>
                    <a:pt x="7578" y="4563"/>
                  </a:lnTo>
                  <a:lnTo>
                    <a:pt x="7578" y="4554"/>
                  </a:lnTo>
                  <a:lnTo>
                    <a:pt x="7561" y="4563"/>
                  </a:lnTo>
                  <a:lnTo>
                    <a:pt x="7552" y="4563"/>
                  </a:lnTo>
                  <a:lnTo>
                    <a:pt x="7543" y="4572"/>
                  </a:lnTo>
                  <a:lnTo>
                    <a:pt x="7534" y="4572"/>
                  </a:lnTo>
                  <a:lnTo>
                    <a:pt x="7525" y="4554"/>
                  </a:lnTo>
                  <a:lnTo>
                    <a:pt x="7517" y="4554"/>
                  </a:lnTo>
                  <a:lnTo>
                    <a:pt x="7490" y="4545"/>
                  </a:lnTo>
                  <a:lnTo>
                    <a:pt x="7481" y="4536"/>
                  </a:lnTo>
                  <a:lnTo>
                    <a:pt x="7473" y="4536"/>
                  </a:lnTo>
                  <a:lnTo>
                    <a:pt x="7464" y="4545"/>
                  </a:lnTo>
                  <a:lnTo>
                    <a:pt x="7455" y="4536"/>
                  </a:lnTo>
                  <a:lnTo>
                    <a:pt x="7473" y="4528"/>
                  </a:lnTo>
                  <a:lnTo>
                    <a:pt x="7481" y="4536"/>
                  </a:lnTo>
                  <a:lnTo>
                    <a:pt x="7490" y="4528"/>
                  </a:lnTo>
                  <a:lnTo>
                    <a:pt x="7499" y="4536"/>
                  </a:lnTo>
                  <a:lnTo>
                    <a:pt x="7508" y="4528"/>
                  </a:lnTo>
                  <a:lnTo>
                    <a:pt x="7525" y="4528"/>
                  </a:lnTo>
                  <a:lnTo>
                    <a:pt x="7543" y="4536"/>
                  </a:lnTo>
                  <a:lnTo>
                    <a:pt x="7552" y="4545"/>
                  </a:lnTo>
                  <a:lnTo>
                    <a:pt x="7561" y="4536"/>
                  </a:lnTo>
                  <a:lnTo>
                    <a:pt x="7578" y="4528"/>
                  </a:lnTo>
                  <a:lnTo>
                    <a:pt x="7596" y="4528"/>
                  </a:lnTo>
                  <a:lnTo>
                    <a:pt x="7596" y="4519"/>
                  </a:lnTo>
                  <a:lnTo>
                    <a:pt x="7605" y="4510"/>
                  </a:lnTo>
                  <a:lnTo>
                    <a:pt x="7631" y="4501"/>
                  </a:lnTo>
                  <a:lnTo>
                    <a:pt x="7631" y="4492"/>
                  </a:lnTo>
                  <a:lnTo>
                    <a:pt x="7631" y="4475"/>
                  </a:lnTo>
                  <a:lnTo>
                    <a:pt x="7623" y="4466"/>
                  </a:lnTo>
                  <a:lnTo>
                    <a:pt x="7614" y="4466"/>
                  </a:lnTo>
                  <a:lnTo>
                    <a:pt x="7623" y="4466"/>
                  </a:lnTo>
                  <a:lnTo>
                    <a:pt x="7640" y="4466"/>
                  </a:lnTo>
                  <a:lnTo>
                    <a:pt x="7640" y="4457"/>
                  </a:lnTo>
                  <a:lnTo>
                    <a:pt x="7631" y="4457"/>
                  </a:lnTo>
                  <a:lnTo>
                    <a:pt x="7614" y="4439"/>
                  </a:lnTo>
                  <a:lnTo>
                    <a:pt x="7596" y="4430"/>
                  </a:lnTo>
                  <a:lnTo>
                    <a:pt x="7552" y="4422"/>
                  </a:lnTo>
                  <a:lnTo>
                    <a:pt x="7543" y="4422"/>
                  </a:lnTo>
                  <a:lnTo>
                    <a:pt x="7517" y="4430"/>
                  </a:lnTo>
                  <a:lnTo>
                    <a:pt x="7490" y="4430"/>
                  </a:lnTo>
                  <a:lnTo>
                    <a:pt x="7464" y="4439"/>
                  </a:lnTo>
                  <a:lnTo>
                    <a:pt x="7420" y="4448"/>
                  </a:lnTo>
                  <a:lnTo>
                    <a:pt x="7393" y="4457"/>
                  </a:lnTo>
                  <a:lnTo>
                    <a:pt x="7367" y="4475"/>
                  </a:lnTo>
                  <a:lnTo>
                    <a:pt x="7340" y="4483"/>
                  </a:lnTo>
                  <a:lnTo>
                    <a:pt x="7331" y="4492"/>
                  </a:lnTo>
                  <a:lnTo>
                    <a:pt x="7323" y="4501"/>
                  </a:lnTo>
                  <a:lnTo>
                    <a:pt x="7305" y="4510"/>
                  </a:lnTo>
                  <a:lnTo>
                    <a:pt x="7296" y="4510"/>
                  </a:lnTo>
                  <a:lnTo>
                    <a:pt x="7287" y="4519"/>
                  </a:lnTo>
                  <a:lnTo>
                    <a:pt x="7261" y="4536"/>
                  </a:lnTo>
                  <a:lnTo>
                    <a:pt x="7252" y="4545"/>
                  </a:lnTo>
                  <a:lnTo>
                    <a:pt x="7243" y="4554"/>
                  </a:lnTo>
                  <a:lnTo>
                    <a:pt x="7226" y="4581"/>
                  </a:lnTo>
                  <a:lnTo>
                    <a:pt x="7208" y="4589"/>
                  </a:lnTo>
                  <a:lnTo>
                    <a:pt x="7208" y="4598"/>
                  </a:lnTo>
                  <a:lnTo>
                    <a:pt x="7199" y="4607"/>
                  </a:lnTo>
                  <a:lnTo>
                    <a:pt x="7181" y="4625"/>
                  </a:lnTo>
                  <a:lnTo>
                    <a:pt x="7173" y="4633"/>
                  </a:lnTo>
                  <a:lnTo>
                    <a:pt x="7137" y="4651"/>
                  </a:lnTo>
                  <a:lnTo>
                    <a:pt x="7128" y="4651"/>
                  </a:lnTo>
                  <a:lnTo>
                    <a:pt x="7120" y="4660"/>
                  </a:lnTo>
                  <a:lnTo>
                    <a:pt x="7102" y="4660"/>
                  </a:lnTo>
                  <a:lnTo>
                    <a:pt x="7093" y="4669"/>
                  </a:lnTo>
                  <a:lnTo>
                    <a:pt x="7076" y="4669"/>
                  </a:lnTo>
                  <a:lnTo>
                    <a:pt x="7058" y="4678"/>
                  </a:lnTo>
                  <a:lnTo>
                    <a:pt x="7049" y="4678"/>
                  </a:lnTo>
                  <a:lnTo>
                    <a:pt x="7049" y="4686"/>
                  </a:lnTo>
                  <a:lnTo>
                    <a:pt x="7040" y="4686"/>
                  </a:lnTo>
                  <a:lnTo>
                    <a:pt x="7031" y="4695"/>
                  </a:lnTo>
                  <a:lnTo>
                    <a:pt x="7014" y="4713"/>
                  </a:lnTo>
                  <a:lnTo>
                    <a:pt x="6996" y="4722"/>
                  </a:lnTo>
                  <a:lnTo>
                    <a:pt x="6978" y="4731"/>
                  </a:lnTo>
                  <a:lnTo>
                    <a:pt x="6970" y="4739"/>
                  </a:lnTo>
                  <a:lnTo>
                    <a:pt x="6961" y="4748"/>
                  </a:lnTo>
                  <a:lnTo>
                    <a:pt x="6961" y="4757"/>
                  </a:lnTo>
                  <a:lnTo>
                    <a:pt x="6952" y="4766"/>
                  </a:lnTo>
                  <a:lnTo>
                    <a:pt x="6952" y="4775"/>
                  </a:lnTo>
                  <a:lnTo>
                    <a:pt x="6952" y="4784"/>
                  </a:lnTo>
                  <a:lnTo>
                    <a:pt x="6934" y="4784"/>
                  </a:lnTo>
                  <a:lnTo>
                    <a:pt x="6917" y="4792"/>
                  </a:lnTo>
                  <a:lnTo>
                    <a:pt x="6899" y="4801"/>
                  </a:lnTo>
                  <a:lnTo>
                    <a:pt x="6873" y="4819"/>
                  </a:lnTo>
                  <a:lnTo>
                    <a:pt x="6864" y="4819"/>
                  </a:lnTo>
                  <a:lnTo>
                    <a:pt x="6890" y="4801"/>
                  </a:lnTo>
                  <a:lnTo>
                    <a:pt x="6908" y="4792"/>
                  </a:lnTo>
                  <a:lnTo>
                    <a:pt x="6917" y="4784"/>
                  </a:lnTo>
                  <a:lnTo>
                    <a:pt x="6917" y="4775"/>
                  </a:lnTo>
                  <a:lnTo>
                    <a:pt x="6899" y="4775"/>
                  </a:lnTo>
                  <a:lnTo>
                    <a:pt x="6899" y="4766"/>
                  </a:lnTo>
                  <a:lnTo>
                    <a:pt x="6917" y="4775"/>
                  </a:lnTo>
                  <a:lnTo>
                    <a:pt x="6926" y="4766"/>
                  </a:lnTo>
                  <a:lnTo>
                    <a:pt x="6934" y="4757"/>
                  </a:lnTo>
                  <a:lnTo>
                    <a:pt x="6943" y="4757"/>
                  </a:lnTo>
                  <a:lnTo>
                    <a:pt x="6961" y="4748"/>
                  </a:lnTo>
                  <a:lnTo>
                    <a:pt x="6970" y="4739"/>
                  </a:lnTo>
                  <a:lnTo>
                    <a:pt x="6978" y="4722"/>
                  </a:lnTo>
                  <a:lnTo>
                    <a:pt x="6987" y="4713"/>
                  </a:lnTo>
                  <a:lnTo>
                    <a:pt x="6996" y="4704"/>
                  </a:lnTo>
                  <a:lnTo>
                    <a:pt x="7005" y="4704"/>
                  </a:lnTo>
                  <a:lnTo>
                    <a:pt x="7014" y="4704"/>
                  </a:lnTo>
                  <a:lnTo>
                    <a:pt x="7049" y="4686"/>
                  </a:lnTo>
                  <a:lnTo>
                    <a:pt x="7049" y="4678"/>
                  </a:lnTo>
                  <a:lnTo>
                    <a:pt x="7067" y="4669"/>
                  </a:lnTo>
                  <a:lnTo>
                    <a:pt x="7076" y="4660"/>
                  </a:lnTo>
                  <a:lnTo>
                    <a:pt x="7084" y="4669"/>
                  </a:lnTo>
                  <a:lnTo>
                    <a:pt x="7093" y="4660"/>
                  </a:lnTo>
                  <a:lnTo>
                    <a:pt x="7120" y="4651"/>
                  </a:lnTo>
                  <a:lnTo>
                    <a:pt x="7128" y="4642"/>
                  </a:lnTo>
                  <a:lnTo>
                    <a:pt x="7137" y="4633"/>
                  </a:lnTo>
                  <a:lnTo>
                    <a:pt x="7164" y="4625"/>
                  </a:lnTo>
                  <a:lnTo>
                    <a:pt x="7181" y="4598"/>
                  </a:lnTo>
                  <a:lnTo>
                    <a:pt x="7190" y="4589"/>
                  </a:lnTo>
                  <a:lnTo>
                    <a:pt x="7217" y="4563"/>
                  </a:lnTo>
                  <a:lnTo>
                    <a:pt x="7217" y="4554"/>
                  </a:lnTo>
                  <a:lnTo>
                    <a:pt x="7226" y="4545"/>
                  </a:lnTo>
                  <a:lnTo>
                    <a:pt x="7226" y="4536"/>
                  </a:lnTo>
                  <a:lnTo>
                    <a:pt x="7226" y="4528"/>
                  </a:lnTo>
                  <a:lnTo>
                    <a:pt x="7217" y="4519"/>
                  </a:lnTo>
                  <a:lnTo>
                    <a:pt x="7199" y="4519"/>
                  </a:lnTo>
                  <a:lnTo>
                    <a:pt x="7173" y="4510"/>
                  </a:lnTo>
                  <a:lnTo>
                    <a:pt x="7164" y="4510"/>
                  </a:lnTo>
                  <a:lnTo>
                    <a:pt x="7146" y="4510"/>
                  </a:lnTo>
                  <a:lnTo>
                    <a:pt x="7146" y="4501"/>
                  </a:lnTo>
                  <a:lnTo>
                    <a:pt x="7137" y="4501"/>
                  </a:lnTo>
                  <a:lnTo>
                    <a:pt x="7181" y="4510"/>
                  </a:lnTo>
                  <a:lnTo>
                    <a:pt x="7208" y="4519"/>
                  </a:lnTo>
                  <a:lnTo>
                    <a:pt x="7226" y="4519"/>
                  </a:lnTo>
                  <a:lnTo>
                    <a:pt x="7226" y="4528"/>
                  </a:lnTo>
                  <a:lnTo>
                    <a:pt x="7234" y="4528"/>
                  </a:lnTo>
                  <a:lnTo>
                    <a:pt x="7243" y="4519"/>
                  </a:lnTo>
                  <a:lnTo>
                    <a:pt x="7261" y="4510"/>
                  </a:lnTo>
                  <a:lnTo>
                    <a:pt x="7270" y="4492"/>
                  </a:lnTo>
                  <a:lnTo>
                    <a:pt x="7287" y="4466"/>
                  </a:lnTo>
                  <a:lnTo>
                    <a:pt x="7314" y="4457"/>
                  </a:lnTo>
                  <a:lnTo>
                    <a:pt x="7314" y="4448"/>
                  </a:lnTo>
                  <a:lnTo>
                    <a:pt x="7323" y="4439"/>
                  </a:lnTo>
                  <a:lnTo>
                    <a:pt x="7331" y="4439"/>
                  </a:lnTo>
                  <a:lnTo>
                    <a:pt x="7340" y="4439"/>
                  </a:lnTo>
                  <a:lnTo>
                    <a:pt x="7340" y="4430"/>
                  </a:lnTo>
                  <a:lnTo>
                    <a:pt x="7358" y="4422"/>
                  </a:lnTo>
                  <a:lnTo>
                    <a:pt x="7393" y="4413"/>
                  </a:lnTo>
                  <a:lnTo>
                    <a:pt x="7402" y="4413"/>
                  </a:lnTo>
                  <a:lnTo>
                    <a:pt x="7411" y="4404"/>
                  </a:lnTo>
                  <a:lnTo>
                    <a:pt x="7420" y="4386"/>
                  </a:lnTo>
                  <a:lnTo>
                    <a:pt x="7437" y="4351"/>
                  </a:lnTo>
                  <a:lnTo>
                    <a:pt x="7455" y="4342"/>
                  </a:lnTo>
                  <a:lnTo>
                    <a:pt x="7464" y="4333"/>
                  </a:lnTo>
                  <a:lnTo>
                    <a:pt x="7473" y="4333"/>
                  </a:lnTo>
                  <a:lnTo>
                    <a:pt x="7481" y="4333"/>
                  </a:lnTo>
                  <a:lnTo>
                    <a:pt x="7490" y="4333"/>
                  </a:lnTo>
                  <a:lnTo>
                    <a:pt x="7499" y="4333"/>
                  </a:lnTo>
                  <a:lnTo>
                    <a:pt x="7508" y="4325"/>
                  </a:lnTo>
                  <a:lnTo>
                    <a:pt x="7525" y="4325"/>
                  </a:lnTo>
                  <a:lnTo>
                    <a:pt x="7561" y="4325"/>
                  </a:lnTo>
                  <a:lnTo>
                    <a:pt x="7570" y="4325"/>
                  </a:lnTo>
                  <a:lnTo>
                    <a:pt x="7587" y="4325"/>
                  </a:lnTo>
                  <a:lnTo>
                    <a:pt x="7614" y="4325"/>
                  </a:lnTo>
                  <a:lnTo>
                    <a:pt x="7640" y="4325"/>
                  </a:lnTo>
                  <a:lnTo>
                    <a:pt x="7649" y="4325"/>
                  </a:lnTo>
                  <a:lnTo>
                    <a:pt x="7667" y="4325"/>
                  </a:lnTo>
                  <a:lnTo>
                    <a:pt x="7675" y="4325"/>
                  </a:lnTo>
                  <a:lnTo>
                    <a:pt x="7684" y="4325"/>
                  </a:lnTo>
                  <a:lnTo>
                    <a:pt x="7711" y="4333"/>
                  </a:lnTo>
                  <a:lnTo>
                    <a:pt x="7720" y="4325"/>
                  </a:lnTo>
                  <a:lnTo>
                    <a:pt x="7728" y="4325"/>
                  </a:lnTo>
                  <a:lnTo>
                    <a:pt x="7737" y="4325"/>
                  </a:lnTo>
                  <a:lnTo>
                    <a:pt x="7746" y="4325"/>
                  </a:lnTo>
                  <a:lnTo>
                    <a:pt x="7764" y="4325"/>
                  </a:lnTo>
                  <a:lnTo>
                    <a:pt x="7773" y="4325"/>
                  </a:lnTo>
                  <a:lnTo>
                    <a:pt x="7790" y="4333"/>
                  </a:lnTo>
                  <a:lnTo>
                    <a:pt x="7808" y="4333"/>
                  </a:lnTo>
                  <a:lnTo>
                    <a:pt x="7817" y="4333"/>
                  </a:lnTo>
                  <a:lnTo>
                    <a:pt x="7817" y="4342"/>
                  </a:lnTo>
                  <a:lnTo>
                    <a:pt x="7852" y="4333"/>
                  </a:lnTo>
                  <a:lnTo>
                    <a:pt x="7861" y="4333"/>
                  </a:lnTo>
                  <a:lnTo>
                    <a:pt x="7878" y="4333"/>
                  </a:lnTo>
                  <a:lnTo>
                    <a:pt x="7887" y="4325"/>
                  </a:lnTo>
                  <a:lnTo>
                    <a:pt x="7905" y="4333"/>
                  </a:lnTo>
                  <a:lnTo>
                    <a:pt x="7914" y="4333"/>
                  </a:lnTo>
                  <a:lnTo>
                    <a:pt x="7940" y="4325"/>
                  </a:lnTo>
                  <a:lnTo>
                    <a:pt x="7958" y="4325"/>
                  </a:lnTo>
                  <a:lnTo>
                    <a:pt x="7958" y="4316"/>
                  </a:lnTo>
                  <a:lnTo>
                    <a:pt x="7975" y="4307"/>
                  </a:lnTo>
                  <a:lnTo>
                    <a:pt x="7993" y="4289"/>
                  </a:lnTo>
                  <a:lnTo>
                    <a:pt x="8011" y="4280"/>
                  </a:lnTo>
                  <a:lnTo>
                    <a:pt x="8020" y="4272"/>
                  </a:lnTo>
                  <a:lnTo>
                    <a:pt x="8046" y="4236"/>
                  </a:lnTo>
                  <a:lnTo>
                    <a:pt x="8055" y="4227"/>
                  </a:lnTo>
                  <a:lnTo>
                    <a:pt x="8064" y="4227"/>
                  </a:lnTo>
                  <a:lnTo>
                    <a:pt x="8072" y="4227"/>
                  </a:lnTo>
                  <a:lnTo>
                    <a:pt x="8090" y="4227"/>
                  </a:lnTo>
                  <a:lnTo>
                    <a:pt x="8108" y="4219"/>
                  </a:lnTo>
                  <a:lnTo>
                    <a:pt x="8134" y="4210"/>
                  </a:lnTo>
                  <a:lnTo>
                    <a:pt x="8143" y="4210"/>
                  </a:lnTo>
                  <a:lnTo>
                    <a:pt x="8161" y="4210"/>
                  </a:lnTo>
                  <a:lnTo>
                    <a:pt x="8170" y="4210"/>
                  </a:lnTo>
                  <a:lnTo>
                    <a:pt x="8205" y="4192"/>
                  </a:lnTo>
                  <a:lnTo>
                    <a:pt x="8222" y="4175"/>
                  </a:lnTo>
                  <a:lnTo>
                    <a:pt x="8240" y="4166"/>
                  </a:lnTo>
                  <a:lnTo>
                    <a:pt x="8267" y="4148"/>
                  </a:lnTo>
                  <a:lnTo>
                    <a:pt x="8267" y="4139"/>
                  </a:lnTo>
                  <a:lnTo>
                    <a:pt x="8267" y="4130"/>
                  </a:lnTo>
                  <a:lnTo>
                    <a:pt x="8258" y="4130"/>
                  </a:lnTo>
                  <a:lnTo>
                    <a:pt x="8240" y="4122"/>
                  </a:lnTo>
                  <a:lnTo>
                    <a:pt x="8249" y="4122"/>
                  </a:lnTo>
                  <a:lnTo>
                    <a:pt x="8258" y="4122"/>
                  </a:lnTo>
                  <a:lnTo>
                    <a:pt x="8267" y="4113"/>
                  </a:lnTo>
                  <a:lnTo>
                    <a:pt x="8258" y="4113"/>
                  </a:lnTo>
                  <a:lnTo>
                    <a:pt x="8249" y="4104"/>
                  </a:lnTo>
                  <a:lnTo>
                    <a:pt x="8240" y="4104"/>
                  </a:lnTo>
                  <a:lnTo>
                    <a:pt x="8222" y="4104"/>
                  </a:lnTo>
                  <a:lnTo>
                    <a:pt x="8214" y="4104"/>
                  </a:lnTo>
                  <a:lnTo>
                    <a:pt x="8222" y="4104"/>
                  </a:lnTo>
                  <a:lnTo>
                    <a:pt x="8231" y="4104"/>
                  </a:lnTo>
                  <a:lnTo>
                    <a:pt x="8249" y="4095"/>
                  </a:lnTo>
                  <a:lnTo>
                    <a:pt x="8258" y="4095"/>
                  </a:lnTo>
                  <a:lnTo>
                    <a:pt x="8249" y="4086"/>
                  </a:lnTo>
                  <a:lnTo>
                    <a:pt x="8249" y="4077"/>
                  </a:lnTo>
                  <a:lnTo>
                    <a:pt x="8258" y="4069"/>
                  </a:lnTo>
                  <a:lnTo>
                    <a:pt x="8249" y="4060"/>
                  </a:lnTo>
                  <a:lnTo>
                    <a:pt x="8258" y="4042"/>
                  </a:lnTo>
                  <a:lnTo>
                    <a:pt x="8258" y="4033"/>
                  </a:lnTo>
                  <a:lnTo>
                    <a:pt x="8249" y="4033"/>
                  </a:lnTo>
                  <a:lnTo>
                    <a:pt x="8249" y="4024"/>
                  </a:lnTo>
                  <a:lnTo>
                    <a:pt x="8240" y="4016"/>
                  </a:lnTo>
                  <a:lnTo>
                    <a:pt x="8231" y="3998"/>
                  </a:lnTo>
                  <a:lnTo>
                    <a:pt x="8222" y="3998"/>
                  </a:lnTo>
                  <a:lnTo>
                    <a:pt x="8214" y="3998"/>
                  </a:lnTo>
                  <a:lnTo>
                    <a:pt x="8205" y="3989"/>
                  </a:lnTo>
                  <a:lnTo>
                    <a:pt x="8205" y="3980"/>
                  </a:lnTo>
                  <a:lnTo>
                    <a:pt x="8187" y="3980"/>
                  </a:lnTo>
                  <a:lnTo>
                    <a:pt x="8178" y="3989"/>
                  </a:lnTo>
                  <a:lnTo>
                    <a:pt x="8170" y="3989"/>
                  </a:lnTo>
                  <a:lnTo>
                    <a:pt x="8152" y="4007"/>
                  </a:lnTo>
                  <a:lnTo>
                    <a:pt x="8143" y="4016"/>
                  </a:lnTo>
                  <a:lnTo>
                    <a:pt x="8143" y="4007"/>
                  </a:lnTo>
                  <a:lnTo>
                    <a:pt x="8134" y="3998"/>
                  </a:lnTo>
                  <a:lnTo>
                    <a:pt x="8125" y="3998"/>
                  </a:lnTo>
                  <a:lnTo>
                    <a:pt x="8134" y="3998"/>
                  </a:lnTo>
                  <a:lnTo>
                    <a:pt x="8152" y="3989"/>
                  </a:lnTo>
                  <a:lnTo>
                    <a:pt x="8152" y="3980"/>
                  </a:lnTo>
                  <a:lnTo>
                    <a:pt x="8161" y="3980"/>
                  </a:lnTo>
                  <a:lnTo>
                    <a:pt x="8161" y="3972"/>
                  </a:lnTo>
                  <a:lnTo>
                    <a:pt x="8152" y="3963"/>
                  </a:lnTo>
                  <a:lnTo>
                    <a:pt x="8134" y="3945"/>
                  </a:lnTo>
                  <a:lnTo>
                    <a:pt x="8125" y="3936"/>
                  </a:lnTo>
                  <a:lnTo>
                    <a:pt x="8081" y="3936"/>
                  </a:lnTo>
                  <a:lnTo>
                    <a:pt x="8072" y="3936"/>
                  </a:lnTo>
                  <a:lnTo>
                    <a:pt x="8064" y="3945"/>
                  </a:lnTo>
                  <a:lnTo>
                    <a:pt x="8072" y="3945"/>
                  </a:lnTo>
                  <a:lnTo>
                    <a:pt x="8081" y="3945"/>
                  </a:lnTo>
                  <a:lnTo>
                    <a:pt x="8090" y="3945"/>
                  </a:lnTo>
                  <a:lnTo>
                    <a:pt x="8099" y="3945"/>
                  </a:lnTo>
                  <a:lnTo>
                    <a:pt x="8099" y="3954"/>
                  </a:lnTo>
                  <a:lnTo>
                    <a:pt x="8090" y="3954"/>
                  </a:lnTo>
                  <a:lnTo>
                    <a:pt x="8072" y="3954"/>
                  </a:lnTo>
                  <a:lnTo>
                    <a:pt x="8046" y="3963"/>
                  </a:lnTo>
                  <a:lnTo>
                    <a:pt x="8028" y="3972"/>
                  </a:lnTo>
                  <a:lnTo>
                    <a:pt x="8011" y="3989"/>
                  </a:lnTo>
                  <a:lnTo>
                    <a:pt x="7993" y="3998"/>
                  </a:lnTo>
                  <a:lnTo>
                    <a:pt x="7984" y="3998"/>
                  </a:lnTo>
                  <a:lnTo>
                    <a:pt x="7975" y="4007"/>
                  </a:lnTo>
                  <a:lnTo>
                    <a:pt x="7958" y="4007"/>
                  </a:lnTo>
                  <a:lnTo>
                    <a:pt x="7958" y="4016"/>
                  </a:lnTo>
                  <a:lnTo>
                    <a:pt x="7949" y="4024"/>
                  </a:lnTo>
                  <a:lnTo>
                    <a:pt x="7940" y="4024"/>
                  </a:lnTo>
                  <a:lnTo>
                    <a:pt x="7922" y="4033"/>
                  </a:lnTo>
                  <a:lnTo>
                    <a:pt x="7931" y="4024"/>
                  </a:lnTo>
                  <a:lnTo>
                    <a:pt x="7922" y="4024"/>
                  </a:lnTo>
                  <a:lnTo>
                    <a:pt x="7931" y="4016"/>
                  </a:lnTo>
                  <a:lnTo>
                    <a:pt x="7940" y="4007"/>
                  </a:lnTo>
                  <a:lnTo>
                    <a:pt x="7931" y="4007"/>
                  </a:lnTo>
                  <a:lnTo>
                    <a:pt x="7922" y="3998"/>
                  </a:lnTo>
                  <a:lnTo>
                    <a:pt x="7931" y="3998"/>
                  </a:lnTo>
                  <a:lnTo>
                    <a:pt x="7940" y="3998"/>
                  </a:lnTo>
                  <a:lnTo>
                    <a:pt x="7940" y="3989"/>
                  </a:lnTo>
                  <a:lnTo>
                    <a:pt x="7949" y="3980"/>
                  </a:lnTo>
                  <a:lnTo>
                    <a:pt x="7958" y="3980"/>
                  </a:lnTo>
                  <a:lnTo>
                    <a:pt x="7958" y="3972"/>
                  </a:lnTo>
                  <a:lnTo>
                    <a:pt x="7967" y="3972"/>
                  </a:lnTo>
                  <a:lnTo>
                    <a:pt x="7975" y="3980"/>
                  </a:lnTo>
                  <a:lnTo>
                    <a:pt x="7984" y="3972"/>
                  </a:lnTo>
                  <a:lnTo>
                    <a:pt x="8002" y="3963"/>
                  </a:lnTo>
                  <a:lnTo>
                    <a:pt x="8020" y="3963"/>
                  </a:lnTo>
                  <a:lnTo>
                    <a:pt x="8020" y="3954"/>
                  </a:lnTo>
                  <a:lnTo>
                    <a:pt x="8028" y="3954"/>
                  </a:lnTo>
                  <a:lnTo>
                    <a:pt x="8037" y="3954"/>
                  </a:lnTo>
                  <a:lnTo>
                    <a:pt x="8046" y="3954"/>
                  </a:lnTo>
                  <a:lnTo>
                    <a:pt x="8055" y="3945"/>
                  </a:lnTo>
                  <a:lnTo>
                    <a:pt x="8064" y="3936"/>
                  </a:lnTo>
                  <a:lnTo>
                    <a:pt x="8081" y="3927"/>
                  </a:lnTo>
                  <a:lnTo>
                    <a:pt x="8099" y="3919"/>
                  </a:lnTo>
                  <a:lnTo>
                    <a:pt x="8117" y="3919"/>
                  </a:lnTo>
                  <a:lnTo>
                    <a:pt x="8125" y="3919"/>
                  </a:lnTo>
                  <a:lnTo>
                    <a:pt x="8134" y="3910"/>
                  </a:lnTo>
                  <a:lnTo>
                    <a:pt x="8134" y="3901"/>
                  </a:lnTo>
                  <a:lnTo>
                    <a:pt x="8134" y="3892"/>
                  </a:lnTo>
                  <a:lnTo>
                    <a:pt x="8125" y="3892"/>
                  </a:lnTo>
                  <a:lnTo>
                    <a:pt x="8117" y="3892"/>
                  </a:lnTo>
                  <a:lnTo>
                    <a:pt x="8108" y="3883"/>
                  </a:lnTo>
                  <a:lnTo>
                    <a:pt x="8099" y="3883"/>
                  </a:lnTo>
                  <a:lnTo>
                    <a:pt x="8099" y="3874"/>
                  </a:lnTo>
                  <a:lnTo>
                    <a:pt x="8090" y="3866"/>
                  </a:lnTo>
                  <a:lnTo>
                    <a:pt x="8081" y="3874"/>
                  </a:lnTo>
                  <a:lnTo>
                    <a:pt x="8064" y="3883"/>
                  </a:lnTo>
                  <a:lnTo>
                    <a:pt x="8055" y="3883"/>
                  </a:lnTo>
                  <a:lnTo>
                    <a:pt x="8037" y="3874"/>
                  </a:lnTo>
                  <a:lnTo>
                    <a:pt x="8028" y="3866"/>
                  </a:lnTo>
                  <a:lnTo>
                    <a:pt x="8028" y="3848"/>
                  </a:lnTo>
                  <a:lnTo>
                    <a:pt x="8020" y="3839"/>
                  </a:lnTo>
                  <a:lnTo>
                    <a:pt x="8011" y="3839"/>
                  </a:lnTo>
                  <a:lnTo>
                    <a:pt x="8002" y="3839"/>
                  </a:lnTo>
                  <a:lnTo>
                    <a:pt x="7993" y="3839"/>
                  </a:lnTo>
                  <a:lnTo>
                    <a:pt x="7993" y="3848"/>
                  </a:lnTo>
                  <a:lnTo>
                    <a:pt x="7967" y="3866"/>
                  </a:lnTo>
                  <a:lnTo>
                    <a:pt x="7958" y="3874"/>
                  </a:lnTo>
                  <a:lnTo>
                    <a:pt x="7967" y="3866"/>
                  </a:lnTo>
                  <a:lnTo>
                    <a:pt x="7984" y="3848"/>
                  </a:lnTo>
                  <a:lnTo>
                    <a:pt x="7984" y="3839"/>
                  </a:lnTo>
                  <a:lnTo>
                    <a:pt x="7975" y="3839"/>
                  </a:lnTo>
                  <a:lnTo>
                    <a:pt x="7967" y="3839"/>
                  </a:lnTo>
                  <a:lnTo>
                    <a:pt x="7967" y="3830"/>
                  </a:lnTo>
                  <a:lnTo>
                    <a:pt x="7958" y="3830"/>
                  </a:lnTo>
                  <a:lnTo>
                    <a:pt x="7949" y="3830"/>
                  </a:lnTo>
                  <a:lnTo>
                    <a:pt x="7931" y="3830"/>
                  </a:lnTo>
                  <a:lnTo>
                    <a:pt x="7922" y="3839"/>
                  </a:lnTo>
                  <a:lnTo>
                    <a:pt x="7905" y="3848"/>
                  </a:lnTo>
                  <a:lnTo>
                    <a:pt x="7914" y="3839"/>
                  </a:lnTo>
                  <a:lnTo>
                    <a:pt x="7914" y="3830"/>
                  </a:lnTo>
                  <a:lnTo>
                    <a:pt x="7922" y="3822"/>
                  </a:lnTo>
                  <a:lnTo>
                    <a:pt x="7931" y="3813"/>
                  </a:lnTo>
                  <a:lnTo>
                    <a:pt x="7922" y="3804"/>
                  </a:lnTo>
                  <a:lnTo>
                    <a:pt x="7922" y="3795"/>
                  </a:lnTo>
                  <a:lnTo>
                    <a:pt x="7914" y="3795"/>
                  </a:lnTo>
                  <a:lnTo>
                    <a:pt x="7922" y="3786"/>
                  </a:lnTo>
                  <a:lnTo>
                    <a:pt x="7922" y="3777"/>
                  </a:lnTo>
                  <a:lnTo>
                    <a:pt x="7914" y="3777"/>
                  </a:lnTo>
                  <a:lnTo>
                    <a:pt x="7905" y="3786"/>
                  </a:lnTo>
                  <a:lnTo>
                    <a:pt x="7905" y="3777"/>
                  </a:lnTo>
                  <a:lnTo>
                    <a:pt x="7905" y="3769"/>
                  </a:lnTo>
                  <a:lnTo>
                    <a:pt x="7896" y="3769"/>
                  </a:lnTo>
                  <a:lnTo>
                    <a:pt x="7896" y="3760"/>
                  </a:lnTo>
                  <a:lnTo>
                    <a:pt x="7887" y="3760"/>
                  </a:lnTo>
                  <a:lnTo>
                    <a:pt x="7878" y="3760"/>
                  </a:lnTo>
                  <a:lnTo>
                    <a:pt x="7878" y="3769"/>
                  </a:lnTo>
                  <a:lnTo>
                    <a:pt x="7870" y="3769"/>
                  </a:lnTo>
                  <a:lnTo>
                    <a:pt x="7861" y="3769"/>
                  </a:lnTo>
                  <a:lnTo>
                    <a:pt x="7861" y="3760"/>
                  </a:lnTo>
                  <a:lnTo>
                    <a:pt x="7852" y="3760"/>
                  </a:lnTo>
                  <a:lnTo>
                    <a:pt x="7843" y="3751"/>
                  </a:lnTo>
                  <a:lnTo>
                    <a:pt x="7852" y="3751"/>
                  </a:lnTo>
                  <a:lnTo>
                    <a:pt x="7843" y="3733"/>
                  </a:lnTo>
                  <a:lnTo>
                    <a:pt x="7834" y="3733"/>
                  </a:lnTo>
                  <a:lnTo>
                    <a:pt x="7825" y="3733"/>
                  </a:lnTo>
                  <a:lnTo>
                    <a:pt x="7825" y="3724"/>
                  </a:lnTo>
                  <a:lnTo>
                    <a:pt x="7834" y="3724"/>
                  </a:lnTo>
                  <a:lnTo>
                    <a:pt x="7843" y="3716"/>
                  </a:lnTo>
                  <a:lnTo>
                    <a:pt x="7834" y="3716"/>
                  </a:lnTo>
                  <a:lnTo>
                    <a:pt x="7825" y="3716"/>
                  </a:lnTo>
                  <a:lnTo>
                    <a:pt x="7808" y="3707"/>
                  </a:lnTo>
                  <a:lnTo>
                    <a:pt x="7799" y="3707"/>
                  </a:lnTo>
                  <a:lnTo>
                    <a:pt x="7808" y="3698"/>
                  </a:lnTo>
                  <a:lnTo>
                    <a:pt x="7817" y="3698"/>
                  </a:lnTo>
                  <a:lnTo>
                    <a:pt x="7808" y="3698"/>
                  </a:lnTo>
                  <a:lnTo>
                    <a:pt x="7799" y="3689"/>
                  </a:lnTo>
                  <a:lnTo>
                    <a:pt x="7790" y="3689"/>
                  </a:lnTo>
                  <a:lnTo>
                    <a:pt x="7773" y="3680"/>
                  </a:lnTo>
                  <a:lnTo>
                    <a:pt x="7764" y="3671"/>
                  </a:lnTo>
                  <a:lnTo>
                    <a:pt x="7773" y="3671"/>
                  </a:lnTo>
                  <a:lnTo>
                    <a:pt x="7781" y="3671"/>
                  </a:lnTo>
                  <a:lnTo>
                    <a:pt x="7773" y="3671"/>
                  </a:lnTo>
                  <a:lnTo>
                    <a:pt x="7799" y="3680"/>
                  </a:lnTo>
                  <a:lnTo>
                    <a:pt x="7834" y="3689"/>
                  </a:lnTo>
                  <a:lnTo>
                    <a:pt x="7843" y="3680"/>
                  </a:lnTo>
                  <a:lnTo>
                    <a:pt x="7843" y="3671"/>
                  </a:lnTo>
                  <a:lnTo>
                    <a:pt x="7843" y="3663"/>
                  </a:lnTo>
                  <a:lnTo>
                    <a:pt x="7852" y="3663"/>
                  </a:lnTo>
                  <a:lnTo>
                    <a:pt x="7852" y="3645"/>
                  </a:lnTo>
                  <a:lnTo>
                    <a:pt x="7825" y="3627"/>
                  </a:lnTo>
                  <a:lnTo>
                    <a:pt x="7817" y="3627"/>
                  </a:lnTo>
                  <a:lnTo>
                    <a:pt x="7808" y="3627"/>
                  </a:lnTo>
                  <a:lnTo>
                    <a:pt x="7799" y="3627"/>
                  </a:lnTo>
                  <a:lnTo>
                    <a:pt x="7808" y="3619"/>
                  </a:lnTo>
                  <a:lnTo>
                    <a:pt x="7808" y="3610"/>
                  </a:lnTo>
                  <a:lnTo>
                    <a:pt x="7790" y="3601"/>
                  </a:lnTo>
                  <a:lnTo>
                    <a:pt x="7781" y="3601"/>
                  </a:lnTo>
                  <a:lnTo>
                    <a:pt x="7773" y="3601"/>
                  </a:lnTo>
                  <a:lnTo>
                    <a:pt x="7764" y="3601"/>
                  </a:lnTo>
                  <a:lnTo>
                    <a:pt x="7773" y="3601"/>
                  </a:lnTo>
                  <a:lnTo>
                    <a:pt x="7781" y="3592"/>
                  </a:lnTo>
                  <a:lnTo>
                    <a:pt x="7790" y="3592"/>
                  </a:lnTo>
                  <a:lnTo>
                    <a:pt x="7799" y="3583"/>
                  </a:lnTo>
                  <a:lnTo>
                    <a:pt x="7808" y="3583"/>
                  </a:lnTo>
                  <a:lnTo>
                    <a:pt x="7799" y="3566"/>
                  </a:lnTo>
                  <a:lnTo>
                    <a:pt x="7808" y="3566"/>
                  </a:lnTo>
                  <a:lnTo>
                    <a:pt x="7808" y="3557"/>
                  </a:lnTo>
                  <a:lnTo>
                    <a:pt x="7799" y="3557"/>
                  </a:lnTo>
                  <a:lnTo>
                    <a:pt x="7790" y="3548"/>
                  </a:lnTo>
                  <a:lnTo>
                    <a:pt x="7781" y="3548"/>
                  </a:lnTo>
                  <a:lnTo>
                    <a:pt x="7764" y="3530"/>
                  </a:lnTo>
                  <a:lnTo>
                    <a:pt x="7755" y="3530"/>
                  </a:lnTo>
                  <a:lnTo>
                    <a:pt x="7737" y="3530"/>
                  </a:lnTo>
                  <a:lnTo>
                    <a:pt x="7728" y="3530"/>
                  </a:lnTo>
                  <a:lnTo>
                    <a:pt x="7711" y="3548"/>
                  </a:lnTo>
                  <a:lnTo>
                    <a:pt x="7711" y="3539"/>
                  </a:lnTo>
                  <a:lnTo>
                    <a:pt x="7720" y="3539"/>
                  </a:lnTo>
                  <a:lnTo>
                    <a:pt x="7720" y="3530"/>
                  </a:lnTo>
                  <a:lnTo>
                    <a:pt x="7737" y="3521"/>
                  </a:lnTo>
                  <a:lnTo>
                    <a:pt x="7755" y="3513"/>
                  </a:lnTo>
                  <a:lnTo>
                    <a:pt x="7755" y="3495"/>
                  </a:lnTo>
                  <a:lnTo>
                    <a:pt x="7746" y="3495"/>
                  </a:lnTo>
                  <a:lnTo>
                    <a:pt x="7737" y="3495"/>
                  </a:lnTo>
                  <a:lnTo>
                    <a:pt x="7720" y="3504"/>
                  </a:lnTo>
                  <a:lnTo>
                    <a:pt x="7720" y="3495"/>
                  </a:lnTo>
                  <a:lnTo>
                    <a:pt x="7711" y="3495"/>
                  </a:lnTo>
                  <a:lnTo>
                    <a:pt x="7702" y="3495"/>
                  </a:lnTo>
                  <a:lnTo>
                    <a:pt x="7693" y="3513"/>
                  </a:lnTo>
                  <a:lnTo>
                    <a:pt x="7684" y="3513"/>
                  </a:lnTo>
                  <a:lnTo>
                    <a:pt x="7693" y="3504"/>
                  </a:lnTo>
                  <a:lnTo>
                    <a:pt x="7702" y="3495"/>
                  </a:lnTo>
                  <a:lnTo>
                    <a:pt x="7711" y="3486"/>
                  </a:lnTo>
                  <a:lnTo>
                    <a:pt x="7720" y="3486"/>
                  </a:lnTo>
                  <a:lnTo>
                    <a:pt x="7737" y="3468"/>
                  </a:lnTo>
                  <a:lnTo>
                    <a:pt x="7728" y="3460"/>
                  </a:lnTo>
                  <a:lnTo>
                    <a:pt x="7728" y="3451"/>
                  </a:lnTo>
                  <a:lnTo>
                    <a:pt x="7720" y="3451"/>
                  </a:lnTo>
                  <a:lnTo>
                    <a:pt x="7711" y="3451"/>
                  </a:lnTo>
                  <a:lnTo>
                    <a:pt x="7702" y="3451"/>
                  </a:lnTo>
                  <a:lnTo>
                    <a:pt x="7711" y="3451"/>
                  </a:lnTo>
                  <a:lnTo>
                    <a:pt x="7711" y="3442"/>
                  </a:lnTo>
                  <a:lnTo>
                    <a:pt x="7702" y="3433"/>
                  </a:lnTo>
                  <a:lnTo>
                    <a:pt x="7711" y="3433"/>
                  </a:lnTo>
                  <a:lnTo>
                    <a:pt x="7702" y="3424"/>
                  </a:lnTo>
                  <a:lnTo>
                    <a:pt x="7693" y="3424"/>
                  </a:lnTo>
                  <a:lnTo>
                    <a:pt x="7684" y="3433"/>
                  </a:lnTo>
                  <a:lnTo>
                    <a:pt x="7667" y="3433"/>
                  </a:lnTo>
                  <a:lnTo>
                    <a:pt x="7658" y="3433"/>
                  </a:lnTo>
                  <a:lnTo>
                    <a:pt x="7675" y="3433"/>
                  </a:lnTo>
                  <a:lnTo>
                    <a:pt x="7675" y="3424"/>
                  </a:lnTo>
                  <a:lnTo>
                    <a:pt x="7693" y="3424"/>
                  </a:lnTo>
                  <a:lnTo>
                    <a:pt x="7693" y="3416"/>
                  </a:lnTo>
                  <a:lnTo>
                    <a:pt x="7684" y="3398"/>
                  </a:lnTo>
                  <a:lnTo>
                    <a:pt x="7675" y="3398"/>
                  </a:lnTo>
                  <a:lnTo>
                    <a:pt x="7675" y="3407"/>
                  </a:lnTo>
                  <a:lnTo>
                    <a:pt x="7667" y="3407"/>
                  </a:lnTo>
                  <a:lnTo>
                    <a:pt x="7667" y="3398"/>
                  </a:lnTo>
                  <a:lnTo>
                    <a:pt x="7658" y="3398"/>
                  </a:lnTo>
                  <a:lnTo>
                    <a:pt x="7658" y="3389"/>
                  </a:lnTo>
                  <a:lnTo>
                    <a:pt x="7667" y="3389"/>
                  </a:lnTo>
                  <a:lnTo>
                    <a:pt x="7675" y="3380"/>
                  </a:lnTo>
                  <a:lnTo>
                    <a:pt x="7667" y="3371"/>
                  </a:lnTo>
                  <a:lnTo>
                    <a:pt x="7658" y="3363"/>
                  </a:lnTo>
                  <a:lnTo>
                    <a:pt x="7658" y="3354"/>
                  </a:lnTo>
                  <a:lnTo>
                    <a:pt x="7649" y="3345"/>
                  </a:lnTo>
                  <a:lnTo>
                    <a:pt x="7640" y="3354"/>
                  </a:lnTo>
                  <a:lnTo>
                    <a:pt x="7640" y="3345"/>
                  </a:lnTo>
                  <a:lnTo>
                    <a:pt x="7640" y="3327"/>
                  </a:lnTo>
                  <a:lnTo>
                    <a:pt x="7631" y="3318"/>
                  </a:lnTo>
                  <a:lnTo>
                    <a:pt x="7623" y="3318"/>
                  </a:lnTo>
                  <a:lnTo>
                    <a:pt x="7614" y="3327"/>
                  </a:lnTo>
                  <a:lnTo>
                    <a:pt x="7596" y="3327"/>
                  </a:lnTo>
                  <a:lnTo>
                    <a:pt x="7605" y="3327"/>
                  </a:lnTo>
                  <a:lnTo>
                    <a:pt x="7614" y="3318"/>
                  </a:lnTo>
                  <a:lnTo>
                    <a:pt x="7623" y="3310"/>
                  </a:lnTo>
                  <a:lnTo>
                    <a:pt x="7623" y="3301"/>
                  </a:lnTo>
                  <a:lnTo>
                    <a:pt x="7614" y="3301"/>
                  </a:lnTo>
                  <a:lnTo>
                    <a:pt x="7605" y="3292"/>
                  </a:lnTo>
                  <a:lnTo>
                    <a:pt x="7596" y="3292"/>
                  </a:lnTo>
                  <a:lnTo>
                    <a:pt x="7587" y="3292"/>
                  </a:lnTo>
                  <a:lnTo>
                    <a:pt x="7587" y="3301"/>
                  </a:lnTo>
                  <a:lnTo>
                    <a:pt x="7578" y="3318"/>
                  </a:lnTo>
                  <a:lnTo>
                    <a:pt x="7570" y="3327"/>
                  </a:lnTo>
                  <a:lnTo>
                    <a:pt x="7570" y="3336"/>
                  </a:lnTo>
                  <a:lnTo>
                    <a:pt x="7570" y="3345"/>
                  </a:lnTo>
                  <a:lnTo>
                    <a:pt x="7570" y="3354"/>
                  </a:lnTo>
                  <a:lnTo>
                    <a:pt x="7578" y="3354"/>
                  </a:lnTo>
                  <a:lnTo>
                    <a:pt x="7561" y="3345"/>
                  </a:lnTo>
                  <a:lnTo>
                    <a:pt x="7552" y="3345"/>
                  </a:lnTo>
                  <a:lnTo>
                    <a:pt x="7552" y="3354"/>
                  </a:lnTo>
                  <a:lnTo>
                    <a:pt x="7543" y="3363"/>
                  </a:lnTo>
                  <a:lnTo>
                    <a:pt x="7543" y="3371"/>
                  </a:lnTo>
                  <a:lnTo>
                    <a:pt x="7552" y="3380"/>
                  </a:lnTo>
                  <a:lnTo>
                    <a:pt x="7561" y="3380"/>
                  </a:lnTo>
                  <a:lnTo>
                    <a:pt x="7570" y="3389"/>
                  </a:lnTo>
                  <a:lnTo>
                    <a:pt x="7578" y="3389"/>
                  </a:lnTo>
                  <a:lnTo>
                    <a:pt x="7578" y="3398"/>
                  </a:lnTo>
                  <a:lnTo>
                    <a:pt x="7561" y="3389"/>
                  </a:lnTo>
                  <a:lnTo>
                    <a:pt x="7552" y="3389"/>
                  </a:lnTo>
                  <a:lnTo>
                    <a:pt x="7543" y="3389"/>
                  </a:lnTo>
                  <a:lnTo>
                    <a:pt x="7552" y="3398"/>
                  </a:lnTo>
                  <a:lnTo>
                    <a:pt x="7552" y="3407"/>
                  </a:lnTo>
                  <a:lnTo>
                    <a:pt x="7543" y="3398"/>
                  </a:lnTo>
                  <a:lnTo>
                    <a:pt x="7534" y="3407"/>
                  </a:lnTo>
                  <a:lnTo>
                    <a:pt x="7534" y="3416"/>
                  </a:lnTo>
                  <a:lnTo>
                    <a:pt x="7525" y="3416"/>
                  </a:lnTo>
                  <a:lnTo>
                    <a:pt x="7534" y="3424"/>
                  </a:lnTo>
                  <a:lnTo>
                    <a:pt x="7543" y="3424"/>
                  </a:lnTo>
                  <a:lnTo>
                    <a:pt x="7552" y="3433"/>
                  </a:lnTo>
                  <a:lnTo>
                    <a:pt x="7543" y="3433"/>
                  </a:lnTo>
                  <a:lnTo>
                    <a:pt x="7525" y="3433"/>
                  </a:lnTo>
                  <a:lnTo>
                    <a:pt x="7525" y="3442"/>
                  </a:lnTo>
                  <a:lnTo>
                    <a:pt x="7517" y="3442"/>
                  </a:lnTo>
                  <a:lnTo>
                    <a:pt x="7508" y="3442"/>
                  </a:lnTo>
                  <a:lnTo>
                    <a:pt x="7508" y="3451"/>
                  </a:lnTo>
                  <a:lnTo>
                    <a:pt x="7517" y="3451"/>
                  </a:lnTo>
                  <a:lnTo>
                    <a:pt x="7508" y="3451"/>
                  </a:lnTo>
                  <a:lnTo>
                    <a:pt x="7499" y="3460"/>
                  </a:lnTo>
                  <a:lnTo>
                    <a:pt x="7508" y="3468"/>
                  </a:lnTo>
                  <a:lnTo>
                    <a:pt x="7508" y="3477"/>
                  </a:lnTo>
                  <a:lnTo>
                    <a:pt x="7508" y="3486"/>
                  </a:lnTo>
                  <a:lnTo>
                    <a:pt x="7508" y="3495"/>
                  </a:lnTo>
                  <a:lnTo>
                    <a:pt x="7508" y="3486"/>
                  </a:lnTo>
                  <a:lnTo>
                    <a:pt x="7499" y="3477"/>
                  </a:lnTo>
                  <a:lnTo>
                    <a:pt x="7490" y="3468"/>
                  </a:lnTo>
                  <a:lnTo>
                    <a:pt x="7490" y="3460"/>
                  </a:lnTo>
                  <a:lnTo>
                    <a:pt x="7481" y="3460"/>
                  </a:lnTo>
                  <a:lnTo>
                    <a:pt x="7473" y="3468"/>
                  </a:lnTo>
                  <a:lnTo>
                    <a:pt x="7464" y="3477"/>
                  </a:lnTo>
                  <a:lnTo>
                    <a:pt x="7464" y="3486"/>
                  </a:lnTo>
                  <a:lnTo>
                    <a:pt x="7455" y="3495"/>
                  </a:lnTo>
                  <a:lnTo>
                    <a:pt x="7437" y="3495"/>
                  </a:lnTo>
                  <a:lnTo>
                    <a:pt x="7428" y="3495"/>
                  </a:lnTo>
                  <a:lnTo>
                    <a:pt x="7420" y="3504"/>
                  </a:lnTo>
                  <a:lnTo>
                    <a:pt x="7402" y="3513"/>
                  </a:lnTo>
                  <a:lnTo>
                    <a:pt x="7393" y="3521"/>
                  </a:lnTo>
                  <a:lnTo>
                    <a:pt x="7384" y="3530"/>
                  </a:lnTo>
                  <a:lnTo>
                    <a:pt x="7384" y="3539"/>
                  </a:lnTo>
                  <a:lnTo>
                    <a:pt x="7384" y="3548"/>
                  </a:lnTo>
                  <a:lnTo>
                    <a:pt x="7384" y="3530"/>
                  </a:lnTo>
                  <a:lnTo>
                    <a:pt x="7384" y="3521"/>
                  </a:lnTo>
                  <a:lnTo>
                    <a:pt x="7376" y="3504"/>
                  </a:lnTo>
                  <a:lnTo>
                    <a:pt x="7376" y="3513"/>
                  </a:lnTo>
                  <a:lnTo>
                    <a:pt x="7367" y="3513"/>
                  </a:lnTo>
                  <a:lnTo>
                    <a:pt x="7358" y="3530"/>
                  </a:lnTo>
                  <a:lnTo>
                    <a:pt x="7367" y="3513"/>
                  </a:lnTo>
                  <a:lnTo>
                    <a:pt x="7358" y="3495"/>
                  </a:lnTo>
                  <a:lnTo>
                    <a:pt x="7349" y="3495"/>
                  </a:lnTo>
                  <a:lnTo>
                    <a:pt x="7349" y="3504"/>
                  </a:lnTo>
                  <a:lnTo>
                    <a:pt x="7340" y="3521"/>
                  </a:lnTo>
                  <a:lnTo>
                    <a:pt x="7331" y="3539"/>
                  </a:lnTo>
                  <a:lnTo>
                    <a:pt x="7323" y="3539"/>
                  </a:lnTo>
                  <a:lnTo>
                    <a:pt x="7305" y="3548"/>
                  </a:lnTo>
                  <a:lnTo>
                    <a:pt x="7278" y="3557"/>
                  </a:lnTo>
                  <a:lnTo>
                    <a:pt x="7287" y="3557"/>
                  </a:lnTo>
                  <a:lnTo>
                    <a:pt x="7287" y="3548"/>
                  </a:lnTo>
                  <a:lnTo>
                    <a:pt x="7296" y="3548"/>
                  </a:lnTo>
                  <a:lnTo>
                    <a:pt x="7314" y="3539"/>
                  </a:lnTo>
                  <a:lnTo>
                    <a:pt x="7323" y="3539"/>
                  </a:lnTo>
                  <a:lnTo>
                    <a:pt x="7331" y="3530"/>
                  </a:lnTo>
                  <a:lnTo>
                    <a:pt x="7340" y="3521"/>
                  </a:lnTo>
                  <a:lnTo>
                    <a:pt x="7340" y="3504"/>
                  </a:lnTo>
                  <a:lnTo>
                    <a:pt x="7340" y="3495"/>
                  </a:lnTo>
                  <a:lnTo>
                    <a:pt x="7340" y="3486"/>
                  </a:lnTo>
                  <a:lnTo>
                    <a:pt x="7331" y="3477"/>
                  </a:lnTo>
                  <a:lnTo>
                    <a:pt x="7331" y="3468"/>
                  </a:lnTo>
                  <a:lnTo>
                    <a:pt x="7331" y="3460"/>
                  </a:lnTo>
                  <a:lnTo>
                    <a:pt x="7323" y="3460"/>
                  </a:lnTo>
                  <a:lnTo>
                    <a:pt x="7314" y="3451"/>
                  </a:lnTo>
                  <a:lnTo>
                    <a:pt x="7305" y="3451"/>
                  </a:lnTo>
                  <a:lnTo>
                    <a:pt x="7287" y="3451"/>
                  </a:lnTo>
                  <a:lnTo>
                    <a:pt x="7278" y="3451"/>
                  </a:lnTo>
                  <a:lnTo>
                    <a:pt x="7270" y="3451"/>
                  </a:lnTo>
                  <a:lnTo>
                    <a:pt x="7261" y="3451"/>
                  </a:lnTo>
                  <a:lnTo>
                    <a:pt x="7234" y="3468"/>
                  </a:lnTo>
                  <a:lnTo>
                    <a:pt x="7226" y="3468"/>
                  </a:lnTo>
                  <a:lnTo>
                    <a:pt x="7217" y="3468"/>
                  </a:lnTo>
                  <a:lnTo>
                    <a:pt x="7208" y="3468"/>
                  </a:lnTo>
                  <a:lnTo>
                    <a:pt x="7199" y="3460"/>
                  </a:lnTo>
                  <a:lnTo>
                    <a:pt x="7217" y="3460"/>
                  </a:lnTo>
                  <a:lnTo>
                    <a:pt x="7226" y="3451"/>
                  </a:lnTo>
                  <a:lnTo>
                    <a:pt x="7226" y="3442"/>
                  </a:lnTo>
                  <a:lnTo>
                    <a:pt x="7234" y="3442"/>
                  </a:lnTo>
                  <a:lnTo>
                    <a:pt x="7234" y="3451"/>
                  </a:lnTo>
                  <a:lnTo>
                    <a:pt x="7234" y="3460"/>
                  </a:lnTo>
                  <a:lnTo>
                    <a:pt x="7243" y="3460"/>
                  </a:lnTo>
                  <a:lnTo>
                    <a:pt x="7243" y="3451"/>
                  </a:lnTo>
                  <a:lnTo>
                    <a:pt x="7252" y="3442"/>
                  </a:lnTo>
                  <a:lnTo>
                    <a:pt x="7252" y="3433"/>
                  </a:lnTo>
                  <a:lnTo>
                    <a:pt x="7252" y="3424"/>
                  </a:lnTo>
                  <a:lnTo>
                    <a:pt x="7252" y="3416"/>
                  </a:lnTo>
                  <a:lnTo>
                    <a:pt x="7261" y="3407"/>
                  </a:lnTo>
                  <a:lnTo>
                    <a:pt x="7252" y="3398"/>
                  </a:lnTo>
                  <a:lnTo>
                    <a:pt x="7234" y="3398"/>
                  </a:lnTo>
                  <a:lnTo>
                    <a:pt x="7234" y="3380"/>
                  </a:lnTo>
                  <a:lnTo>
                    <a:pt x="7234" y="3371"/>
                  </a:lnTo>
                  <a:lnTo>
                    <a:pt x="7243" y="3371"/>
                  </a:lnTo>
                  <a:lnTo>
                    <a:pt x="7243" y="3363"/>
                  </a:lnTo>
                  <a:lnTo>
                    <a:pt x="7243" y="3345"/>
                  </a:lnTo>
                  <a:lnTo>
                    <a:pt x="7234" y="3345"/>
                  </a:lnTo>
                  <a:lnTo>
                    <a:pt x="7234" y="3336"/>
                  </a:lnTo>
                  <a:lnTo>
                    <a:pt x="7226" y="3336"/>
                  </a:lnTo>
                  <a:lnTo>
                    <a:pt x="7190" y="3327"/>
                  </a:lnTo>
                  <a:lnTo>
                    <a:pt x="7181" y="3327"/>
                  </a:lnTo>
                  <a:lnTo>
                    <a:pt x="7164" y="3327"/>
                  </a:lnTo>
                  <a:lnTo>
                    <a:pt x="7173" y="3327"/>
                  </a:lnTo>
                  <a:lnTo>
                    <a:pt x="7217" y="3327"/>
                  </a:lnTo>
                  <a:lnTo>
                    <a:pt x="7226" y="3327"/>
                  </a:lnTo>
                  <a:lnTo>
                    <a:pt x="7234" y="3318"/>
                  </a:lnTo>
                  <a:lnTo>
                    <a:pt x="7243" y="3318"/>
                  </a:lnTo>
                  <a:lnTo>
                    <a:pt x="7243" y="3310"/>
                  </a:lnTo>
                  <a:lnTo>
                    <a:pt x="7243" y="3301"/>
                  </a:lnTo>
                  <a:lnTo>
                    <a:pt x="7234" y="3292"/>
                  </a:lnTo>
                  <a:lnTo>
                    <a:pt x="7234" y="3283"/>
                  </a:lnTo>
                  <a:lnTo>
                    <a:pt x="7226" y="3283"/>
                  </a:lnTo>
                  <a:lnTo>
                    <a:pt x="7234" y="3274"/>
                  </a:lnTo>
                  <a:lnTo>
                    <a:pt x="7234" y="3265"/>
                  </a:lnTo>
                  <a:lnTo>
                    <a:pt x="7234" y="3248"/>
                  </a:lnTo>
                  <a:lnTo>
                    <a:pt x="7243" y="3248"/>
                  </a:lnTo>
                  <a:lnTo>
                    <a:pt x="7252" y="3239"/>
                  </a:lnTo>
                  <a:lnTo>
                    <a:pt x="7252" y="3230"/>
                  </a:lnTo>
                  <a:lnTo>
                    <a:pt x="7252" y="3221"/>
                  </a:lnTo>
                  <a:lnTo>
                    <a:pt x="7252" y="3213"/>
                  </a:lnTo>
                  <a:lnTo>
                    <a:pt x="7243" y="3213"/>
                  </a:lnTo>
                  <a:lnTo>
                    <a:pt x="7234" y="3213"/>
                  </a:lnTo>
                  <a:lnTo>
                    <a:pt x="7234" y="3221"/>
                  </a:lnTo>
                  <a:lnTo>
                    <a:pt x="7234" y="3230"/>
                  </a:lnTo>
                  <a:lnTo>
                    <a:pt x="7226" y="3230"/>
                  </a:lnTo>
                  <a:lnTo>
                    <a:pt x="7217" y="3230"/>
                  </a:lnTo>
                  <a:lnTo>
                    <a:pt x="7208" y="3230"/>
                  </a:lnTo>
                  <a:lnTo>
                    <a:pt x="7199" y="3221"/>
                  </a:lnTo>
                  <a:lnTo>
                    <a:pt x="7199" y="3213"/>
                  </a:lnTo>
                  <a:lnTo>
                    <a:pt x="7190" y="3213"/>
                  </a:lnTo>
                  <a:lnTo>
                    <a:pt x="7181" y="3213"/>
                  </a:lnTo>
                  <a:lnTo>
                    <a:pt x="7173" y="3213"/>
                  </a:lnTo>
                  <a:lnTo>
                    <a:pt x="7155" y="3213"/>
                  </a:lnTo>
                  <a:lnTo>
                    <a:pt x="7137" y="3204"/>
                  </a:lnTo>
                  <a:lnTo>
                    <a:pt x="7128" y="3204"/>
                  </a:lnTo>
                  <a:lnTo>
                    <a:pt x="7111" y="3204"/>
                  </a:lnTo>
                  <a:lnTo>
                    <a:pt x="7111" y="3195"/>
                  </a:lnTo>
                  <a:lnTo>
                    <a:pt x="7102" y="3195"/>
                  </a:lnTo>
                  <a:lnTo>
                    <a:pt x="7084" y="3177"/>
                  </a:lnTo>
                  <a:lnTo>
                    <a:pt x="7093" y="3168"/>
                  </a:lnTo>
                  <a:lnTo>
                    <a:pt x="7084" y="3168"/>
                  </a:lnTo>
                  <a:lnTo>
                    <a:pt x="7076" y="3168"/>
                  </a:lnTo>
                  <a:lnTo>
                    <a:pt x="7084" y="3160"/>
                  </a:lnTo>
                  <a:lnTo>
                    <a:pt x="7093" y="3151"/>
                  </a:lnTo>
                  <a:lnTo>
                    <a:pt x="7076" y="3142"/>
                  </a:lnTo>
                  <a:lnTo>
                    <a:pt x="7067" y="3142"/>
                  </a:lnTo>
                  <a:lnTo>
                    <a:pt x="7067" y="3151"/>
                  </a:lnTo>
                  <a:lnTo>
                    <a:pt x="7049" y="3151"/>
                  </a:lnTo>
                  <a:lnTo>
                    <a:pt x="7058" y="3142"/>
                  </a:lnTo>
                  <a:lnTo>
                    <a:pt x="7058" y="3133"/>
                  </a:lnTo>
                  <a:lnTo>
                    <a:pt x="7049" y="3124"/>
                  </a:lnTo>
                  <a:lnTo>
                    <a:pt x="7040" y="3115"/>
                  </a:lnTo>
                  <a:lnTo>
                    <a:pt x="7031" y="3115"/>
                  </a:lnTo>
                  <a:lnTo>
                    <a:pt x="7023" y="3115"/>
                  </a:lnTo>
                  <a:lnTo>
                    <a:pt x="7014" y="3115"/>
                  </a:lnTo>
                  <a:lnTo>
                    <a:pt x="7014" y="3124"/>
                  </a:lnTo>
                  <a:lnTo>
                    <a:pt x="7005" y="3124"/>
                  </a:lnTo>
                  <a:lnTo>
                    <a:pt x="7014" y="3107"/>
                  </a:lnTo>
                  <a:lnTo>
                    <a:pt x="7023" y="3098"/>
                  </a:lnTo>
                  <a:lnTo>
                    <a:pt x="7014" y="3098"/>
                  </a:lnTo>
                  <a:lnTo>
                    <a:pt x="7014" y="3089"/>
                  </a:lnTo>
                  <a:lnTo>
                    <a:pt x="6996" y="3089"/>
                  </a:lnTo>
                  <a:lnTo>
                    <a:pt x="6996" y="3080"/>
                  </a:lnTo>
                  <a:lnTo>
                    <a:pt x="6987" y="3080"/>
                  </a:lnTo>
                  <a:lnTo>
                    <a:pt x="6978" y="3071"/>
                  </a:lnTo>
                  <a:lnTo>
                    <a:pt x="6970" y="3071"/>
                  </a:lnTo>
                  <a:lnTo>
                    <a:pt x="6961" y="3063"/>
                  </a:lnTo>
                  <a:lnTo>
                    <a:pt x="6943" y="3054"/>
                  </a:lnTo>
                  <a:lnTo>
                    <a:pt x="6934" y="3054"/>
                  </a:lnTo>
                  <a:lnTo>
                    <a:pt x="6926" y="3054"/>
                  </a:lnTo>
                  <a:lnTo>
                    <a:pt x="6917" y="3063"/>
                  </a:lnTo>
                  <a:lnTo>
                    <a:pt x="6899" y="3071"/>
                  </a:lnTo>
                  <a:lnTo>
                    <a:pt x="6890" y="3071"/>
                  </a:lnTo>
                  <a:lnTo>
                    <a:pt x="6873" y="3080"/>
                  </a:lnTo>
                  <a:lnTo>
                    <a:pt x="6864" y="3080"/>
                  </a:lnTo>
                  <a:lnTo>
                    <a:pt x="6873" y="3089"/>
                  </a:lnTo>
                  <a:lnTo>
                    <a:pt x="6855" y="3080"/>
                  </a:lnTo>
                  <a:lnTo>
                    <a:pt x="6846" y="3071"/>
                  </a:lnTo>
                  <a:lnTo>
                    <a:pt x="6837" y="3071"/>
                  </a:lnTo>
                  <a:lnTo>
                    <a:pt x="6820" y="3071"/>
                  </a:lnTo>
                  <a:lnTo>
                    <a:pt x="6811" y="3071"/>
                  </a:lnTo>
                  <a:lnTo>
                    <a:pt x="6784" y="3080"/>
                  </a:lnTo>
                  <a:lnTo>
                    <a:pt x="6793" y="3080"/>
                  </a:lnTo>
                  <a:lnTo>
                    <a:pt x="6784" y="3071"/>
                  </a:lnTo>
                  <a:lnTo>
                    <a:pt x="6723" y="3054"/>
                  </a:lnTo>
                  <a:lnTo>
                    <a:pt x="6705" y="3045"/>
                  </a:lnTo>
                  <a:lnTo>
                    <a:pt x="6679" y="3045"/>
                  </a:lnTo>
                  <a:lnTo>
                    <a:pt x="6670" y="3036"/>
                  </a:lnTo>
                  <a:lnTo>
                    <a:pt x="6652" y="3045"/>
                  </a:lnTo>
                  <a:lnTo>
                    <a:pt x="6634" y="3054"/>
                  </a:lnTo>
                  <a:lnTo>
                    <a:pt x="6617" y="3063"/>
                  </a:lnTo>
                  <a:lnTo>
                    <a:pt x="6617" y="3071"/>
                  </a:lnTo>
                  <a:lnTo>
                    <a:pt x="6617" y="3080"/>
                  </a:lnTo>
                  <a:lnTo>
                    <a:pt x="6617" y="3089"/>
                  </a:lnTo>
                  <a:lnTo>
                    <a:pt x="6617" y="3115"/>
                  </a:lnTo>
                  <a:lnTo>
                    <a:pt x="6626" y="3124"/>
                  </a:lnTo>
                  <a:lnTo>
                    <a:pt x="6626" y="3133"/>
                  </a:lnTo>
                  <a:lnTo>
                    <a:pt x="6634" y="3133"/>
                  </a:lnTo>
                  <a:lnTo>
                    <a:pt x="6634" y="3142"/>
                  </a:lnTo>
                  <a:lnTo>
                    <a:pt x="6643" y="3151"/>
                  </a:lnTo>
                  <a:lnTo>
                    <a:pt x="6661" y="3151"/>
                  </a:lnTo>
                  <a:lnTo>
                    <a:pt x="6652" y="3160"/>
                  </a:lnTo>
                  <a:lnTo>
                    <a:pt x="6643" y="3168"/>
                  </a:lnTo>
                  <a:lnTo>
                    <a:pt x="6643" y="3177"/>
                  </a:lnTo>
                  <a:lnTo>
                    <a:pt x="6643" y="3195"/>
                  </a:lnTo>
                  <a:lnTo>
                    <a:pt x="6643" y="3204"/>
                  </a:lnTo>
                  <a:lnTo>
                    <a:pt x="6634" y="3204"/>
                  </a:lnTo>
                  <a:lnTo>
                    <a:pt x="6626" y="3213"/>
                  </a:lnTo>
                  <a:lnTo>
                    <a:pt x="6608" y="3230"/>
                  </a:lnTo>
                  <a:lnTo>
                    <a:pt x="6608" y="3239"/>
                  </a:lnTo>
                  <a:lnTo>
                    <a:pt x="6617" y="3239"/>
                  </a:lnTo>
                  <a:lnTo>
                    <a:pt x="6626" y="3239"/>
                  </a:lnTo>
                  <a:lnTo>
                    <a:pt x="6634" y="3239"/>
                  </a:lnTo>
                  <a:lnTo>
                    <a:pt x="6652" y="3239"/>
                  </a:lnTo>
                  <a:lnTo>
                    <a:pt x="6643" y="3248"/>
                  </a:lnTo>
                  <a:lnTo>
                    <a:pt x="6643" y="3257"/>
                  </a:lnTo>
                  <a:lnTo>
                    <a:pt x="6643" y="3265"/>
                  </a:lnTo>
                  <a:lnTo>
                    <a:pt x="6652" y="3265"/>
                  </a:lnTo>
                  <a:lnTo>
                    <a:pt x="6661" y="3265"/>
                  </a:lnTo>
                  <a:lnTo>
                    <a:pt x="6652" y="3274"/>
                  </a:lnTo>
                  <a:lnTo>
                    <a:pt x="6643" y="3283"/>
                  </a:lnTo>
                  <a:lnTo>
                    <a:pt x="6652" y="3292"/>
                  </a:lnTo>
                  <a:lnTo>
                    <a:pt x="6661" y="3310"/>
                  </a:lnTo>
                  <a:lnTo>
                    <a:pt x="6652" y="3318"/>
                  </a:lnTo>
                  <a:lnTo>
                    <a:pt x="6661" y="3318"/>
                  </a:lnTo>
                  <a:lnTo>
                    <a:pt x="6679" y="3327"/>
                  </a:lnTo>
                  <a:lnTo>
                    <a:pt x="6670" y="3336"/>
                  </a:lnTo>
                  <a:lnTo>
                    <a:pt x="6670" y="3345"/>
                  </a:lnTo>
                  <a:lnTo>
                    <a:pt x="6670" y="3354"/>
                  </a:lnTo>
                  <a:lnTo>
                    <a:pt x="6661" y="3363"/>
                  </a:lnTo>
                  <a:lnTo>
                    <a:pt x="6670" y="3371"/>
                  </a:lnTo>
                  <a:lnTo>
                    <a:pt x="6652" y="3363"/>
                  </a:lnTo>
                  <a:lnTo>
                    <a:pt x="6643" y="3363"/>
                  </a:lnTo>
                  <a:lnTo>
                    <a:pt x="6643" y="3371"/>
                  </a:lnTo>
                  <a:lnTo>
                    <a:pt x="6643" y="3380"/>
                  </a:lnTo>
                  <a:lnTo>
                    <a:pt x="6634" y="3389"/>
                  </a:lnTo>
                  <a:lnTo>
                    <a:pt x="6643" y="3389"/>
                  </a:lnTo>
                  <a:lnTo>
                    <a:pt x="6643" y="3398"/>
                  </a:lnTo>
                  <a:lnTo>
                    <a:pt x="6634" y="3407"/>
                  </a:lnTo>
                  <a:lnTo>
                    <a:pt x="6626" y="3407"/>
                  </a:lnTo>
                  <a:lnTo>
                    <a:pt x="6617" y="3416"/>
                  </a:lnTo>
                  <a:lnTo>
                    <a:pt x="6617" y="3424"/>
                  </a:lnTo>
                  <a:lnTo>
                    <a:pt x="6608" y="3433"/>
                  </a:lnTo>
                  <a:lnTo>
                    <a:pt x="6590" y="3451"/>
                  </a:lnTo>
                  <a:lnTo>
                    <a:pt x="6590" y="3460"/>
                  </a:lnTo>
                  <a:lnTo>
                    <a:pt x="6590" y="3468"/>
                  </a:lnTo>
                  <a:lnTo>
                    <a:pt x="6590" y="3477"/>
                  </a:lnTo>
                  <a:lnTo>
                    <a:pt x="6599" y="3486"/>
                  </a:lnTo>
                  <a:lnTo>
                    <a:pt x="6626" y="3504"/>
                  </a:lnTo>
                  <a:lnTo>
                    <a:pt x="6634" y="3504"/>
                  </a:lnTo>
                  <a:lnTo>
                    <a:pt x="6643" y="3513"/>
                  </a:lnTo>
                  <a:lnTo>
                    <a:pt x="6661" y="3521"/>
                  </a:lnTo>
                  <a:lnTo>
                    <a:pt x="6687" y="3539"/>
                  </a:lnTo>
                  <a:lnTo>
                    <a:pt x="6705" y="3574"/>
                  </a:lnTo>
                  <a:lnTo>
                    <a:pt x="6714" y="3583"/>
                  </a:lnTo>
                  <a:lnTo>
                    <a:pt x="6723" y="3610"/>
                  </a:lnTo>
                  <a:lnTo>
                    <a:pt x="6723" y="3619"/>
                  </a:lnTo>
                  <a:lnTo>
                    <a:pt x="6731" y="3627"/>
                  </a:lnTo>
                  <a:lnTo>
                    <a:pt x="6731" y="3663"/>
                  </a:lnTo>
                  <a:lnTo>
                    <a:pt x="6731" y="3680"/>
                  </a:lnTo>
                  <a:lnTo>
                    <a:pt x="6731" y="3707"/>
                  </a:lnTo>
                  <a:lnTo>
                    <a:pt x="6731" y="3716"/>
                  </a:lnTo>
                  <a:lnTo>
                    <a:pt x="6723" y="3733"/>
                  </a:lnTo>
                  <a:lnTo>
                    <a:pt x="6723" y="3742"/>
                  </a:lnTo>
                  <a:lnTo>
                    <a:pt x="6714" y="3751"/>
                  </a:lnTo>
                  <a:lnTo>
                    <a:pt x="6705" y="3769"/>
                  </a:lnTo>
                  <a:lnTo>
                    <a:pt x="6696" y="3777"/>
                  </a:lnTo>
                  <a:lnTo>
                    <a:pt x="6687" y="3786"/>
                  </a:lnTo>
                  <a:lnTo>
                    <a:pt x="6670" y="3804"/>
                  </a:lnTo>
                  <a:lnTo>
                    <a:pt x="6643" y="3822"/>
                  </a:lnTo>
                  <a:lnTo>
                    <a:pt x="6643" y="3830"/>
                  </a:lnTo>
                  <a:lnTo>
                    <a:pt x="6634" y="3830"/>
                  </a:lnTo>
                  <a:lnTo>
                    <a:pt x="6617" y="3839"/>
                  </a:lnTo>
                  <a:lnTo>
                    <a:pt x="6599" y="3848"/>
                  </a:lnTo>
                  <a:lnTo>
                    <a:pt x="6590" y="3857"/>
                  </a:lnTo>
                  <a:lnTo>
                    <a:pt x="6564" y="3866"/>
                  </a:lnTo>
                  <a:lnTo>
                    <a:pt x="6555" y="3866"/>
                  </a:lnTo>
                  <a:lnTo>
                    <a:pt x="6502" y="3892"/>
                  </a:lnTo>
                  <a:lnTo>
                    <a:pt x="6511" y="3901"/>
                  </a:lnTo>
                  <a:lnTo>
                    <a:pt x="6511" y="3910"/>
                  </a:lnTo>
                  <a:lnTo>
                    <a:pt x="6520" y="3919"/>
                  </a:lnTo>
                  <a:lnTo>
                    <a:pt x="6520" y="3927"/>
                  </a:lnTo>
                  <a:lnTo>
                    <a:pt x="6529" y="3936"/>
                  </a:lnTo>
                  <a:lnTo>
                    <a:pt x="6537" y="3936"/>
                  </a:lnTo>
                  <a:lnTo>
                    <a:pt x="6537" y="3945"/>
                  </a:lnTo>
                  <a:lnTo>
                    <a:pt x="6529" y="3945"/>
                  </a:lnTo>
                  <a:lnTo>
                    <a:pt x="6546" y="3954"/>
                  </a:lnTo>
                  <a:lnTo>
                    <a:pt x="6555" y="3963"/>
                  </a:lnTo>
                  <a:lnTo>
                    <a:pt x="6546" y="3963"/>
                  </a:lnTo>
                  <a:lnTo>
                    <a:pt x="6546" y="3972"/>
                  </a:lnTo>
                  <a:lnTo>
                    <a:pt x="6555" y="3972"/>
                  </a:lnTo>
                  <a:lnTo>
                    <a:pt x="6555" y="3980"/>
                  </a:lnTo>
                  <a:lnTo>
                    <a:pt x="6546" y="3972"/>
                  </a:lnTo>
                  <a:lnTo>
                    <a:pt x="6546" y="3980"/>
                  </a:lnTo>
                  <a:lnTo>
                    <a:pt x="6546" y="3989"/>
                  </a:lnTo>
                  <a:lnTo>
                    <a:pt x="6546" y="3998"/>
                  </a:lnTo>
                  <a:lnTo>
                    <a:pt x="6546" y="4007"/>
                  </a:lnTo>
                  <a:lnTo>
                    <a:pt x="6555" y="4016"/>
                  </a:lnTo>
                  <a:lnTo>
                    <a:pt x="6555" y="4042"/>
                  </a:lnTo>
                  <a:lnTo>
                    <a:pt x="6555" y="4051"/>
                  </a:lnTo>
                  <a:lnTo>
                    <a:pt x="6564" y="4060"/>
                  </a:lnTo>
                  <a:lnTo>
                    <a:pt x="6573" y="4069"/>
                  </a:lnTo>
                  <a:lnTo>
                    <a:pt x="6573" y="4077"/>
                  </a:lnTo>
                  <a:lnTo>
                    <a:pt x="6564" y="4086"/>
                  </a:lnTo>
                  <a:lnTo>
                    <a:pt x="6573" y="4095"/>
                  </a:lnTo>
                  <a:lnTo>
                    <a:pt x="6581" y="4104"/>
                  </a:lnTo>
                  <a:lnTo>
                    <a:pt x="6581" y="4113"/>
                  </a:lnTo>
                  <a:lnTo>
                    <a:pt x="6581" y="4122"/>
                  </a:lnTo>
                  <a:lnTo>
                    <a:pt x="6581" y="4130"/>
                  </a:lnTo>
                  <a:lnTo>
                    <a:pt x="6590" y="4130"/>
                  </a:lnTo>
                  <a:lnTo>
                    <a:pt x="6581" y="4139"/>
                  </a:lnTo>
                  <a:lnTo>
                    <a:pt x="6581" y="4148"/>
                  </a:lnTo>
                  <a:lnTo>
                    <a:pt x="6573" y="4157"/>
                  </a:lnTo>
                  <a:lnTo>
                    <a:pt x="6564" y="4166"/>
                  </a:lnTo>
                  <a:lnTo>
                    <a:pt x="6555" y="4175"/>
                  </a:lnTo>
                  <a:lnTo>
                    <a:pt x="6555" y="4183"/>
                  </a:lnTo>
                  <a:lnTo>
                    <a:pt x="6564" y="4201"/>
                  </a:lnTo>
                  <a:lnTo>
                    <a:pt x="6573" y="4201"/>
                  </a:lnTo>
                  <a:lnTo>
                    <a:pt x="6573" y="4210"/>
                  </a:lnTo>
                  <a:lnTo>
                    <a:pt x="6564" y="4210"/>
                  </a:lnTo>
                  <a:lnTo>
                    <a:pt x="6564" y="4219"/>
                  </a:lnTo>
                  <a:lnTo>
                    <a:pt x="6555" y="4227"/>
                  </a:lnTo>
                  <a:lnTo>
                    <a:pt x="6555" y="4236"/>
                  </a:lnTo>
                  <a:lnTo>
                    <a:pt x="6555" y="4227"/>
                  </a:lnTo>
                  <a:lnTo>
                    <a:pt x="6555" y="4219"/>
                  </a:lnTo>
                  <a:lnTo>
                    <a:pt x="6546" y="4219"/>
                  </a:lnTo>
                  <a:lnTo>
                    <a:pt x="6546" y="4210"/>
                  </a:lnTo>
                  <a:lnTo>
                    <a:pt x="6537" y="4201"/>
                  </a:lnTo>
                  <a:lnTo>
                    <a:pt x="6529" y="4201"/>
                  </a:lnTo>
                  <a:lnTo>
                    <a:pt x="6529" y="4192"/>
                  </a:lnTo>
                  <a:lnTo>
                    <a:pt x="6511" y="4201"/>
                  </a:lnTo>
                  <a:lnTo>
                    <a:pt x="6511" y="4210"/>
                  </a:lnTo>
                  <a:lnTo>
                    <a:pt x="6502" y="4219"/>
                  </a:lnTo>
                  <a:lnTo>
                    <a:pt x="6493" y="4227"/>
                  </a:lnTo>
                  <a:lnTo>
                    <a:pt x="6493" y="4236"/>
                  </a:lnTo>
                  <a:lnTo>
                    <a:pt x="6493" y="4245"/>
                  </a:lnTo>
                  <a:lnTo>
                    <a:pt x="6502" y="4245"/>
                  </a:lnTo>
                  <a:lnTo>
                    <a:pt x="6502" y="4254"/>
                  </a:lnTo>
                  <a:lnTo>
                    <a:pt x="6520" y="4263"/>
                  </a:lnTo>
                  <a:lnTo>
                    <a:pt x="6520" y="4272"/>
                  </a:lnTo>
                  <a:lnTo>
                    <a:pt x="6529" y="4280"/>
                  </a:lnTo>
                  <a:lnTo>
                    <a:pt x="6520" y="4272"/>
                  </a:lnTo>
                  <a:lnTo>
                    <a:pt x="6502" y="4254"/>
                  </a:lnTo>
                  <a:lnTo>
                    <a:pt x="6493" y="4236"/>
                  </a:lnTo>
                  <a:lnTo>
                    <a:pt x="6476" y="4236"/>
                  </a:lnTo>
                  <a:lnTo>
                    <a:pt x="6467" y="4227"/>
                  </a:lnTo>
                  <a:lnTo>
                    <a:pt x="6458" y="4227"/>
                  </a:lnTo>
                  <a:lnTo>
                    <a:pt x="6449" y="4227"/>
                  </a:lnTo>
                  <a:lnTo>
                    <a:pt x="6440" y="4227"/>
                  </a:lnTo>
                  <a:lnTo>
                    <a:pt x="6432" y="4236"/>
                  </a:lnTo>
                  <a:lnTo>
                    <a:pt x="6423" y="4245"/>
                  </a:lnTo>
                  <a:lnTo>
                    <a:pt x="6414" y="4245"/>
                  </a:lnTo>
                  <a:lnTo>
                    <a:pt x="6432" y="4227"/>
                  </a:lnTo>
                  <a:lnTo>
                    <a:pt x="6440" y="4219"/>
                  </a:lnTo>
                  <a:lnTo>
                    <a:pt x="6440" y="4210"/>
                  </a:lnTo>
                  <a:lnTo>
                    <a:pt x="6440" y="4201"/>
                  </a:lnTo>
                  <a:lnTo>
                    <a:pt x="6432" y="4192"/>
                  </a:lnTo>
                  <a:lnTo>
                    <a:pt x="6432" y="4183"/>
                  </a:lnTo>
                  <a:lnTo>
                    <a:pt x="6423" y="4175"/>
                  </a:lnTo>
                  <a:lnTo>
                    <a:pt x="6405" y="4157"/>
                  </a:lnTo>
                  <a:lnTo>
                    <a:pt x="6396" y="4157"/>
                  </a:lnTo>
                  <a:lnTo>
                    <a:pt x="6379" y="4148"/>
                  </a:lnTo>
                  <a:lnTo>
                    <a:pt x="6370" y="4139"/>
                  </a:lnTo>
                  <a:lnTo>
                    <a:pt x="6361" y="4139"/>
                  </a:lnTo>
                  <a:lnTo>
                    <a:pt x="6352" y="4130"/>
                  </a:lnTo>
                  <a:lnTo>
                    <a:pt x="6343" y="4139"/>
                  </a:lnTo>
                  <a:lnTo>
                    <a:pt x="6343" y="4130"/>
                  </a:lnTo>
                  <a:lnTo>
                    <a:pt x="6352" y="4130"/>
                  </a:lnTo>
                  <a:lnTo>
                    <a:pt x="6361" y="4130"/>
                  </a:lnTo>
                  <a:lnTo>
                    <a:pt x="6361" y="4122"/>
                  </a:lnTo>
                  <a:lnTo>
                    <a:pt x="6361" y="4113"/>
                  </a:lnTo>
                  <a:lnTo>
                    <a:pt x="6352" y="4104"/>
                  </a:lnTo>
                  <a:lnTo>
                    <a:pt x="6343" y="4095"/>
                  </a:lnTo>
                  <a:lnTo>
                    <a:pt x="6326" y="4077"/>
                  </a:lnTo>
                  <a:lnTo>
                    <a:pt x="6326" y="4069"/>
                  </a:lnTo>
                  <a:lnTo>
                    <a:pt x="6317" y="4069"/>
                  </a:lnTo>
                  <a:lnTo>
                    <a:pt x="6308" y="4060"/>
                  </a:lnTo>
                  <a:lnTo>
                    <a:pt x="6308" y="4051"/>
                  </a:lnTo>
                  <a:lnTo>
                    <a:pt x="6308" y="4042"/>
                  </a:lnTo>
                  <a:lnTo>
                    <a:pt x="6317" y="4042"/>
                  </a:lnTo>
                  <a:lnTo>
                    <a:pt x="6317" y="4033"/>
                  </a:lnTo>
                  <a:lnTo>
                    <a:pt x="6317" y="4024"/>
                  </a:lnTo>
                  <a:lnTo>
                    <a:pt x="6317" y="4007"/>
                  </a:lnTo>
                  <a:lnTo>
                    <a:pt x="6317" y="3998"/>
                  </a:lnTo>
                  <a:lnTo>
                    <a:pt x="6317" y="3989"/>
                  </a:lnTo>
                  <a:lnTo>
                    <a:pt x="6317" y="3980"/>
                  </a:lnTo>
                  <a:lnTo>
                    <a:pt x="6317" y="3972"/>
                  </a:lnTo>
                  <a:lnTo>
                    <a:pt x="6308" y="3954"/>
                  </a:lnTo>
                  <a:lnTo>
                    <a:pt x="6299" y="3945"/>
                  </a:lnTo>
                  <a:lnTo>
                    <a:pt x="6299" y="3936"/>
                  </a:lnTo>
                  <a:lnTo>
                    <a:pt x="6299" y="3927"/>
                  </a:lnTo>
                  <a:lnTo>
                    <a:pt x="6299" y="3910"/>
                  </a:lnTo>
                  <a:lnTo>
                    <a:pt x="6317" y="3874"/>
                  </a:lnTo>
                  <a:lnTo>
                    <a:pt x="6308" y="3857"/>
                  </a:lnTo>
                  <a:lnTo>
                    <a:pt x="6299" y="3848"/>
                  </a:lnTo>
                  <a:lnTo>
                    <a:pt x="6290" y="3839"/>
                  </a:lnTo>
                  <a:lnTo>
                    <a:pt x="6282" y="3839"/>
                  </a:lnTo>
                  <a:lnTo>
                    <a:pt x="6273" y="3839"/>
                  </a:lnTo>
                  <a:lnTo>
                    <a:pt x="6264" y="3839"/>
                  </a:lnTo>
                  <a:lnTo>
                    <a:pt x="6255" y="3830"/>
                  </a:lnTo>
                  <a:lnTo>
                    <a:pt x="6237" y="3839"/>
                  </a:lnTo>
                  <a:lnTo>
                    <a:pt x="6211" y="3830"/>
                  </a:lnTo>
                  <a:lnTo>
                    <a:pt x="6193" y="3822"/>
                  </a:lnTo>
                  <a:lnTo>
                    <a:pt x="6184" y="3822"/>
                  </a:lnTo>
                  <a:lnTo>
                    <a:pt x="6184" y="3830"/>
                  </a:lnTo>
                  <a:lnTo>
                    <a:pt x="6176" y="3830"/>
                  </a:lnTo>
                  <a:lnTo>
                    <a:pt x="6167" y="3830"/>
                  </a:lnTo>
                  <a:lnTo>
                    <a:pt x="6158" y="3830"/>
                  </a:lnTo>
                  <a:lnTo>
                    <a:pt x="6149" y="3830"/>
                  </a:lnTo>
                  <a:lnTo>
                    <a:pt x="6132" y="3830"/>
                  </a:lnTo>
                  <a:lnTo>
                    <a:pt x="6114" y="3830"/>
                  </a:lnTo>
                  <a:lnTo>
                    <a:pt x="6105" y="3830"/>
                  </a:lnTo>
                  <a:lnTo>
                    <a:pt x="6096" y="3830"/>
                  </a:lnTo>
                  <a:lnTo>
                    <a:pt x="6079" y="3848"/>
                  </a:lnTo>
                  <a:lnTo>
                    <a:pt x="6096" y="3830"/>
                  </a:lnTo>
                  <a:lnTo>
                    <a:pt x="6096" y="3822"/>
                  </a:lnTo>
                  <a:lnTo>
                    <a:pt x="6087" y="3822"/>
                  </a:lnTo>
                  <a:lnTo>
                    <a:pt x="6079" y="3813"/>
                  </a:lnTo>
                  <a:lnTo>
                    <a:pt x="6070" y="3804"/>
                  </a:lnTo>
                  <a:lnTo>
                    <a:pt x="6061" y="3795"/>
                  </a:lnTo>
                  <a:lnTo>
                    <a:pt x="6052" y="3786"/>
                  </a:lnTo>
                  <a:lnTo>
                    <a:pt x="6035" y="3786"/>
                  </a:lnTo>
                  <a:lnTo>
                    <a:pt x="6026" y="3786"/>
                  </a:lnTo>
                  <a:lnTo>
                    <a:pt x="6008" y="3777"/>
                  </a:lnTo>
                  <a:lnTo>
                    <a:pt x="5973" y="3760"/>
                  </a:lnTo>
                  <a:lnTo>
                    <a:pt x="5937" y="3760"/>
                  </a:lnTo>
                  <a:lnTo>
                    <a:pt x="5929" y="3751"/>
                  </a:lnTo>
                  <a:lnTo>
                    <a:pt x="5920" y="3751"/>
                  </a:lnTo>
                  <a:lnTo>
                    <a:pt x="5902" y="3716"/>
                  </a:lnTo>
                  <a:lnTo>
                    <a:pt x="5885" y="3707"/>
                  </a:lnTo>
                  <a:lnTo>
                    <a:pt x="5867" y="3698"/>
                  </a:lnTo>
                  <a:lnTo>
                    <a:pt x="5858" y="3689"/>
                  </a:lnTo>
                  <a:lnTo>
                    <a:pt x="5840" y="3680"/>
                  </a:lnTo>
                  <a:lnTo>
                    <a:pt x="5832" y="3671"/>
                  </a:lnTo>
                  <a:lnTo>
                    <a:pt x="5823" y="3663"/>
                  </a:lnTo>
                  <a:lnTo>
                    <a:pt x="5796" y="3663"/>
                  </a:lnTo>
                  <a:lnTo>
                    <a:pt x="5787" y="3663"/>
                  </a:lnTo>
                  <a:lnTo>
                    <a:pt x="5761" y="3654"/>
                  </a:lnTo>
                  <a:lnTo>
                    <a:pt x="5735" y="3645"/>
                  </a:lnTo>
                  <a:lnTo>
                    <a:pt x="5717" y="3636"/>
                  </a:lnTo>
                  <a:lnTo>
                    <a:pt x="5699" y="3627"/>
                  </a:lnTo>
                  <a:lnTo>
                    <a:pt x="5673" y="3627"/>
                  </a:lnTo>
                  <a:lnTo>
                    <a:pt x="5664" y="3627"/>
                  </a:lnTo>
                  <a:lnTo>
                    <a:pt x="5593" y="3645"/>
                  </a:lnTo>
                  <a:lnTo>
                    <a:pt x="5576" y="3645"/>
                  </a:lnTo>
                  <a:lnTo>
                    <a:pt x="5567" y="3654"/>
                  </a:lnTo>
                  <a:lnTo>
                    <a:pt x="5576" y="3645"/>
                  </a:lnTo>
                  <a:lnTo>
                    <a:pt x="5558" y="3645"/>
                  </a:lnTo>
                  <a:lnTo>
                    <a:pt x="5549" y="3654"/>
                  </a:lnTo>
                  <a:lnTo>
                    <a:pt x="5540" y="3654"/>
                  </a:lnTo>
                  <a:lnTo>
                    <a:pt x="5540" y="3663"/>
                  </a:lnTo>
                  <a:lnTo>
                    <a:pt x="5532" y="3654"/>
                  </a:lnTo>
                  <a:lnTo>
                    <a:pt x="5540" y="3654"/>
                  </a:lnTo>
                  <a:lnTo>
                    <a:pt x="5549" y="3654"/>
                  </a:lnTo>
                  <a:lnTo>
                    <a:pt x="5549" y="3645"/>
                  </a:lnTo>
                  <a:lnTo>
                    <a:pt x="5558" y="3636"/>
                  </a:lnTo>
                  <a:lnTo>
                    <a:pt x="5558" y="3627"/>
                  </a:lnTo>
                  <a:lnTo>
                    <a:pt x="5567" y="3619"/>
                  </a:lnTo>
                  <a:lnTo>
                    <a:pt x="5558" y="3610"/>
                  </a:lnTo>
                  <a:lnTo>
                    <a:pt x="5558" y="3601"/>
                  </a:lnTo>
                  <a:lnTo>
                    <a:pt x="5540" y="3566"/>
                  </a:lnTo>
                  <a:lnTo>
                    <a:pt x="5540" y="3557"/>
                  </a:lnTo>
                  <a:lnTo>
                    <a:pt x="5532" y="3539"/>
                  </a:lnTo>
                  <a:lnTo>
                    <a:pt x="5523" y="3521"/>
                  </a:lnTo>
                  <a:lnTo>
                    <a:pt x="5514" y="3495"/>
                  </a:lnTo>
                  <a:lnTo>
                    <a:pt x="5514" y="3486"/>
                  </a:lnTo>
                  <a:lnTo>
                    <a:pt x="5514" y="3468"/>
                  </a:lnTo>
                  <a:lnTo>
                    <a:pt x="5505" y="3468"/>
                  </a:lnTo>
                  <a:lnTo>
                    <a:pt x="5505" y="3460"/>
                  </a:lnTo>
                  <a:lnTo>
                    <a:pt x="5496" y="3468"/>
                  </a:lnTo>
                  <a:lnTo>
                    <a:pt x="5488" y="3468"/>
                  </a:lnTo>
                  <a:lnTo>
                    <a:pt x="5461" y="3460"/>
                  </a:lnTo>
                  <a:lnTo>
                    <a:pt x="5443" y="3460"/>
                  </a:lnTo>
                  <a:lnTo>
                    <a:pt x="5435" y="3468"/>
                  </a:lnTo>
                  <a:lnTo>
                    <a:pt x="5435" y="3477"/>
                  </a:lnTo>
                  <a:lnTo>
                    <a:pt x="5426" y="3504"/>
                  </a:lnTo>
                  <a:lnTo>
                    <a:pt x="5426" y="3513"/>
                  </a:lnTo>
                  <a:lnTo>
                    <a:pt x="5426" y="3504"/>
                  </a:lnTo>
                  <a:lnTo>
                    <a:pt x="5426" y="3477"/>
                  </a:lnTo>
                  <a:lnTo>
                    <a:pt x="5426" y="3468"/>
                  </a:lnTo>
                  <a:lnTo>
                    <a:pt x="5417" y="3468"/>
                  </a:lnTo>
                  <a:lnTo>
                    <a:pt x="5408" y="3451"/>
                  </a:lnTo>
                  <a:lnTo>
                    <a:pt x="5399" y="3451"/>
                  </a:lnTo>
                  <a:lnTo>
                    <a:pt x="5390" y="3442"/>
                  </a:lnTo>
                  <a:lnTo>
                    <a:pt x="5390" y="3433"/>
                  </a:lnTo>
                  <a:lnTo>
                    <a:pt x="5382" y="3433"/>
                  </a:lnTo>
                  <a:lnTo>
                    <a:pt x="5382" y="3424"/>
                  </a:lnTo>
                  <a:lnTo>
                    <a:pt x="5390" y="3424"/>
                  </a:lnTo>
                  <a:lnTo>
                    <a:pt x="5390" y="3407"/>
                  </a:lnTo>
                  <a:lnTo>
                    <a:pt x="5390" y="3389"/>
                  </a:lnTo>
                  <a:lnTo>
                    <a:pt x="5390" y="3336"/>
                  </a:lnTo>
                  <a:lnTo>
                    <a:pt x="5390" y="3318"/>
                  </a:lnTo>
                  <a:lnTo>
                    <a:pt x="5399" y="3292"/>
                  </a:lnTo>
                  <a:lnTo>
                    <a:pt x="5399" y="3283"/>
                  </a:lnTo>
                  <a:lnTo>
                    <a:pt x="5399" y="3274"/>
                  </a:lnTo>
                  <a:lnTo>
                    <a:pt x="5390" y="3274"/>
                  </a:lnTo>
                  <a:lnTo>
                    <a:pt x="5399" y="3265"/>
                  </a:lnTo>
                  <a:lnTo>
                    <a:pt x="5408" y="3265"/>
                  </a:lnTo>
                  <a:lnTo>
                    <a:pt x="5408" y="3257"/>
                  </a:lnTo>
                  <a:lnTo>
                    <a:pt x="5417" y="3248"/>
                  </a:lnTo>
                  <a:lnTo>
                    <a:pt x="5426" y="3230"/>
                  </a:lnTo>
                  <a:lnTo>
                    <a:pt x="5435" y="3213"/>
                  </a:lnTo>
                  <a:lnTo>
                    <a:pt x="5443" y="3204"/>
                  </a:lnTo>
                  <a:lnTo>
                    <a:pt x="5443" y="3195"/>
                  </a:lnTo>
                  <a:lnTo>
                    <a:pt x="5443" y="3186"/>
                  </a:lnTo>
                  <a:lnTo>
                    <a:pt x="5443" y="3177"/>
                  </a:lnTo>
                  <a:lnTo>
                    <a:pt x="5452" y="3186"/>
                  </a:lnTo>
                  <a:lnTo>
                    <a:pt x="5452" y="3177"/>
                  </a:lnTo>
                  <a:lnTo>
                    <a:pt x="5452" y="3168"/>
                  </a:lnTo>
                  <a:lnTo>
                    <a:pt x="5452" y="3160"/>
                  </a:lnTo>
                  <a:lnTo>
                    <a:pt x="5470" y="3151"/>
                  </a:lnTo>
                  <a:lnTo>
                    <a:pt x="5488" y="3142"/>
                  </a:lnTo>
                  <a:lnTo>
                    <a:pt x="5496" y="3133"/>
                  </a:lnTo>
                  <a:lnTo>
                    <a:pt x="5488" y="3124"/>
                  </a:lnTo>
                  <a:lnTo>
                    <a:pt x="5479" y="3115"/>
                  </a:lnTo>
                  <a:lnTo>
                    <a:pt x="5479" y="3107"/>
                  </a:lnTo>
                  <a:lnTo>
                    <a:pt x="5496" y="3115"/>
                  </a:lnTo>
                  <a:lnTo>
                    <a:pt x="5505" y="3107"/>
                  </a:lnTo>
                  <a:lnTo>
                    <a:pt x="5496" y="3107"/>
                  </a:lnTo>
                  <a:lnTo>
                    <a:pt x="5496" y="3098"/>
                  </a:lnTo>
                  <a:lnTo>
                    <a:pt x="5505" y="3098"/>
                  </a:lnTo>
                  <a:lnTo>
                    <a:pt x="5514" y="3098"/>
                  </a:lnTo>
                  <a:lnTo>
                    <a:pt x="5523" y="3098"/>
                  </a:lnTo>
                  <a:lnTo>
                    <a:pt x="5523" y="3089"/>
                  </a:lnTo>
                  <a:lnTo>
                    <a:pt x="5514" y="3089"/>
                  </a:lnTo>
                  <a:lnTo>
                    <a:pt x="5532" y="3080"/>
                  </a:lnTo>
                  <a:lnTo>
                    <a:pt x="5523" y="3071"/>
                  </a:lnTo>
                  <a:lnTo>
                    <a:pt x="5505" y="3063"/>
                  </a:lnTo>
                  <a:lnTo>
                    <a:pt x="5514" y="3063"/>
                  </a:lnTo>
                  <a:lnTo>
                    <a:pt x="5532" y="3071"/>
                  </a:lnTo>
                  <a:lnTo>
                    <a:pt x="5540" y="3071"/>
                  </a:lnTo>
                  <a:lnTo>
                    <a:pt x="5549" y="3080"/>
                  </a:lnTo>
                  <a:lnTo>
                    <a:pt x="5558" y="3089"/>
                  </a:lnTo>
                  <a:lnTo>
                    <a:pt x="5558" y="3080"/>
                  </a:lnTo>
                  <a:lnTo>
                    <a:pt x="5549" y="3071"/>
                  </a:lnTo>
                  <a:lnTo>
                    <a:pt x="5540" y="3071"/>
                  </a:lnTo>
                  <a:lnTo>
                    <a:pt x="5540" y="3063"/>
                  </a:lnTo>
                  <a:lnTo>
                    <a:pt x="5540" y="3054"/>
                  </a:lnTo>
                  <a:lnTo>
                    <a:pt x="5549" y="3054"/>
                  </a:lnTo>
                  <a:lnTo>
                    <a:pt x="5549" y="3045"/>
                  </a:lnTo>
                  <a:lnTo>
                    <a:pt x="5558" y="3045"/>
                  </a:lnTo>
                  <a:lnTo>
                    <a:pt x="5558" y="3036"/>
                  </a:lnTo>
                  <a:lnTo>
                    <a:pt x="5567" y="3045"/>
                  </a:lnTo>
                  <a:lnTo>
                    <a:pt x="5567" y="3036"/>
                  </a:lnTo>
                  <a:lnTo>
                    <a:pt x="5576" y="3036"/>
                  </a:lnTo>
                  <a:lnTo>
                    <a:pt x="5585" y="3045"/>
                  </a:lnTo>
                  <a:lnTo>
                    <a:pt x="5593" y="3045"/>
                  </a:lnTo>
                  <a:lnTo>
                    <a:pt x="5602" y="3036"/>
                  </a:lnTo>
                  <a:lnTo>
                    <a:pt x="5602" y="3027"/>
                  </a:lnTo>
                  <a:lnTo>
                    <a:pt x="5585" y="3027"/>
                  </a:lnTo>
                  <a:lnTo>
                    <a:pt x="5576" y="3027"/>
                  </a:lnTo>
                  <a:lnTo>
                    <a:pt x="5567" y="3018"/>
                  </a:lnTo>
                  <a:lnTo>
                    <a:pt x="5567" y="3010"/>
                  </a:lnTo>
                  <a:lnTo>
                    <a:pt x="5585" y="3010"/>
                  </a:lnTo>
                  <a:lnTo>
                    <a:pt x="5593" y="3010"/>
                  </a:lnTo>
                  <a:lnTo>
                    <a:pt x="5602" y="3010"/>
                  </a:lnTo>
                  <a:lnTo>
                    <a:pt x="5637" y="3010"/>
                  </a:lnTo>
                  <a:lnTo>
                    <a:pt x="5646" y="3010"/>
                  </a:lnTo>
                  <a:lnTo>
                    <a:pt x="5664" y="3001"/>
                  </a:lnTo>
                  <a:lnTo>
                    <a:pt x="5682" y="2992"/>
                  </a:lnTo>
                  <a:lnTo>
                    <a:pt x="5690" y="2992"/>
                  </a:lnTo>
                  <a:lnTo>
                    <a:pt x="5690" y="2983"/>
                  </a:lnTo>
                  <a:lnTo>
                    <a:pt x="5690" y="2974"/>
                  </a:lnTo>
                  <a:lnTo>
                    <a:pt x="5690" y="2957"/>
                  </a:lnTo>
                  <a:lnTo>
                    <a:pt x="5690" y="2948"/>
                  </a:lnTo>
                  <a:lnTo>
                    <a:pt x="5673" y="2939"/>
                  </a:lnTo>
                  <a:lnTo>
                    <a:pt x="5664" y="2939"/>
                  </a:lnTo>
                  <a:lnTo>
                    <a:pt x="5646" y="2930"/>
                  </a:lnTo>
                  <a:lnTo>
                    <a:pt x="5629" y="2921"/>
                  </a:lnTo>
                  <a:lnTo>
                    <a:pt x="5620" y="2912"/>
                  </a:lnTo>
                  <a:lnTo>
                    <a:pt x="5602" y="2912"/>
                  </a:lnTo>
                  <a:lnTo>
                    <a:pt x="5593" y="2912"/>
                  </a:lnTo>
                  <a:lnTo>
                    <a:pt x="5576" y="2921"/>
                  </a:lnTo>
                  <a:lnTo>
                    <a:pt x="5558" y="2921"/>
                  </a:lnTo>
                  <a:lnTo>
                    <a:pt x="5576" y="2912"/>
                  </a:lnTo>
                  <a:lnTo>
                    <a:pt x="5585" y="2912"/>
                  </a:lnTo>
                  <a:lnTo>
                    <a:pt x="5585" y="2904"/>
                  </a:lnTo>
                  <a:lnTo>
                    <a:pt x="5567" y="2904"/>
                  </a:lnTo>
                  <a:lnTo>
                    <a:pt x="5558" y="2904"/>
                  </a:lnTo>
                  <a:lnTo>
                    <a:pt x="5505" y="2886"/>
                  </a:lnTo>
                  <a:lnTo>
                    <a:pt x="5496" y="2877"/>
                  </a:lnTo>
                  <a:lnTo>
                    <a:pt x="5488" y="2877"/>
                  </a:lnTo>
                  <a:lnTo>
                    <a:pt x="5496" y="2886"/>
                  </a:lnTo>
                  <a:lnTo>
                    <a:pt x="5505" y="2895"/>
                  </a:lnTo>
                  <a:lnTo>
                    <a:pt x="5488" y="2895"/>
                  </a:lnTo>
                  <a:lnTo>
                    <a:pt x="5479" y="2886"/>
                  </a:lnTo>
                  <a:lnTo>
                    <a:pt x="5470" y="2877"/>
                  </a:lnTo>
                  <a:lnTo>
                    <a:pt x="5479" y="2868"/>
                  </a:lnTo>
                  <a:lnTo>
                    <a:pt x="5470" y="2860"/>
                  </a:lnTo>
                  <a:lnTo>
                    <a:pt x="5488" y="2868"/>
                  </a:lnTo>
                  <a:lnTo>
                    <a:pt x="5523" y="2877"/>
                  </a:lnTo>
                  <a:lnTo>
                    <a:pt x="5558" y="2895"/>
                  </a:lnTo>
                  <a:lnTo>
                    <a:pt x="5567" y="2895"/>
                  </a:lnTo>
                  <a:lnTo>
                    <a:pt x="5585" y="2904"/>
                  </a:lnTo>
                  <a:lnTo>
                    <a:pt x="5585" y="2895"/>
                  </a:lnTo>
                  <a:lnTo>
                    <a:pt x="5593" y="2895"/>
                  </a:lnTo>
                  <a:lnTo>
                    <a:pt x="5602" y="2895"/>
                  </a:lnTo>
                  <a:lnTo>
                    <a:pt x="5602" y="2904"/>
                  </a:lnTo>
                  <a:lnTo>
                    <a:pt x="5620" y="2904"/>
                  </a:lnTo>
                  <a:lnTo>
                    <a:pt x="5629" y="2904"/>
                  </a:lnTo>
                  <a:lnTo>
                    <a:pt x="5664" y="2921"/>
                  </a:lnTo>
                  <a:lnTo>
                    <a:pt x="5673" y="2921"/>
                  </a:lnTo>
                  <a:lnTo>
                    <a:pt x="5682" y="2921"/>
                  </a:lnTo>
                  <a:lnTo>
                    <a:pt x="5690" y="2921"/>
                  </a:lnTo>
                  <a:lnTo>
                    <a:pt x="5699" y="2921"/>
                  </a:lnTo>
                  <a:lnTo>
                    <a:pt x="5699" y="2912"/>
                  </a:lnTo>
                  <a:lnTo>
                    <a:pt x="5708" y="2912"/>
                  </a:lnTo>
                  <a:lnTo>
                    <a:pt x="5717" y="2921"/>
                  </a:lnTo>
                  <a:lnTo>
                    <a:pt x="5726" y="2912"/>
                  </a:lnTo>
                  <a:lnTo>
                    <a:pt x="5735" y="2912"/>
                  </a:lnTo>
                  <a:lnTo>
                    <a:pt x="5743" y="2895"/>
                  </a:lnTo>
                  <a:lnTo>
                    <a:pt x="5735" y="2886"/>
                  </a:lnTo>
                  <a:lnTo>
                    <a:pt x="5726" y="2877"/>
                  </a:lnTo>
                  <a:lnTo>
                    <a:pt x="5735" y="2877"/>
                  </a:lnTo>
                  <a:lnTo>
                    <a:pt x="5743" y="2877"/>
                  </a:lnTo>
                  <a:lnTo>
                    <a:pt x="5752" y="2877"/>
                  </a:lnTo>
                  <a:lnTo>
                    <a:pt x="5743" y="2860"/>
                  </a:lnTo>
                  <a:lnTo>
                    <a:pt x="5735" y="2860"/>
                  </a:lnTo>
                  <a:lnTo>
                    <a:pt x="5752" y="2851"/>
                  </a:lnTo>
                  <a:lnTo>
                    <a:pt x="5761" y="2851"/>
                  </a:lnTo>
                  <a:lnTo>
                    <a:pt x="5761" y="2860"/>
                  </a:lnTo>
                  <a:lnTo>
                    <a:pt x="5761" y="2868"/>
                  </a:lnTo>
                  <a:lnTo>
                    <a:pt x="5770" y="2868"/>
                  </a:lnTo>
                  <a:lnTo>
                    <a:pt x="5779" y="2868"/>
                  </a:lnTo>
                  <a:lnTo>
                    <a:pt x="5787" y="2868"/>
                  </a:lnTo>
                  <a:lnTo>
                    <a:pt x="5796" y="2877"/>
                  </a:lnTo>
                  <a:lnTo>
                    <a:pt x="5805" y="2877"/>
                  </a:lnTo>
                  <a:lnTo>
                    <a:pt x="5796" y="2860"/>
                  </a:lnTo>
                  <a:lnTo>
                    <a:pt x="5814" y="2868"/>
                  </a:lnTo>
                  <a:lnTo>
                    <a:pt x="5832" y="2877"/>
                  </a:lnTo>
                  <a:lnTo>
                    <a:pt x="5840" y="2868"/>
                  </a:lnTo>
                  <a:lnTo>
                    <a:pt x="5858" y="2860"/>
                  </a:lnTo>
                  <a:lnTo>
                    <a:pt x="5885" y="2851"/>
                  </a:lnTo>
                  <a:lnTo>
                    <a:pt x="5893" y="2842"/>
                  </a:lnTo>
                  <a:lnTo>
                    <a:pt x="5893" y="2824"/>
                  </a:lnTo>
                  <a:lnTo>
                    <a:pt x="5937" y="2771"/>
                  </a:lnTo>
                  <a:lnTo>
                    <a:pt x="5946" y="2762"/>
                  </a:lnTo>
                  <a:lnTo>
                    <a:pt x="5964" y="2745"/>
                  </a:lnTo>
                  <a:lnTo>
                    <a:pt x="5964" y="2727"/>
                  </a:lnTo>
                  <a:lnTo>
                    <a:pt x="5955" y="2727"/>
                  </a:lnTo>
                  <a:lnTo>
                    <a:pt x="5937" y="2727"/>
                  </a:lnTo>
                  <a:lnTo>
                    <a:pt x="5893" y="2718"/>
                  </a:lnTo>
                  <a:lnTo>
                    <a:pt x="5876" y="2718"/>
                  </a:lnTo>
                  <a:lnTo>
                    <a:pt x="5814" y="2709"/>
                  </a:lnTo>
                  <a:lnTo>
                    <a:pt x="5805" y="2709"/>
                  </a:lnTo>
                  <a:lnTo>
                    <a:pt x="5796" y="2701"/>
                  </a:lnTo>
                  <a:lnTo>
                    <a:pt x="5770" y="2674"/>
                  </a:lnTo>
                  <a:lnTo>
                    <a:pt x="5761" y="2665"/>
                  </a:lnTo>
                  <a:lnTo>
                    <a:pt x="5743" y="2657"/>
                  </a:lnTo>
                  <a:lnTo>
                    <a:pt x="5735" y="2657"/>
                  </a:lnTo>
                  <a:lnTo>
                    <a:pt x="5699" y="2648"/>
                  </a:lnTo>
                  <a:lnTo>
                    <a:pt x="5673" y="2648"/>
                  </a:lnTo>
                  <a:lnTo>
                    <a:pt x="5664" y="2648"/>
                  </a:lnTo>
                  <a:lnTo>
                    <a:pt x="5664" y="2657"/>
                  </a:lnTo>
                  <a:lnTo>
                    <a:pt x="5646" y="2648"/>
                  </a:lnTo>
                  <a:lnTo>
                    <a:pt x="5637" y="2639"/>
                  </a:lnTo>
                  <a:lnTo>
                    <a:pt x="5646" y="2639"/>
                  </a:lnTo>
                  <a:lnTo>
                    <a:pt x="5664" y="2639"/>
                  </a:lnTo>
                  <a:lnTo>
                    <a:pt x="5682" y="2639"/>
                  </a:lnTo>
                  <a:lnTo>
                    <a:pt x="5690" y="2639"/>
                  </a:lnTo>
                  <a:lnTo>
                    <a:pt x="5708" y="2648"/>
                  </a:lnTo>
                  <a:lnTo>
                    <a:pt x="5717" y="2639"/>
                  </a:lnTo>
                  <a:lnTo>
                    <a:pt x="5735" y="2648"/>
                  </a:lnTo>
                  <a:lnTo>
                    <a:pt x="5743" y="2648"/>
                  </a:lnTo>
                  <a:lnTo>
                    <a:pt x="5752" y="2648"/>
                  </a:lnTo>
                  <a:lnTo>
                    <a:pt x="5743" y="2639"/>
                  </a:lnTo>
                  <a:lnTo>
                    <a:pt x="5752" y="2639"/>
                  </a:lnTo>
                  <a:lnTo>
                    <a:pt x="5761" y="2639"/>
                  </a:lnTo>
                  <a:lnTo>
                    <a:pt x="5770" y="2648"/>
                  </a:lnTo>
                  <a:lnTo>
                    <a:pt x="5787" y="2648"/>
                  </a:lnTo>
                  <a:lnTo>
                    <a:pt x="5805" y="2665"/>
                  </a:lnTo>
                  <a:lnTo>
                    <a:pt x="5823" y="2674"/>
                  </a:lnTo>
                  <a:lnTo>
                    <a:pt x="5832" y="2674"/>
                  </a:lnTo>
                  <a:lnTo>
                    <a:pt x="5840" y="2683"/>
                  </a:lnTo>
                  <a:lnTo>
                    <a:pt x="5849" y="2683"/>
                  </a:lnTo>
                  <a:lnTo>
                    <a:pt x="5858" y="2692"/>
                  </a:lnTo>
                  <a:lnTo>
                    <a:pt x="5876" y="2709"/>
                  </a:lnTo>
                  <a:lnTo>
                    <a:pt x="5893" y="2709"/>
                  </a:lnTo>
                  <a:lnTo>
                    <a:pt x="5911" y="2718"/>
                  </a:lnTo>
                  <a:lnTo>
                    <a:pt x="5929" y="2718"/>
                  </a:lnTo>
                  <a:lnTo>
                    <a:pt x="5937" y="2709"/>
                  </a:lnTo>
                  <a:lnTo>
                    <a:pt x="5946" y="2709"/>
                  </a:lnTo>
                  <a:lnTo>
                    <a:pt x="5955" y="2701"/>
                  </a:lnTo>
                  <a:lnTo>
                    <a:pt x="5964" y="2692"/>
                  </a:lnTo>
                  <a:lnTo>
                    <a:pt x="5982" y="2674"/>
                  </a:lnTo>
                  <a:lnTo>
                    <a:pt x="6035" y="2630"/>
                  </a:lnTo>
                  <a:lnTo>
                    <a:pt x="6043" y="2621"/>
                  </a:lnTo>
                  <a:lnTo>
                    <a:pt x="6035" y="2612"/>
                  </a:lnTo>
                  <a:lnTo>
                    <a:pt x="6026" y="2604"/>
                  </a:lnTo>
                  <a:lnTo>
                    <a:pt x="6017" y="2604"/>
                  </a:lnTo>
                  <a:lnTo>
                    <a:pt x="5990" y="2595"/>
                  </a:lnTo>
                  <a:lnTo>
                    <a:pt x="5982" y="2586"/>
                  </a:lnTo>
                  <a:lnTo>
                    <a:pt x="5982" y="2577"/>
                  </a:lnTo>
                  <a:lnTo>
                    <a:pt x="5982" y="2568"/>
                  </a:lnTo>
                  <a:lnTo>
                    <a:pt x="5990" y="2568"/>
                  </a:lnTo>
                  <a:lnTo>
                    <a:pt x="6035" y="2568"/>
                  </a:lnTo>
                  <a:lnTo>
                    <a:pt x="6052" y="2568"/>
                  </a:lnTo>
                  <a:lnTo>
                    <a:pt x="6061" y="2568"/>
                  </a:lnTo>
                  <a:lnTo>
                    <a:pt x="6079" y="2568"/>
                  </a:lnTo>
                  <a:lnTo>
                    <a:pt x="6087" y="2577"/>
                  </a:lnTo>
                  <a:lnTo>
                    <a:pt x="6096" y="2586"/>
                  </a:lnTo>
                  <a:lnTo>
                    <a:pt x="6105" y="2595"/>
                  </a:lnTo>
                  <a:lnTo>
                    <a:pt x="6114" y="2604"/>
                  </a:lnTo>
                  <a:lnTo>
                    <a:pt x="6140" y="2612"/>
                  </a:lnTo>
                  <a:lnTo>
                    <a:pt x="6149" y="2612"/>
                  </a:lnTo>
                  <a:lnTo>
                    <a:pt x="6158" y="2604"/>
                  </a:lnTo>
                  <a:lnTo>
                    <a:pt x="6158" y="2595"/>
                  </a:lnTo>
                  <a:lnTo>
                    <a:pt x="6184" y="2604"/>
                  </a:lnTo>
                  <a:lnTo>
                    <a:pt x="6193" y="2612"/>
                  </a:lnTo>
                  <a:lnTo>
                    <a:pt x="6193" y="2604"/>
                  </a:lnTo>
                  <a:lnTo>
                    <a:pt x="6202" y="2604"/>
                  </a:lnTo>
                  <a:lnTo>
                    <a:pt x="6193" y="2595"/>
                  </a:lnTo>
                  <a:lnTo>
                    <a:pt x="6184" y="2586"/>
                  </a:lnTo>
                  <a:lnTo>
                    <a:pt x="6176" y="2568"/>
                  </a:lnTo>
                  <a:lnTo>
                    <a:pt x="6176" y="2559"/>
                  </a:lnTo>
                  <a:lnTo>
                    <a:pt x="6167" y="2551"/>
                  </a:lnTo>
                  <a:lnTo>
                    <a:pt x="6158" y="2551"/>
                  </a:lnTo>
                  <a:lnTo>
                    <a:pt x="6140" y="2533"/>
                  </a:lnTo>
                  <a:lnTo>
                    <a:pt x="6140" y="2524"/>
                  </a:lnTo>
                  <a:lnTo>
                    <a:pt x="6132" y="2515"/>
                  </a:lnTo>
                  <a:lnTo>
                    <a:pt x="6123" y="2515"/>
                  </a:lnTo>
                  <a:lnTo>
                    <a:pt x="6114" y="2524"/>
                  </a:lnTo>
                  <a:lnTo>
                    <a:pt x="6105" y="2524"/>
                  </a:lnTo>
                  <a:lnTo>
                    <a:pt x="6105" y="2515"/>
                  </a:lnTo>
                  <a:lnTo>
                    <a:pt x="6123" y="2506"/>
                  </a:lnTo>
                  <a:lnTo>
                    <a:pt x="6132" y="2506"/>
                  </a:lnTo>
                  <a:lnTo>
                    <a:pt x="6140" y="2515"/>
                  </a:lnTo>
                  <a:lnTo>
                    <a:pt x="6149" y="2524"/>
                  </a:lnTo>
                  <a:lnTo>
                    <a:pt x="6158" y="2524"/>
                  </a:lnTo>
                  <a:lnTo>
                    <a:pt x="6167" y="2533"/>
                  </a:lnTo>
                  <a:lnTo>
                    <a:pt x="6158" y="2533"/>
                  </a:lnTo>
                  <a:lnTo>
                    <a:pt x="6158" y="2542"/>
                  </a:lnTo>
                  <a:lnTo>
                    <a:pt x="6167" y="2542"/>
                  </a:lnTo>
                  <a:lnTo>
                    <a:pt x="6176" y="2542"/>
                  </a:lnTo>
                  <a:lnTo>
                    <a:pt x="6184" y="2542"/>
                  </a:lnTo>
                  <a:lnTo>
                    <a:pt x="6184" y="2551"/>
                  </a:lnTo>
                  <a:lnTo>
                    <a:pt x="6202" y="2568"/>
                  </a:lnTo>
                  <a:lnTo>
                    <a:pt x="6211" y="2577"/>
                  </a:lnTo>
                  <a:lnTo>
                    <a:pt x="6211" y="2586"/>
                  </a:lnTo>
                  <a:lnTo>
                    <a:pt x="6220" y="2586"/>
                  </a:lnTo>
                  <a:lnTo>
                    <a:pt x="6229" y="2586"/>
                  </a:lnTo>
                  <a:lnTo>
                    <a:pt x="6237" y="2586"/>
                  </a:lnTo>
                  <a:lnTo>
                    <a:pt x="6246" y="2577"/>
                  </a:lnTo>
                  <a:lnTo>
                    <a:pt x="6264" y="2568"/>
                  </a:lnTo>
                  <a:lnTo>
                    <a:pt x="6282" y="2559"/>
                  </a:lnTo>
                  <a:lnTo>
                    <a:pt x="6290" y="2559"/>
                  </a:lnTo>
                  <a:lnTo>
                    <a:pt x="6299" y="2551"/>
                  </a:lnTo>
                  <a:lnTo>
                    <a:pt x="6308" y="2542"/>
                  </a:lnTo>
                  <a:lnTo>
                    <a:pt x="6317" y="2542"/>
                  </a:lnTo>
                  <a:lnTo>
                    <a:pt x="6326" y="2533"/>
                  </a:lnTo>
                  <a:lnTo>
                    <a:pt x="6326" y="2524"/>
                  </a:lnTo>
                  <a:lnTo>
                    <a:pt x="6334" y="2515"/>
                  </a:lnTo>
                  <a:lnTo>
                    <a:pt x="6343" y="2515"/>
                  </a:lnTo>
                  <a:lnTo>
                    <a:pt x="6352" y="2515"/>
                  </a:lnTo>
                  <a:lnTo>
                    <a:pt x="6361" y="2506"/>
                  </a:lnTo>
                  <a:lnTo>
                    <a:pt x="6370" y="2506"/>
                  </a:lnTo>
                  <a:lnTo>
                    <a:pt x="6370" y="2498"/>
                  </a:lnTo>
                  <a:lnTo>
                    <a:pt x="6379" y="2489"/>
                  </a:lnTo>
                  <a:lnTo>
                    <a:pt x="6379" y="2462"/>
                  </a:lnTo>
                  <a:lnTo>
                    <a:pt x="6387" y="2454"/>
                  </a:lnTo>
                  <a:lnTo>
                    <a:pt x="6379" y="2445"/>
                  </a:lnTo>
                  <a:lnTo>
                    <a:pt x="6370" y="2436"/>
                  </a:lnTo>
                  <a:lnTo>
                    <a:pt x="6370" y="2427"/>
                  </a:lnTo>
                  <a:lnTo>
                    <a:pt x="6352" y="2418"/>
                  </a:lnTo>
                  <a:lnTo>
                    <a:pt x="6343" y="2409"/>
                  </a:lnTo>
                  <a:lnTo>
                    <a:pt x="6334" y="2401"/>
                  </a:lnTo>
                  <a:lnTo>
                    <a:pt x="6326" y="2392"/>
                  </a:lnTo>
                  <a:lnTo>
                    <a:pt x="6326" y="2383"/>
                  </a:lnTo>
                  <a:lnTo>
                    <a:pt x="6326" y="2365"/>
                  </a:lnTo>
                  <a:lnTo>
                    <a:pt x="6326" y="2356"/>
                  </a:lnTo>
                  <a:lnTo>
                    <a:pt x="6326" y="2365"/>
                  </a:lnTo>
                  <a:lnTo>
                    <a:pt x="6317" y="2365"/>
                  </a:lnTo>
                  <a:lnTo>
                    <a:pt x="6299" y="2348"/>
                  </a:lnTo>
                  <a:lnTo>
                    <a:pt x="6299" y="2339"/>
                  </a:lnTo>
                  <a:lnTo>
                    <a:pt x="6290" y="2330"/>
                  </a:lnTo>
                  <a:lnTo>
                    <a:pt x="6290" y="2321"/>
                  </a:lnTo>
                  <a:lnTo>
                    <a:pt x="6299" y="2321"/>
                  </a:lnTo>
                  <a:lnTo>
                    <a:pt x="6317" y="2321"/>
                  </a:lnTo>
                  <a:lnTo>
                    <a:pt x="6326" y="2321"/>
                  </a:lnTo>
                  <a:lnTo>
                    <a:pt x="6326" y="2330"/>
                  </a:lnTo>
                  <a:lnTo>
                    <a:pt x="6334" y="2330"/>
                  </a:lnTo>
                  <a:lnTo>
                    <a:pt x="6343" y="2321"/>
                  </a:lnTo>
                  <a:lnTo>
                    <a:pt x="6352" y="2321"/>
                  </a:lnTo>
                  <a:lnTo>
                    <a:pt x="6361" y="2312"/>
                  </a:lnTo>
                  <a:lnTo>
                    <a:pt x="6379" y="2303"/>
                  </a:lnTo>
                  <a:lnTo>
                    <a:pt x="6387" y="2295"/>
                  </a:lnTo>
                  <a:lnTo>
                    <a:pt x="6387" y="2286"/>
                  </a:lnTo>
                  <a:lnTo>
                    <a:pt x="6379" y="2277"/>
                  </a:lnTo>
                  <a:lnTo>
                    <a:pt x="6370" y="2277"/>
                  </a:lnTo>
                  <a:lnTo>
                    <a:pt x="6352" y="2277"/>
                  </a:lnTo>
                  <a:lnTo>
                    <a:pt x="6334" y="2277"/>
                  </a:lnTo>
                  <a:lnTo>
                    <a:pt x="6334" y="2268"/>
                  </a:lnTo>
                  <a:lnTo>
                    <a:pt x="6352" y="2259"/>
                  </a:lnTo>
                  <a:lnTo>
                    <a:pt x="6361" y="2259"/>
                  </a:lnTo>
                  <a:lnTo>
                    <a:pt x="6379" y="2242"/>
                  </a:lnTo>
                  <a:lnTo>
                    <a:pt x="6379" y="2233"/>
                  </a:lnTo>
                  <a:lnTo>
                    <a:pt x="6370" y="2233"/>
                  </a:lnTo>
                  <a:lnTo>
                    <a:pt x="6352" y="2224"/>
                  </a:lnTo>
                  <a:lnTo>
                    <a:pt x="6334" y="2224"/>
                  </a:lnTo>
                  <a:lnTo>
                    <a:pt x="6317" y="2224"/>
                  </a:lnTo>
                  <a:lnTo>
                    <a:pt x="6308" y="2224"/>
                  </a:lnTo>
                  <a:lnTo>
                    <a:pt x="6317" y="2215"/>
                  </a:lnTo>
                  <a:lnTo>
                    <a:pt x="6308" y="2206"/>
                  </a:lnTo>
                  <a:lnTo>
                    <a:pt x="6282" y="2198"/>
                  </a:lnTo>
                  <a:lnTo>
                    <a:pt x="6273" y="2198"/>
                  </a:lnTo>
                  <a:lnTo>
                    <a:pt x="6282" y="2189"/>
                  </a:lnTo>
                  <a:lnTo>
                    <a:pt x="6290" y="2189"/>
                  </a:lnTo>
                  <a:lnTo>
                    <a:pt x="6299" y="2180"/>
                  </a:lnTo>
                  <a:lnTo>
                    <a:pt x="6299" y="2171"/>
                  </a:lnTo>
                  <a:lnTo>
                    <a:pt x="6282" y="2171"/>
                  </a:lnTo>
                  <a:lnTo>
                    <a:pt x="6273" y="2171"/>
                  </a:lnTo>
                  <a:lnTo>
                    <a:pt x="6255" y="2171"/>
                  </a:lnTo>
                  <a:lnTo>
                    <a:pt x="6220" y="2162"/>
                  </a:lnTo>
                  <a:lnTo>
                    <a:pt x="6211" y="2162"/>
                  </a:lnTo>
                  <a:lnTo>
                    <a:pt x="6193" y="2162"/>
                  </a:lnTo>
                  <a:lnTo>
                    <a:pt x="6167" y="2145"/>
                  </a:lnTo>
                  <a:lnTo>
                    <a:pt x="6158" y="2145"/>
                  </a:lnTo>
                  <a:lnTo>
                    <a:pt x="6132" y="2145"/>
                  </a:lnTo>
                  <a:lnTo>
                    <a:pt x="6123" y="2145"/>
                  </a:lnTo>
                  <a:lnTo>
                    <a:pt x="6105" y="2153"/>
                  </a:lnTo>
                  <a:lnTo>
                    <a:pt x="6096" y="2153"/>
                  </a:lnTo>
                  <a:lnTo>
                    <a:pt x="6087" y="2145"/>
                  </a:lnTo>
                  <a:lnTo>
                    <a:pt x="6079" y="2145"/>
                  </a:lnTo>
                  <a:lnTo>
                    <a:pt x="6070" y="2145"/>
                  </a:lnTo>
                  <a:lnTo>
                    <a:pt x="6070" y="2153"/>
                  </a:lnTo>
                  <a:lnTo>
                    <a:pt x="6079" y="2153"/>
                  </a:lnTo>
                  <a:lnTo>
                    <a:pt x="6079" y="2162"/>
                  </a:lnTo>
                  <a:lnTo>
                    <a:pt x="6070" y="2171"/>
                  </a:lnTo>
                  <a:lnTo>
                    <a:pt x="6070" y="2180"/>
                  </a:lnTo>
                  <a:lnTo>
                    <a:pt x="6079" y="2180"/>
                  </a:lnTo>
                  <a:lnTo>
                    <a:pt x="6079" y="2189"/>
                  </a:lnTo>
                  <a:lnTo>
                    <a:pt x="6079" y="2198"/>
                  </a:lnTo>
                  <a:lnTo>
                    <a:pt x="6079" y="2206"/>
                  </a:lnTo>
                  <a:lnTo>
                    <a:pt x="6079" y="2215"/>
                  </a:lnTo>
                  <a:lnTo>
                    <a:pt x="6079" y="2224"/>
                  </a:lnTo>
                  <a:lnTo>
                    <a:pt x="6087" y="2233"/>
                  </a:lnTo>
                  <a:lnTo>
                    <a:pt x="6105" y="2233"/>
                  </a:lnTo>
                  <a:lnTo>
                    <a:pt x="6114" y="2242"/>
                  </a:lnTo>
                  <a:lnTo>
                    <a:pt x="6123" y="2251"/>
                  </a:lnTo>
                  <a:lnTo>
                    <a:pt x="6114" y="2259"/>
                  </a:lnTo>
                  <a:lnTo>
                    <a:pt x="6105" y="2268"/>
                  </a:lnTo>
                  <a:lnTo>
                    <a:pt x="6105" y="2277"/>
                  </a:lnTo>
                  <a:lnTo>
                    <a:pt x="6123" y="2286"/>
                  </a:lnTo>
                  <a:lnTo>
                    <a:pt x="6087" y="2295"/>
                  </a:lnTo>
                  <a:lnTo>
                    <a:pt x="6079" y="2286"/>
                  </a:lnTo>
                  <a:lnTo>
                    <a:pt x="6070" y="2286"/>
                  </a:lnTo>
                  <a:lnTo>
                    <a:pt x="6070" y="2295"/>
                  </a:lnTo>
                  <a:lnTo>
                    <a:pt x="6061" y="2295"/>
                  </a:lnTo>
                  <a:lnTo>
                    <a:pt x="6061" y="2303"/>
                  </a:lnTo>
                  <a:lnTo>
                    <a:pt x="6052" y="2303"/>
                  </a:lnTo>
                  <a:lnTo>
                    <a:pt x="6052" y="2312"/>
                  </a:lnTo>
                  <a:lnTo>
                    <a:pt x="6052" y="2321"/>
                  </a:lnTo>
                  <a:lnTo>
                    <a:pt x="6052" y="2330"/>
                  </a:lnTo>
                  <a:lnTo>
                    <a:pt x="6052" y="2348"/>
                  </a:lnTo>
                  <a:lnTo>
                    <a:pt x="6043" y="2374"/>
                  </a:lnTo>
                  <a:lnTo>
                    <a:pt x="6035" y="2383"/>
                  </a:lnTo>
                  <a:lnTo>
                    <a:pt x="6008" y="2409"/>
                  </a:lnTo>
                  <a:lnTo>
                    <a:pt x="5999" y="2418"/>
                  </a:lnTo>
                  <a:lnTo>
                    <a:pt x="5999" y="2427"/>
                  </a:lnTo>
                  <a:lnTo>
                    <a:pt x="5999" y="2445"/>
                  </a:lnTo>
                  <a:lnTo>
                    <a:pt x="5990" y="2454"/>
                  </a:lnTo>
                  <a:lnTo>
                    <a:pt x="5982" y="2462"/>
                  </a:lnTo>
                  <a:lnTo>
                    <a:pt x="5973" y="2462"/>
                  </a:lnTo>
                  <a:lnTo>
                    <a:pt x="5964" y="2462"/>
                  </a:lnTo>
                  <a:lnTo>
                    <a:pt x="5955" y="2480"/>
                  </a:lnTo>
                  <a:lnTo>
                    <a:pt x="5946" y="2489"/>
                  </a:lnTo>
                  <a:lnTo>
                    <a:pt x="5937" y="2489"/>
                  </a:lnTo>
                  <a:lnTo>
                    <a:pt x="5929" y="2480"/>
                  </a:lnTo>
                  <a:lnTo>
                    <a:pt x="5929" y="2471"/>
                  </a:lnTo>
                  <a:lnTo>
                    <a:pt x="5929" y="2462"/>
                  </a:lnTo>
                  <a:lnTo>
                    <a:pt x="5893" y="2436"/>
                  </a:lnTo>
                  <a:lnTo>
                    <a:pt x="5876" y="2418"/>
                  </a:lnTo>
                  <a:lnTo>
                    <a:pt x="5867" y="2392"/>
                  </a:lnTo>
                  <a:lnTo>
                    <a:pt x="5867" y="2383"/>
                  </a:lnTo>
                  <a:lnTo>
                    <a:pt x="5867" y="2365"/>
                  </a:lnTo>
                  <a:lnTo>
                    <a:pt x="5858" y="2356"/>
                  </a:lnTo>
                  <a:lnTo>
                    <a:pt x="5867" y="2348"/>
                  </a:lnTo>
                  <a:lnTo>
                    <a:pt x="5876" y="2339"/>
                  </a:lnTo>
                  <a:lnTo>
                    <a:pt x="5876" y="2348"/>
                  </a:lnTo>
                  <a:lnTo>
                    <a:pt x="5885" y="2356"/>
                  </a:lnTo>
                  <a:lnTo>
                    <a:pt x="5893" y="2356"/>
                  </a:lnTo>
                  <a:lnTo>
                    <a:pt x="5902" y="2348"/>
                  </a:lnTo>
                  <a:lnTo>
                    <a:pt x="5902" y="2339"/>
                  </a:lnTo>
                  <a:lnTo>
                    <a:pt x="5902" y="2330"/>
                  </a:lnTo>
                  <a:lnTo>
                    <a:pt x="5902" y="2321"/>
                  </a:lnTo>
                  <a:lnTo>
                    <a:pt x="5893" y="2312"/>
                  </a:lnTo>
                  <a:lnTo>
                    <a:pt x="5893" y="2295"/>
                  </a:lnTo>
                  <a:lnTo>
                    <a:pt x="5885" y="2286"/>
                  </a:lnTo>
                  <a:lnTo>
                    <a:pt x="5876" y="2268"/>
                  </a:lnTo>
                  <a:lnTo>
                    <a:pt x="5867" y="2259"/>
                  </a:lnTo>
                  <a:lnTo>
                    <a:pt x="5840" y="2251"/>
                  </a:lnTo>
                  <a:lnTo>
                    <a:pt x="5832" y="2242"/>
                  </a:lnTo>
                  <a:lnTo>
                    <a:pt x="5823" y="2233"/>
                  </a:lnTo>
                  <a:lnTo>
                    <a:pt x="5814" y="2224"/>
                  </a:lnTo>
                  <a:lnTo>
                    <a:pt x="5805" y="2224"/>
                  </a:lnTo>
                  <a:lnTo>
                    <a:pt x="5796" y="2224"/>
                  </a:lnTo>
                  <a:lnTo>
                    <a:pt x="5787" y="2224"/>
                  </a:lnTo>
                  <a:lnTo>
                    <a:pt x="5779" y="2251"/>
                  </a:lnTo>
                  <a:lnTo>
                    <a:pt x="5770" y="2259"/>
                  </a:lnTo>
                  <a:lnTo>
                    <a:pt x="5761" y="2268"/>
                  </a:lnTo>
                  <a:lnTo>
                    <a:pt x="5761" y="2286"/>
                  </a:lnTo>
                  <a:lnTo>
                    <a:pt x="5761" y="2295"/>
                  </a:lnTo>
                  <a:lnTo>
                    <a:pt x="5752" y="2303"/>
                  </a:lnTo>
                  <a:lnTo>
                    <a:pt x="5752" y="2312"/>
                  </a:lnTo>
                  <a:lnTo>
                    <a:pt x="5752" y="2321"/>
                  </a:lnTo>
                  <a:lnTo>
                    <a:pt x="5743" y="2339"/>
                  </a:lnTo>
                  <a:lnTo>
                    <a:pt x="5735" y="2339"/>
                  </a:lnTo>
                  <a:lnTo>
                    <a:pt x="5735" y="2348"/>
                  </a:lnTo>
                  <a:lnTo>
                    <a:pt x="5726" y="2348"/>
                  </a:lnTo>
                  <a:lnTo>
                    <a:pt x="5726" y="2356"/>
                  </a:lnTo>
                  <a:lnTo>
                    <a:pt x="5726" y="2348"/>
                  </a:lnTo>
                  <a:lnTo>
                    <a:pt x="5717" y="2348"/>
                  </a:lnTo>
                  <a:lnTo>
                    <a:pt x="5717" y="2339"/>
                  </a:lnTo>
                  <a:lnTo>
                    <a:pt x="5708" y="2339"/>
                  </a:lnTo>
                  <a:lnTo>
                    <a:pt x="5699" y="2330"/>
                  </a:lnTo>
                  <a:lnTo>
                    <a:pt x="5699" y="2321"/>
                  </a:lnTo>
                  <a:lnTo>
                    <a:pt x="5699" y="2303"/>
                  </a:lnTo>
                  <a:lnTo>
                    <a:pt x="5708" y="2295"/>
                  </a:lnTo>
                  <a:lnTo>
                    <a:pt x="5699" y="2286"/>
                  </a:lnTo>
                  <a:lnTo>
                    <a:pt x="5699" y="2277"/>
                  </a:lnTo>
                  <a:lnTo>
                    <a:pt x="5708" y="2277"/>
                  </a:lnTo>
                  <a:lnTo>
                    <a:pt x="5699" y="2268"/>
                  </a:lnTo>
                  <a:lnTo>
                    <a:pt x="5690" y="2242"/>
                  </a:lnTo>
                  <a:lnTo>
                    <a:pt x="5655" y="2224"/>
                  </a:lnTo>
                  <a:lnTo>
                    <a:pt x="5655" y="2215"/>
                  </a:lnTo>
                  <a:lnTo>
                    <a:pt x="5664" y="2215"/>
                  </a:lnTo>
                  <a:lnTo>
                    <a:pt x="5664" y="2224"/>
                  </a:lnTo>
                  <a:lnTo>
                    <a:pt x="5673" y="2224"/>
                  </a:lnTo>
                  <a:lnTo>
                    <a:pt x="5682" y="2224"/>
                  </a:lnTo>
                  <a:lnTo>
                    <a:pt x="5682" y="2215"/>
                  </a:lnTo>
                  <a:lnTo>
                    <a:pt x="5690" y="2206"/>
                  </a:lnTo>
                  <a:lnTo>
                    <a:pt x="5699" y="2198"/>
                  </a:lnTo>
                  <a:lnTo>
                    <a:pt x="5708" y="2198"/>
                  </a:lnTo>
                  <a:lnTo>
                    <a:pt x="5699" y="2189"/>
                  </a:lnTo>
                  <a:lnTo>
                    <a:pt x="5690" y="2189"/>
                  </a:lnTo>
                  <a:lnTo>
                    <a:pt x="5682" y="2189"/>
                  </a:lnTo>
                  <a:lnTo>
                    <a:pt x="5673" y="2189"/>
                  </a:lnTo>
                  <a:lnTo>
                    <a:pt x="5646" y="2189"/>
                  </a:lnTo>
                  <a:lnTo>
                    <a:pt x="5637" y="2189"/>
                  </a:lnTo>
                  <a:lnTo>
                    <a:pt x="5646" y="2180"/>
                  </a:lnTo>
                  <a:lnTo>
                    <a:pt x="5655" y="2180"/>
                  </a:lnTo>
                  <a:lnTo>
                    <a:pt x="5655" y="2171"/>
                  </a:lnTo>
                  <a:lnTo>
                    <a:pt x="5637" y="2171"/>
                  </a:lnTo>
                  <a:lnTo>
                    <a:pt x="5629" y="2180"/>
                  </a:lnTo>
                  <a:lnTo>
                    <a:pt x="5611" y="2189"/>
                  </a:lnTo>
                  <a:lnTo>
                    <a:pt x="5602" y="2189"/>
                  </a:lnTo>
                  <a:lnTo>
                    <a:pt x="5576" y="2180"/>
                  </a:lnTo>
                  <a:lnTo>
                    <a:pt x="5576" y="2171"/>
                  </a:lnTo>
                  <a:lnTo>
                    <a:pt x="5558" y="2171"/>
                  </a:lnTo>
                  <a:lnTo>
                    <a:pt x="5549" y="2171"/>
                  </a:lnTo>
                  <a:lnTo>
                    <a:pt x="5532" y="2171"/>
                  </a:lnTo>
                  <a:lnTo>
                    <a:pt x="5540" y="2162"/>
                  </a:lnTo>
                  <a:lnTo>
                    <a:pt x="5576" y="2145"/>
                  </a:lnTo>
                  <a:lnTo>
                    <a:pt x="5593" y="2127"/>
                  </a:lnTo>
                  <a:lnTo>
                    <a:pt x="5593" y="2118"/>
                  </a:lnTo>
                  <a:lnTo>
                    <a:pt x="5585" y="2118"/>
                  </a:lnTo>
                  <a:lnTo>
                    <a:pt x="5558" y="2118"/>
                  </a:lnTo>
                  <a:lnTo>
                    <a:pt x="5558" y="2109"/>
                  </a:lnTo>
                  <a:lnTo>
                    <a:pt x="5567" y="2101"/>
                  </a:lnTo>
                  <a:lnTo>
                    <a:pt x="5576" y="2092"/>
                  </a:lnTo>
                  <a:lnTo>
                    <a:pt x="5576" y="2101"/>
                  </a:lnTo>
                  <a:lnTo>
                    <a:pt x="5585" y="2101"/>
                  </a:lnTo>
                  <a:lnTo>
                    <a:pt x="5593" y="2109"/>
                  </a:lnTo>
                  <a:lnTo>
                    <a:pt x="5602" y="2109"/>
                  </a:lnTo>
                  <a:lnTo>
                    <a:pt x="5620" y="2109"/>
                  </a:lnTo>
                  <a:lnTo>
                    <a:pt x="5629" y="2109"/>
                  </a:lnTo>
                  <a:lnTo>
                    <a:pt x="5629" y="2101"/>
                  </a:lnTo>
                  <a:lnTo>
                    <a:pt x="5620" y="2101"/>
                  </a:lnTo>
                  <a:lnTo>
                    <a:pt x="5620" y="2092"/>
                  </a:lnTo>
                  <a:lnTo>
                    <a:pt x="5611" y="2083"/>
                  </a:lnTo>
                  <a:lnTo>
                    <a:pt x="5602" y="2083"/>
                  </a:lnTo>
                  <a:lnTo>
                    <a:pt x="5602" y="2092"/>
                  </a:lnTo>
                  <a:lnTo>
                    <a:pt x="5593" y="2092"/>
                  </a:lnTo>
                  <a:lnTo>
                    <a:pt x="5593" y="2083"/>
                  </a:lnTo>
                  <a:lnTo>
                    <a:pt x="5593" y="2074"/>
                  </a:lnTo>
                  <a:lnTo>
                    <a:pt x="5576" y="2065"/>
                  </a:lnTo>
                  <a:lnTo>
                    <a:pt x="5576" y="2048"/>
                  </a:lnTo>
                  <a:lnTo>
                    <a:pt x="5567" y="2039"/>
                  </a:lnTo>
                  <a:lnTo>
                    <a:pt x="5549" y="2039"/>
                  </a:lnTo>
                  <a:lnTo>
                    <a:pt x="5549" y="2030"/>
                  </a:lnTo>
                  <a:lnTo>
                    <a:pt x="5540" y="2021"/>
                  </a:lnTo>
                  <a:lnTo>
                    <a:pt x="5523" y="2012"/>
                  </a:lnTo>
                  <a:lnTo>
                    <a:pt x="5532" y="2003"/>
                  </a:lnTo>
                  <a:lnTo>
                    <a:pt x="5532" y="1986"/>
                  </a:lnTo>
                  <a:lnTo>
                    <a:pt x="5532" y="1977"/>
                  </a:lnTo>
                  <a:lnTo>
                    <a:pt x="5523" y="1959"/>
                  </a:lnTo>
                  <a:lnTo>
                    <a:pt x="5523" y="1950"/>
                  </a:lnTo>
                  <a:lnTo>
                    <a:pt x="5505" y="1933"/>
                  </a:lnTo>
                  <a:lnTo>
                    <a:pt x="5488" y="1924"/>
                  </a:lnTo>
                  <a:lnTo>
                    <a:pt x="5479" y="1915"/>
                  </a:lnTo>
                  <a:lnTo>
                    <a:pt x="5461" y="1906"/>
                  </a:lnTo>
                  <a:lnTo>
                    <a:pt x="5470" y="1898"/>
                  </a:lnTo>
                  <a:lnTo>
                    <a:pt x="5470" y="1889"/>
                  </a:lnTo>
                  <a:lnTo>
                    <a:pt x="5461" y="1889"/>
                  </a:lnTo>
                  <a:lnTo>
                    <a:pt x="5443" y="1889"/>
                  </a:lnTo>
                  <a:lnTo>
                    <a:pt x="5435" y="1889"/>
                  </a:lnTo>
                  <a:lnTo>
                    <a:pt x="5426" y="1889"/>
                  </a:lnTo>
                  <a:lnTo>
                    <a:pt x="5417" y="1880"/>
                  </a:lnTo>
                  <a:lnTo>
                    <a:pt x="5408" y="1871"/>
                  </a:lnTo>
                  <a:lnTo>
                    <a:pt x="5408" y="1862"/>
                  </a:lnTo>
                  <a:lnTo>
                    <a:pt x="5399" y="1862"/>
                  </a:lnTo>
                  <a:lnTo>
                    <a:pt x="5390" y="1862"/>
                  </a:lnTo>
                  <a:lnTo>
                    <a:pt x="5382" y="1862"/>
                  </a:lnTo>
                  <a:lnTo>
                    <a:pt x="5355" y="1871"/>
                  </a:lnTo>
                  <a:lnTo>
                    <a:pt x="5338" y="1889"/>
                  </a:lnTo>
                  <a:lnTo>
                    <a:pt x="5329" y="1898"/>
                  </a:lnTo>
                  <a:lnTo>
                    <a:pt x="5311" y="1915"/>
                  </a:lnTo>
                  <a:lnTo>
                    <a:pt x="5311" y="1924"/>
                  </a:lnTo>
                  <a:lnTo>
                    <a:pt x="5320" y="1924"/>
                  </a:lnTo>
                  <a:lnTo>
                    <a:pt x="5329" y="1924"/>
                  </a:lnTo>
                  <a:lnTo>
                    <a:pt x="5338" y="1924"/>
                  </a:lnTo>
                  <a:lnTo>
                    <a:pt x="5346" y="1924"/>
                  </a:lnTo>
                  <a:lnTo>
                    <a:pt x="5338" y="1933"/>
                  </a:lnTo>
                  <a:lnTo>
                    <a:pt x="5329" y="1950"/>
                  </a:lnTo>
                  <a:lnTo>
                    <a:pt x="5320" y="1950"/>
                  </a:lnTo>
                  <a:lnTo>
                    <a:pt x="5311" y="1942"/>
                  </a:lnTo>
                  <a:lnTo>
                    <a:pt x="5302" y="1942"/>
                  </a:lnTo>
                  <a:lnTo>
                    <a:pt x="5293" y="1942"/>
                  </a:lnTo>
                  <a:lnTo>
                    <a:pt x="5285" y="1950"/>
                  </a:lnTo>
                  <a:lnTo>
                    <a:pt x="5267" y="1959"/>
                  </a:lnTo>
                  <a:lnTo>
                    <a:pt x="5267" y="1968"/>
                  </a:lnTo>
                  <a:lnTo>
                    <a:pt x="5267" y="1977"/>
                  </a:lnTo>
                  <a:lnTo>
                    <a:pt x="5258" y="1977"/>
                  </a:lnTo>
                  <a:lnTo>
                    <a:pt x="5267" y="1986"/>
                  </a:lnTo>
                  <a:lnTo>
                    <a:pt x="5267" y="1995"/>
                  </a:lnTo>
                  <a:lnTo>
                    <a:pt x="5258" y="2012"/>
                  </a:lnTo>
                  <a:lnTo>
                    <a:pt x="5258" y="2021"/>
                  </a:lnTo>
                  <a:lnTo>
                    <a:pt x="5276" y="2039"/>
                  </a:lnTo>
                  <a:lnTo>
                    <a:pt x="5285" y="2039"/>
                  </a:lnTo>
                  <a:lnTo>
                    <a:pt x="5311" y="2039"/>
                  </a:lnTo>
                  <a:lnTo>
                    <a:pt x="5302" y="2048"/>
                  </a:lnTo>
                  <a:lnTo>
                    <a:pt x="5311" y="2056"/>
                  </a:lnTo>
                  <a:lnTo>
                    <a:pt x="5293" y="2048"/>
                  </a:lnTo>
                  <a:lnTo>
                    <a:pt x="5293" y="2056"/>
                  </a:lnTo>
                  <a:lnTo>
                    <a:pt x="5285" y="2056"/>
                  </a:lnTo>
                  <a:lnTo>
                    <a:pt x="5276" y="2056"/>
                  </a:lnTo>
                  <a:lnTo>
                    <a:pt x="5276" y="2065"/>
                  </a:lnTo>
                  <a:lnTo>
                    <a:pt x="5258" y="2083"/>
                  </a:lnTo>
                  <a:lnTo>
                    <a:pt x="5258" y="2092"/>
                  </a:lnTo>
                  <a:lnTo>
                    <a:pt x="5258" y="2101"/>
                  </a:lnTo>
                  <a:lnTo>
                    <a:pt x="5267" y="2109"/>
                  </a:lnTo>
                  <a:lnTo>
                    <a:pt x="5285" y="2127"/>
                  </a:lnTo>
                  <a:lnTo>
                    <a:pt x="5285" y="2136"/>
                  </a:lnTo>
                  <a:lnTo>
                    <a:pt x="5293" y="2145"/>
                  </a:lnTo>
                  <a:lnTo>
                    <a:pt x="5293" y="2153"/>
                  </a:lnTo>
                  <a:lnTo>
                    <a:pt x="5302" y="2153"/>
                  </a:lnTo>
                  <a:lnTo>
                    <a:pt x="5311" y="2153"/>
                  </a:lnTo>
                  <a:lnTo>
                    <a:pt x="5320" y="2153"/>
                  </a:lnTo>
                  <a:lnTo>
                    <a:pt x="5329" y="2162"/>
                  </a:lnTo>
                  <a:lnTo>
                    <a:pt x="5338" y="2162"/>
                  </a:lnTo>
                  <a:lnTo>
                    <a:pt x="5355" y="2171"/>
                  </a:lnTo>
                  <a:lnTo>
                    <a:pt x="5390" y="2180"/>
                  </a:lnTo>
                  <a:lnTo>
                    <a:pt x="5399" y="2171"/>
                  </a:lnTo>
                  <a:lnTo>
                    <a:pt x="5408" y="2180"/>
                  </a:lnTo>
                  <a:lnTo>
                    <a:pt x="5417" y="2189"/>
                  </a:lnTo>
                  <a:lnTo>
                    <a:pt x="5426" y="2198"/>
                  </a:lnTo>
                  <a:lnTo>
                    <a:pt x="5435" y="2198"/>
                  </a:lnTo>
                  <a:lnTo>
                    <a:pt x="5443" y="2198"/>
                  </a:lnTo>
                  <a:lnTo>
                    <a:pt x="5452" y="2198"/>
                  </a:lnTo>
                  <a:lnTo>
                    <a:pt x="5461" y="2189"/>
                  </a:lnTo>
                  <a:lnTo>
                    <a:pt x="5470" y="2189"/>
                  </a:lnTo>
                  <a:lnTo>
                    <a:pt x="5479" y="2198"/>
                  </a:lnTo>
                  <a:lnTo>
                    <a:pt x="5479" y="2206"/>
                  </a:lnTo>
                  <a:lnTo>
                    <a:pt x="5488" y="2206"/>
                  </a:lnTo>
                  <a:lnTo>
                    <a:pt x="5488" y="2215"/>
                  </a:lnTo>
                  <a:lnTo>
                    <a:pt x="5479" y="2215"/>
                  </a:lnTo>
                  <a:lnTo>
                    <a:pt x="5470" y="2224"/>
                  </a:lnTo>
                  <a:lnTo>
                    <a:pt x="5461" y="2224"/>
                  </a:lnTo>
                  <a:lnTo>
                    <a:pt x="5479" y="2206"/>
                  </a:lnTo>
                  <a:lnTo>
                    <a:pt x="5461" y="2206"/>
                  </a:lnTo>
                  <a:lnTo>
                    <a:pt x="5435" y="2215"/>
                  </a:lnTo>
                  <a:lnTo>
                    <a:pt x="5426" y="2215"/>
                  </a:lnTo>
                  <a:lnTo>
                    <a:pt x="5426" y="2224"/>
                  </a:lnTo>
                  <a:lnTo>
                    <a:pt x="5426" y="2242"/>
                  </a:lnTo>
                  <a:lnTo>
                    <a:pt x="5435" y="2242"/>
                  </a:lnTo>
                  <a:lnTo>
                    <a:pt x="5443" y="2242"/>
                  </a:lnTo>
                  <a:lnTo>
                    <a:pt x="5435" y="2251"/>
                  </a:lnTo>
                  <a:lnTo>
                    <a:pt x="5417" y="2259"/>
                  </a:lnTo>
                  <a:lnTo>
                    <a:pt x="5408" y="2268"/>
                  </a:lnTo>
                  <a:lnTo>
                    <a:pt x="5408" y="2286"/>
                  </a:lnTo>
                  <a:lnTo>
                    <a:pt x="5417" y="2295"/>
                  </a:lnTo>
                  <a:lnTo>
                    <a:pt x="5435" y="2286"/>
                  </a:lnTo>
                  <a:lnTo>
                    <a:pt x="5443" y="2286"/>
                  </a:lnTo>
                  <a:lnTo>
                    <a:pt x="5452" y="2277"/>
                  </a:lnTo>
                  <a:lnTo>
                    <a:pt x="5452" y="2268"/>
                  </a:lnTo>
                  <a:lnTo>
                    <a:pt x="5452" y="2259"/>
                  </a:lnTo>
                  <a:lnTo>
                    <a:pt x="5461" y="2259"/>
                  </a:lnTo>
                  <a:lnTo>
                    <a:pt x="5470" y="2268"/>
                  </a:lnTo>
                  <a:lnTo>
                    <a:pt x="5470" y="2277"/>
                  </a:lnTo>
                  <a:lnTo>
                    <a:pt x="5470" y="2286"/>
                  </a:lnTo>
                  <a:lnTo>
                    <a:pt x="5470" y="2295"/>
                  </a:lnTo>
                  <a:lnTo>
                    <a:pt x="5470" y="2303"/>
                  </a:lnTo>
                  <a:lnTo>
                    <a:pt x="5479" y="2303"/>
                  </a:lnTo>
                  <a:lnTo>
                    <a:pt x="5488" y="2303"/>
                  </a:lnTo>
                  <a:lnTo>
                    <a:pt x="5488" y="2312"/>
                  </a:lnTo>
                  <a:lnTo>
                    <a:pt x="5470" y="2312"/>
                  </a:lnTo>
                  <a:lnTo>
                    <a:pt x="5452" y="2321"/>
                  </a:lnTo>
                  <a:lnTo>
                    <a:pt x="5443" y="2339"/>
                  </a:lnTo>
                  <a:lnTo>
                    <a:pt x="5426" y="2348"/>
                  </a:lnTo>
                  <a:lnTo>
                    <a:pt x="5417" y="2356"/>
                  </a:lnTo>
                  <a:lnTo>
                    <a:pt x="5408" y="2365"/>
                  </a:lnTo>
                  <a:lnTo>
                    <a:pt x="5390" y="2374"/>
                  </a:lnTo>
                  <a:lnTo>
                    <a:pt x="5382" y="2383"/>
                  </a:lnTo>
                  <a:lnTo>
                    <a:pt x="5364" y="2374"/>
                  </a:lnTo>
                  <a:lnTo>
                    <a:pt x="5355" y="2374"/>
                  </a:lnTo>
                  <a:lnTo>
                    <a:pt x="5346" y="2374"/>
                  </a:lnTo>
                  <a:lnTo>
                    <a:pt x="5346" y="2383"/>
                  </a:lnTo>
                  <a:lnTo>
                    <a:pt x="5338" y="2383"/>
                  </a:lnTo>
                  <a:lnTo>
                    <a:pt x="5329" y="2418"/>
                  </a:lnTo>
                  <a:lnTo>
                    <a:pt x="5329" y="2427"/>
                  </a:lnTo>
                  <a:lnTo>
                    <a:pt x="5338" y="2436"/>
                  </a:lnTo>
                  <a:lnTo>
                    <a:pt x="5346" y="2445"/>
                  </a:lnTo>
                  <a:lnTo>
                    <a:pt x="5355" y="2462"/>
                  </a:lnTo>
                  <a:lnTo>
                    <a:pt x="5355" y="2480"/>
                  </a:lnTo>
                  <a:lnTo>
                    <a:pt x="5355" y="2489"/>
                  </a:lnTo>
                  <a:lnTo>
                    <a:pt x="5346" y="2515"/>
                  </a:lnTo>
                  <a:lnTo>
                    <a:pt x="5338" y="2524"/>
                  </a:lnTo>
                  <a:lnTo>
                    <a:pt x="5329" y="2524"/>
                  </a:lnTo>
                  <a:lnTo>
                    <a:pt x="5302" y="2515"/>
                  </a:lnTo>
                  <a:lnTo>
                    <a:pt x="5293" y="2524"/>
                  </a:lnTo>
                  <a:lnTo>
                    <a:pt x="5302" y="2524"/>
                  </a:lnTo>
                  <a:lnTo>
                    <a:pt x="5320" y="2542"/>
                  </a:lnTo>
                  <a:lnTo>
                    <a:pt x="5320" y="2551"/>
                  </a:lnTo>
                  <a:lnTo>
                    <a:pt x="5320" y="2559"/>
                  </a:lnTo>
                  <a:lnTo>
                    <a:pt x="5311" y="2551"/>
                  </a:lnTo>
                  <a:lnTo>
                    <a:pt x="5311" y="2542"/>
                  </a:lnTo>
                  <a:lnTo>
                    <a:pt x="5276" y="2515"/>
                  </a:lnTo>
                  <a:lnTo>
                    <a:pt x="5267" y="2506"/>
                  </a:lnTo>
                  <a:lnTo>
                    <a:pt x="5276" y="2506"/>
                  </a:lnTo>
                  <a:lnTo>
                    <a:pt x="5285" y="2515"/>
                  </a:lnTo>
                  <a:lnTo>
                    <a:pt x="5293" y="2515"/>
                  </a:lnTo>
                  <a:lnTo>
                    <a:pt x="5302" y="2506"/>
                  </a:lnTo>
                  <a:lnTo>
                    <a:pt x="5311" y="2515"/>
                  </a:lnTo>
                  <a:lnTo>
                    <a:pt x="5320" y="2515"/>
                  </a:lnTo>
                  <a:lnTo>
                    <a:pt x="5329" y="2515"/>
                  </a:lnTo>
                  <a:lnTo>
                    <a:pt x="5338" y="2515"/>
                  </a:lnTo>
                  <a:lnTo>
                    <a:pt x="5346" y="2506"/>
                  </a:lnTo>
                  <a:lnTo>
                    <a:pt x="5346" y="2498"/>
                  </a:lnTo>
                  <a:lnTo>
                    <a:pt x="5346" y="2489"/>
                  </a:lnTo>
                  <a:lnTo>
                    <a:pt x="5338" y="2489"/>
                  </a:lnTo>
                  <a:lnTo>
                    <a:pt x="5338" y="2480"/>
                  </a:lnTo>
                  <a:lnTo>
                    <a:pt x="5329" y="2489"/>
                  </a:lnTo>
                  <a:lnTo>
                    <a:pt x="5320" y="2489"/>
                  </a:lnTo>
                  <a:lnTo>
                    <a:pt x="5320" y="2471"/>
                  </a:lnTo>
                  <a:lnTo>
                    <a:pt x="5311" y="2471"/>
                  </a:lnTo>
                  <a:lnTo>
                    <a:pt x="5302" y="2480"/>
                  </a:lnTo>
                  <a:lnTo>
                    <a:pt x="5293" y="2480"/>
                  </a:lnTo>
                  <a:lnTo>
                    <a:pt x="5285" y="2471"/>
                  </a:lnTo>
                  <a:lnTo>
                    <a:pt x="5285" y="2462"/>
                  </a:lnTo>
                  <a:lnTo>
                    <a:pt x="5276" y="2445"/>
                  </a:lnTo>
                  <a:lnTo>
                    <a:pt x="5285" y="2427"/>
                  </a:lnTo>
                  <a:lnTo>
                    <a:pt x="5285" y="2418"/>
                  </a:lnTo>
                  <a:lnTo>
                    <a:pt x="5285" y="2409"/>
                  </a:lnTo>
                  <a:lnTo>
                    <a:pt x="5302" y="2365"/>
                  </a:lnTo>
                  <a:lnTo>
                    <a:pt x="5302" y="2356"/>
                  </a:lnTo>
                  <a:lnTo>
                    <a:pt x="5293" y="2356"/>
                  </a:lnTo>
                  <a:lnTo>
                    <a:pt x="5267" y="2365"/>
                  </a:lnTo>
                  <a:lnTo>
                    <a:pt x="5267" y="2374"/>
                  </a:lnTo>
                  <a:lnTo>
                    <a:pt x="5258" y="2374"/>
                  </a:lnTo>
                  <a:lnTo>
                    <a:pt x="5258" y="2383"/>
                  </a:lnTo>
                  <a:lnTo>
                    <a:pt x="5249" y="2383"/>
                  </a:lnTo>
                  <a:lnTo>
                    <a:pt x="5249" y="2374"/>
                  </a:lnTo>
                  <a:lnTo>
                    <a:pt x="5267" y="2356"/>
                  </a:lnTo>
                  <a:lnTo>
                    <a:pt x="5267" y="2348"/>
                  </a:lnTo>
                  <a:lnTo>
                    <a:pt x="5258" y="2356"/>
                  </a:lnTo>
                  <a:lnTo>
                    <a:pt x="5232" y="2356"/>
                  </a:lnTo>
                  <a:lnTo>
                    <a:pt x="5232" y="2348"/>
                  </a:lnTo>
                  <a:lnTo>
                    <a:pt x="5223" y="2348"/>
                  </a:lnTo>
                  <a:lnTo>
                    <a:pt x="5214" y="2339"/>
                  </a:lnTo>
                  <a:lnTo>
                    <a:pt x="5205" y="2330"/>
                  </a:lnTo>
                  <a:lnTo>
                    <a:pt x="5205" y="2321"/>
                  </a:lnTo>
                  <a:lnTo>
                    <a:pt x="5196" y="2321"/>
                  </a:lnTo>
                  <a:lnTo>
                    <a:pt x="5188" y="2321"/>
                  </a:lnTo>
                  <a:lnTo>
                    <a:pt x="5179" y="2321"/>
                  </a:lnTo>
                  <a:lnTo>
                    <a:pt x="5170" y="2321"/>
                  </a:lnTo>
                  <a:lnTo>
                    <a:pt x="5161" y="2321"/>
                  </a:lnTo>
                  <a:lnTo>
                    <a:pt x="5161" y="2330"/>
                  </a:lnTo>
                  <a:lnTo>
                    <a:pt x="5170" y="2339"/>
                  </a:lnTo>
                  <a:lnTo>
                    <a:pt x="5143" y="2339"/>
                  </a:lnTo>
                  <a:lnTo>
                    <a:pt x="5135" y="2348"/>
                  </a:lnTo>
                  <a:lnTo>
                    <a:pt x="5117" y="2339"/>
                  </a:lnTo>
                  <a:lnTo>
                    <a:pt x="5108" y="2339"/>
                  </a:lnTo>
                  <a:lnTo>
                    <a:pt x="5108" y="2348"/>
                  </a:lnTo>
                  <a:lnTo>
                    <a:pt x="5117" y="2356"/>
                  </a:lnTo>
                  <a:lnTo>
                    <a:pt x="5126" y="2365"/>
                  </a:lnTo>
                  <a:lnTo>
                    <a:pt x="5126" y="2374"/>
                  </a:lnTo>
                  <a:lnTo>
                    <a:pt x="5117" y="2365"/>
                  </a:lnTo>
                  <a:lnTo>
                    <a:pt x="5117" y="2374"/>
                  </a:lnTo>
                  <a:lnTo>
                    <a:pt x="5126" y="2374"/>
                  </a:lnTo>
                  <a:lnTo>
                    <a:pt x="5143" y="2392"/>
                  </a:lnTo>
                  <a:lnTo>
                    <a:pt x="5143" y="2401"/>
                  </a:lnTo>
                  <a:lnTo>
                    <a:pt x="5161" y="2392"/>
                  </a:lnTo>
                  <a:lnTo>
                    <a:pt x="5170" y="2392"/>
                  </a:lnTo>
                  <a:lnTo>
                    <a:pt x="5188" y="2392"/>
                  </a:lnTo>
                  <a:lnTo>
                    <a:pt x="5205" y="2401"/>
                  </a:lnTo>
                  <a:lnTo>
                    <a:pt x="5214" y="2401"/>
                  </a:lnTo>
                  <a:lnTo>
                    <a:pt x="5214" y="2409"/>
                  </a:lnTo>
                  <a:lnTo>
                    <a:pt x="5214" y="2418"/>
                  </a:lnTo>
                  <a:lnTo>
                    <a:pt x="5214" y="2427"/>
                  </a:lnTo>
                  <a:lnTo>
                    <a:pt x="5205" y="2427"/>
                  </a:lnTo>
                  <a:lnTo>
                    <a:pt x="5196" y="2436"/>
                  </a:lnTo>
                  <a:lnTo>
                    <a:pt x="5179" y="2436"/>
                  </a:lnTo>
                  <a:lnTo>
                    <a:pt x="5161" y="2418"/>
                  </a:lnTo>
                  <a:lnTo>
                    <a:pt x="5152" y="2418"/>
                  </a:lnTo>
                  <a:lnTo>
                    <a:pt x="5126" y="2383"/>
                  </a:lnTo>
                  <a:lnTo>
                    <a:pt x="5117" y="2383"/>
                  </a:lnTo>
                  <a:lnTo>
                    <a:pt x="5108" y="2374"/>
                  </a:lnTo>
                  <a:lnTo>
                    <a:pt x="5099" y="2374"/>
                  </a:lnTo>
                  <a:lnTo>
                    <a:pt x="5099" y="2383"/>
                  </a:lnTo>
                  <a:lnTo>
                    <a:pt x="5099" y="2392"/>
                  </a:lnTo>
                  <a:lnTo>
                    <a:pt x="5108" y="2401"/>
                  </a:lnTo>
                  <a:lnTo>
                    <a:pt x="5117" y="2401"/>
                  </a:lnTo>
                  <a:lnTo>
                    <a:pt x="5126" y="2409"/>
                  </a:lnTo>
                  <a:lnTo>
                    <a:pt x="5117" y="2409"/>
                  </a:lnTo>
                  <a:lnTo>
                    <a:pt x="5099" y="2409"/>
                  </a:lnTo>
                  <a:lnTo>
                    <a:pt x="5091" y="2418"/>
                  </a:lnTo>
                  <a:lnTo>
                    <a:pt x="5082" y="2418"/>
                  </a:lnTo>
                  <a:lnTo>
                    <a:pt x="5073" y="2418"/>
                  </a:lnTo>
                  <a:lnTo>
                    <a:pt x="5055" y="2418"/>
                  </a:lnTo>
                  <a:lnTo>
                    <a:pt x="5046" y="2409"/>
                  </a:lnTo>
                  <a:lnTo>
                    <a:pt x="5020" y="2409"/>
                  </a:lnTo>
                  <a:lnTo>
                    <a:pt x="4993" y="2409"/>
                  </a:lnTo>
                  <a:lnTo>
                    <a:pt x="4976" y="2409"/>
                  </a:lnTo>
                  <a:lnTo>
                    <a:pt x="4967" y="2409"/>
                  </a:lnTo>
                  <a:lnTo>
                    <a:pt x="4958" y="2409"/>
                  </a:lnTo>
                  <a:lnTo>
                    <a:pt x="4949" y="2409"/>
                  </a:lnTo>
                  <a:lnTo>
                    <a:pt x="4941" y="2409"/>
                  </a:lnTo>
                  <a:lnTo>
                    <a:pt x="4932" y="2418"/>
                  </a:lnTo>
                  <a:lnTo>
                    <a:pt x="4923" y="2418"/>
                  </a:lnTo>
                  <a:lnTo>
                    <a:pt x="4896" y="2427"/>
                  </a:lnTo>
                  <a:lnTo>
                    <a:pt x="4879" y="2418"/>
                  </a:lnTo>
                  <a:lnTo>
                    <a:pt x="4870" y="2418"/>
                  </a:lnTo>
                  <a:lnTo>
                    <a:pt x="4852" y="2418"/>
                  </a:lnTo>
                  <a:lnTo>
                    <a:pt x="4843" y="2418"/>
                  </a:lnTo>
                  <a:lnTo>
                    <a:pt x="4835" y="2418"/>
                  </a:lnTo>
                  <a:lnTo>
                    <a:pt x="4808" y="2409"/>
                  </a:lnTo>
                  <a:lnTo>
                    <a:pt x="4799" y="2401"/>
                  </a:lnTo>
                  <a:lnTo>
                    <a:pt x="4782" y="2392"/>
                  </a:lnTo>
                  <a:lnTo>
                    <a:pt x="4764" y="2374"/>
                  </a:lnTo>
                  <a:lnTo>
                    <a:pt x="4755" y="2374"/>
                  </a:lnTo>
                  <a:lnTo>
                    <a:pt x="4738" y="2374"/>
                  </a:lnTo>
                  <a:lnTo>
                    <a:pt x="4720" y="2383"/>
                  </a:lnTo>
                  <a:lnTo>
                    <a:pt x="4702" y="2383"/>
                  </a:lnTo>
                  <a:lnTo>
                    <a:pt x="4685" y="2383"/>
                  </a:lnTo>
                  <a:lnTo>
                    <a:pt x="4676" y="2374"/>
                  </a:lnTo>
                  <a:lnTo>
                    <a:pt x="4667" y="2374"/>
                  </a:lnTo>
                  <a:lnTo>
                    <a:pt x="4667" y="2365"/>
                  </a:lnTo>
                  <a:lnTo>
                    <a:pt x="4667" y="2356"/>
                  </a:lnTo>
                  <a:lnTo>
                    <a:pt x="4658" y="2356"/>
                  </a:lnTo>
                  <a:lnTo>
                    <a:pt x="4649" y="2356"/>
                  </a:lnTo>
                  <a:lnTo>
                    <a:pt x="4641" y="2348"/>
                  </a:lnTo>
                  <a:lnTo>
                    <a:pt x="4632" y="2348"/>
                  </a:lnTo>
                  <a:lnTo>
                    <a:pt x="4623" y="2348"/>
                  </a:lnTo>
                  <a:lnTo>
                    <a:pt x="4614" y="2330"/>
                  </a:lnTo>
                  <a:lnTo>
                    <a:pt x="4605" y="2330"/>
                  </a:lnTo>
                  <a:lnTo>
                    <a:pt x="4605" y="2312"/>
                  </a:lnTo>
                  <a:lnTo>
                    <a:pt x="4596" y="2295"/>
                  </a:lnTo>
                  <a:lnTo>
                    <a:pt x="4596" y="2286"/>
                  </a:lnTo>
                  <a:lnTo>
                    <a:pt x="4588" y="2277"/>
                  </a:lnTo>
                  <a:lnTo>
                    <a:pt x="4579" y="2277"/>
                  </a:lnTo>
                  <a:lnTo>
                    <a:pt x="4561" y="2268"/>
                  </a:lnTo>
                  <a:lnTo>
                    <a:pt x="4552" y="2268"/>
                  </a:lnTo>
                  <a:lnTo>
                    <a:pt x="4544" y="2268"/>
                  </a:lnTo>
                  <a:lnTo>
                    <a:pt x="4517" y="2277"/>
                  </a:lnTo>
                  <a:lnTo>
                    <a:pt x="4508" y="2286"/>
                  </a:lnTo>
                  <a:lnTo>
                    <a:pt x="4464" y="2295"/>
                  </a:lnTo>
                  <a:lnTo>
                    <a:pt x="4438" y="2303"/>
                  </a:lnTo>
                  <a:lnTo>
                    <a:pt x="4394" y="2303"/>
                  </a:lnTo>
                  <a:lnTo>
                    <a:pt x="4394" y="2312"/>
                  </a:lnTo>
                  <a:lnTo>
                    <a:pt x="4376" y="2339"/>
                  </a:lnTo>
                  <a:lnTo>
                    <a:pt x="4367" y="2348"/>
                  </a:lnTo>
                  <a:lnTo>
                    <a:pt x="4394" y="2365"/>
                  </a:lnTo>
                  <a:lnTo>
                    <a:pt x="4402" y="2365"/>
                  </a:lnTo>
                  <a:lnTo>
                    <a:pt x="4411" y="2365"/>
                  </a:lnTo>
                  <a:lnTo>
                    <a:pt x="4420" y="2365"/>
                  </a:lnTo>
                  <a:lnTo>
                    <a:pt x="4438" y="2365"/>
                  </a:lnTo>
                  <a:lnTo>
                    <a:pt x="4446" y="2356"/>
                  </a:lnTo>
                  <a:lnTo>
                    <a:pt x="4438" y="2356"/>
                  </a:lnTo>
                  <a:lnTo>
                    <a:pt x="4438" y="2348"/>
                  </a:lnTo>
                  <a:lnTo>
                    <a:pt x="4446" y="2348"/>
                  </a:lnTo>
                  <a:lnTo>
                    <a:pt x="4455" y="2348"/>
                  </a:lnTo>
                  <a:lnTo>
                    <a:pt x="4473" y="2348"/>
                  </a:lnTo>
                  <a:lnTo>
                    <a:pt x="4482" y="2348"/>
                  </a:lnTo>
                  <a:lnTo>
                    <a:pt x="4491" y="2339"/>
                  </a:lnTo>
                  <a:lnTo>
                    <a:pt x="4499" y="2339"/>
                  </a:lnTo>
                  <a:lnTo>
                    <a:pt x="4508" y="2339"/>
                  </a:lnTo>
                  <a:lnTo>
                    <a:pt x="4517" y="2339"/>
                  </a:lnTo>
                  <a:lnTo>
                    <a:pt x="4526" y="2339"/>
                  </a:lnTo>
                  <a:lnTo>
                    <a:pt x="4526" y="2330"/>
                  </a:lnTo>
                  <a:lnTo>
                    <a:pt x="4535" y="2321"/>
                  </a:lnTo>
                  <a:lnTo>
                    <a:pt x="4552" y="2312"/>
                  </a:lnTo>
                  <a:lnTo>
                    <a:pt x="4561" y="2303"/>
                  </a:lnTo>
                  <a:lnTo>
                    <a:pt x="4570" y="2303"/>
                  </a:lnTo>
                  <a:lnTo>
                    <a:pt x="4579" y="2303"/>
                  </a:lnTo>
                  <a:lnTo>
                    <a:pt x="4588" y="2312"/>
                  </a:lnTo>
                  <a:lnTo>
                    <a:pt x="4579" y="2321"/>
                  </a:lnTo>
                  <a:lnTo>
                    <a:pt x="4570" y="2330"/>
                  </a:lnTo>
                  <a:lnTo>
                    <a:pt x="4561" y="2330"/>
                  </a:lnTo>
                  <a:lnTo>
                    <a:pt x="4552" y="2339"/>
                  </a:lnTo>
                  <a:lnTo>
                    <a:pt x="4544" y="2339"/>
                  </a:lnTo>
                  <a:lnTo>
                    <a:pt x="4535" y="2348"/>
                  </a:lnTo>
                  <a:lnTo>
                    <a:pt x="4535" y="2356"/>
                  </a:lnTo>
                  <a:lnTo>
                    <a:pt x="4526" y="2356"/>
                  </a:lnTo>
                  <a:lnTo>
                    <a:pt x="4517" y="2356"/>
                  </a:lnTo>
                  <a:lnTo>
                    <a:pt x="4508" y="2365"/>
                  </a:lnTo>
                  <a:lnTo>
                    <a:pt x="4499" y="2374"/>
                  </a:lnTo>
                  <a:lnTo>
                    <a:pt x="4491" y="2374"/>
                  </a:lnTo>
                  <a:lnTo>
                    <a:pt x="4482" y="2374"/>
                  </a:lnTo>
                  <a:lnTo>
                    <a:pt x="4473" y="2374"/>
                  </a:lnTo>
                  <a:lnTo>
                    <a:pt x="4464" y="2374"/>
                  </a:lnTo>
                  <a:lnTo>
                    <a:pt x="4455" y="2383"/>
                  </a:lnTo>
                  <a:lnTo>
                    <a:pt x="4455" y="2374"/>
                  </a:lnTo>
                  <a:lnTo>
                    <a:pt x="4438" y="2383"/>
                  </a:lnTo>
                  <a:lnTo>
                    <a:pt x="4438" y="2392"/>
                  </a:lnTo>
                  <a:lnTo>
                    <a:pt x="4438" y="2401"/>
                  </a:lnTo>
                  <a:lnTo>
                    <a:pt x="4429" y="2401"/>
                  </a:lnTo>
                  <a:lnTo>
                    <a:pt x="4420" y="2409"/>
                  </a:lnTo>
                  <a:lnTo>
                    <a:pt x="4420" y="2418"/>
                  </a:lnTo>
                  <a:lnTo>
                    <a:pt x="4420" y="2427"/>
                  </a:lnTo>
                  <a:lnTo>
                    <a:pt x="4429" y="2427"/>
                  </a:lnTo>
                  <a:lnTo>
                    <a:pt x="4438" y="2436"/>
                  </a:lnTo>
                  <a:lnTo>
                    <a:pt x="4446" y="2445"/>
                  </a:lnTo>
                  <a:lnTo>
                    <a:pt x="4446" y="2454"/>
                  </a:lnTo>
                  <a:lnTo>
                    <a:pt x="4446" y="2462"/>
                  </a:lnTo>
                  <a:lnTo>
                    <a:pt x="4446" y="2480"/>
                  </a:lnTo>
                  <a:lnTo>
                    <a:pt x="4455" y="2489"/>
                  </a:lnTo>
                  <a:lnTo>
                    <a:pt x="4473" y="2498"/>
                  </a:lnTo>
                  <a:lnTo>
                    <a:pt x="4464" y="2506"/>
                  </a:lnTo>
                  <a:lnTo>
                    <a:pt x="4473" y="2515"/>
                  </a:lnTo>
                  <a:lnTo>
                    <a:pt x="4482" y="2524"/>
                  </a:lnTo>
                  <a:lnTo>
                    <a:pt x="4464" y="2515"/>
                  </a:lnTo>
                  <a:lnTo>
                    <a:pt x="4455" y="2524"/>
                  </a:lnTo>
                  <a:lnTo>
                    <a:pt x="4455" y="2515"/>
                  </a:lnTo>
                  <a:lnTo>
                    <a:pt x="4446" y="2506"/>
                  </a:lnTo>
                  <a:lnTo>
                    <a:pt x="4438" y="2515"/>
                  </a:lnTo>
                  <a:lnTo>
                    <a:pt x="4438" y="2533"/>
                  </a:lnTo>
                  <a:lnTo>
                    <a:pt x="4438" y="2542"/>
                  </a:lnTo>
                  <a:lnTo>
                    <a:pt x="4446" y="2559"/>
                  </a:lnTo>
                  <a:lnTo>
                    <a:pt x="4473" y="2586"/>
                  </a:lnTo>
                  <a:lnTo>
                    <a:pt x="4464" y="2577"/>
                  </a:lnTo>
                  <a:lnTo>
                    <a:pt x="4455" y="2577"/>
                  </a:lnTo>
                  <a:lnTo>
                    <a:pt x="4438" y="2559"/>
                  </a:lnTo>
                  <a:lnTo>
                    <a:pt x="4438" y="2551"/>
                  </a:lnTo>
                  <a:lnTo>
                    <a:pt x="4420" y="2542"/>
                  </a:lnTo>
                  <a:lnTo>
                    <a:pt x="4420" y="2533"/>
                  </a:lnTo>
                  <a:lnTo>
                    <a:pt x="4411" y="2533"/>
                  </a:lnTo>
                  <a:lnTo>
                    <a:pt x="4411" y="2524"/>
                  </a:lnTo>
                  <a:lnTo>
                    <a:pt x="4402" y="2515"/>
                  </a:lnTo>
                  <a:lnTo>
                    <a:pt x="4385" y="2506"/>
                  </a:lnTo>
                  <a:lnTo>
                    <a:pt x="4385" y="2498"/>
                  </a:lnTo>
                  <a:lnTo>
                    <a:pt x="4394" y="2506"/>
                  </a:lnTo>
                  <a:lnTo>
                    <a:pt x="4402" y="2506"/>
                  </a:lnTo>
                  <a:lnTo>
                    <a:pt x="4411" y="2506"/>
                  </a:lnTo>
                  <a:lnTo>
                    <a:pt x="4420" y="2498"/>
                  </a:lnTo>
                  <a:lnTo>
                    <a:pt x="4429" y="2489"/>
                  </a:lnTo>
                  <a:lnTo>
                    <a:pt x="4420" y="2489"/>
                  </a:lnTo>
                  <a:lnTo>
                    <a:pt x="4420" y="2480"/>
                  </a:lnTo>
                  <a:lnTo>
                    <a:pt x="4394" y="2462"/>
                  </a:lnTo>
                  <a:lnTo>
                    <a:pt x="4385" y="2454"/>
                  </a:lnTo>
                  <a:lnTo>
                    <a:pt x="4376" y="2436"/>
                  </a:lnTo>
                  <a:lnTo>
                    <a:pt x="4367" y="2436"/>
                  </a:lnTo>
                  <a:lnTo>
                    <a:pt x="4358" y="2454"/>
                  </a:lnTo>
                  <a:lnTo>
                    <a:pt x="4358" y="2462"/>
                  </a:lnTo>
                  <a:lnTo>
                    <a:pt x="4349" y="2454"/>
                  </a:lnTo>
                  <a:lnTo>
                    <a:pt x="4349" y="2445"/>
                  </a:lnTo>
                  <a:lnTo>
                    <a:pt x="4349" y="2427"/>
                  </a:lnTo>
                  <a:lnTo>
                    <a:pt x="4341" y="2427"/>
                  </a:lnTo>
                  <a:lnTo>
                    <a:pt x="4341" y="2418"/>
                  </a:lnTo>
                  <a:lnTo>
                    <a:pt x="4332" y="2418"/>
                  </a:lnTo>
                  <a:lnTo>
                    <a:pt x="4296" y="2418"/>
                  </a:lnTo>
                  <a:lnTo>
                    <a:pt x="4288" y="2409"/>
                  </a:lnTo>
                  <a:lnTo>
                    <a:pt x="4288" y="2401"/>
                  </a:lnTo>
                  <a:lnTo>
                    <a:pt x="4279" y="2401"/>
                  </a:lnTo>
                  <a:lnTo>
                    <a:pt x="4270" y="2392"/>
                  </a:lnTo>
                  <a:lnTo>
                    <a:pt x="4270" y="2383"/>
                  </a:lnTo>
                  <a:lnTo>
                    <a:pt x="4261" y="2383"/>
                  </a:lnTo>
                  <a:lnTo>
                    <a:pt x="4252" y="2392"/>
                  </a:lnTo>
                  <a:lnTo>
                    <a:pt x="4244" y="2392"/>
                  </a:lnTo>
                  <a:lnTo>
                    <a:pt x="4208" y="2409"/>
                  </a:lnTo>
                  <a:lnTo>
                    <a:pt x="4199" y="2409"/>
                  </a:lnTo>
                  <a:lnTo>
                    <a:pt x="4191" y="2409"/>
                  </a:lnTo>
                  <a:lnTo>
                    <a:pt x="4182" y="2409"/>
                  </a:lnTo>
                  <a:lnTo>
                    <a:pt x="4173" y="2409"/>
                  </a:lnTo>
                  <a:lnTo>
                    <a:pt x="4164" y="2418"/>
                  </a:lnTo>
                  <a:lnTo>
                    <a:pt x="4155" y="2418"/>
                  </a:lnTo>
                  <a:lnTo>
                    <a:pt x="4147" y="2418"/>
                  </a:lnTo>
                  <a:lnTo>
                    <a:pt x="4120" y="2418"/>
                  </a:lnTo>
                  <a:lnTo>
                    <a:pt x="4111" y="2418"/>
                  </a:lnTo>
                  <a:lnTo>
                    <a:pt x="4102" y="2418"/>
                  </a:lnTo>
                  <a:lnTo>
                    <a:pt x="4094" y="2427"/>
                  </a:lnTo>
                  <a:lnTo>
                    <a:pt x="4085" y="2427"/>
                  </a:lnTo>
                  <a:lnTo>
                    <a:pt x="4058" y="2427"/>
                  </a:lnTo>
                  <a:lnTo>
                    <a:pt x="4049" y="2427"/>
                  </a:lnTo>
                  <a:lnTo>
                    <a:pt x="4032" y="2427"/>
                  </a:lnTo>
                  <a:lnTo>
                    <a:pt x="4005" y="2427"/>
                  </a:lnTo>
                  <a:lnTo>
                    <a:pt x="3988" y="2418"/>
                  </a:lnTo>
                  <a:lnTo>
                    <a:pt x="3970" y="2418"/>
                  </a:lnTo>
                  <a:lnTo>
                    <a:pt x="3961" y="2418"/>
                  </a:lnTo>
                  <a:lnTo>
                    <a:pt x="3944" y="2418"/>
                  </a:lnTo>
                  <a:lnTo>
                    <a:pt x="3926" y="2409"/>
                  </a:lnTo>
                  <a:lnTo>
                    <a:pt x="3917" y="2409"/>
                  </a:lnTo>
                  <a:lnTo>
                    <a:pt x="3899" y="2409"/>
                  </a:lnTo>
                  <a:lnTo>
                    <a:pt x="3891" y="2409"/>
                  </a:lnTo>
                  <a:lnTo>
                    <a:pt x="3882" y="2401"/>
                  </a:lnTo>
                  <a:lnTo>
                    <a:pt x="3873" y="2401"/>
                  </a:lnTo>
                  <a:lnTo>
                    <a:pt x="3873" y="2392"/>
                  </a:lnTo>
                  <a:lnTo>
                    <a:pt x="3891" y="2383"/>
                  </a:lnTo>
                  <a:lnTo>
                    <a:pt x="3891" y="2374"/>
                  </a:lnTo>
                  <a:lnTo>
                    <a:pt x="3891" y="2365"/>
                  </a:lnTo>
                  <a:lnTo>
                    <a:pt x="3917" y="2356"/>
                  </a:lnTo>
                  <a:lnTo>
                    <a:pt x="3917" y="2348"/>
                  </a:lnTo>
                  <a:lnTo>
                    <a:pt x="3961" y="2356"/>
                  </a:lnTo>
                  <a:lnTo>
                    <a:pt x="3970" y="2348"/>
                  </a:lnTo>
                  <a:lnTo>
                    <a:pt x="3979" y="2348"/>
                  </a:lnTo>
                  <a:lnTo>
                    <a:pt x="3979" y="2339"/>
                  </a:lnTo>
                  <a:lnTo>
                    <a:pt x="3979" y="2330"/>
                  </a:lnTo>
                  <a:lnTo>
                    <a:pt x="3970" y="2330"/>
                  </a:lnTo>
                  <a:lnTo>
                    <a:pt x="3970" y="2321"/>
                  </a:lnTo>
                  <a:lnTo>
                    <a:pt x="3961" y="2312"/>
                  </a:lnTo>
                  <a:lnTo>
                    <a:pt x="3944" y="2303"/>
                  </a:lnTo>
                  <a:lnTo>
                    <a:pt x="3935" y="2295"/>
                  </a:lnTo>
                  <a:lnTo>
                    <a:pt x="3908" y="2277"/>
                  </a:lnTo>
                  <a:lnTo>
                    <a:pt x="3891" y="2268"/>
                  </a:lnTo>
                  <a:lnTo>
                    <a:pt x="3873" y="2268"/>
                  </a:lnTo>
                  <a:lnTo>
                    <a:pt x="3855" y="2259"/>
                  </a:lnTo>
                  <a:lnTo>
                    <a:pt x="3847" y="2259"/>
                  </a:lnTo>
                  <a:lnTo>
                    <a:pt x="3838" y="2259"/>
                  </a:lnTo>
                  <a:lnTo>
                    <a:pt x="3820" y="2259"/>
                  </a:lnTo>
                  <a:lnTo>
                    <a:pt x="3811" y="2259"/>
                  </a:lnTo>
                  <a:lnTo>
                    <a:pt x="3829" y="2277"/>
                  </a:lnTo>
                  <a:lnTo>
                    <a:pt x="3811" y="2277"/>
                  </a:lnTo>
                  <a:lnTo>
                    <a:pt x="3802" y="2277"/>
                  </a:lnTo>
                  <a:lnTo>
                    <a:pt x="3794" y="2277"/>
                  </a:lnTo>
                  <a:lnTo>
                    <a:pt x="3758" y="2268"/>
                  </a:lnTo>
                  <a:lnTo>
                    <a:pt x="3750" y="2268"/>
                  </a:lnTo>
                  <a:lnTo>
                    <a:pt x="3741" y="2268"/>
                  </a:lnTo>
                  <a:lnTo>
                    <a:pt x="3732" y="2268"/>
                  </a:lnTo>
                  <a:lnTo>
                    <a:pt x="3697" y="2259"/>
                  </a:lnTo>
                  <a:lnTo>
                    <a:pt x="3679" y="2251"/>
                  </a:lnTo>
                  <a:lnTo>
                    <a:pt x="3661" y="2242"/>
                  </a:lnTo>
                  <a:lnTo>
                    <a:pt x="3644" y="2242"/>
                  </a:lnTo>
                  <a:lnTo>
                    <a:pt x="3626" y="2224"/>
                  </a:lnTo>
                  <a:lnTo>
                    <a:pt x="3617" y="2224"/>
                  </a:lnTo>
                  <a:lnTo>
                    <a:pt x="3547" y="2215"/>
                  </a:lnTo>
                  <a:lnTo>
                    <a:pt x="3529" y="2206"/>
                  </a:lnTo>
                  <a:lnTo>
                    <a:pt x="3511" y="2206"/>
                  </a:lnTo>
                  <a:lnTo>
                    <a:pt x="3476" y="2180"/>
                  </a:lnTo>
                  <a:lnTo>
                    <a:pt x="3467" y="2171"/>
                  </a:lnTo>
                  <a:lnTo>
                    <a:pt x="3441" y="2162"/>
                  </a:lnTo>
                  <a:lnTo>
                    <a:pt x="3423" y="2153"/>
                  </a:lnTo>
                  <a:lnTo>
                    <a:pt x="3405" y="2153"/>
                  </a:lnTo>
                  <a:lnTo>
                    <a:pt x="3388" y="2153"/>
                  </a:lnTo>
                  <a:lnTo>
                    <a:pt x="3361" y="2153"/>
                  </a:lnTo>
                  <a:lnTo>
                    <a:pt x="3335" y="2153"/>
                  </a:lnTo>
                  <a:lnTo>
                    <a:pt x="3317" y="2153"/>
                  </a:lnTo>
                  <a:lnTo>
                    <a:pt x="3308" y="2153"/>
                  </a:lnTo>
                  <a:lnTo>
                    <a:pt x="3308" y="2162"/>
                  </a:lnTo>
                  <a:lnTo>
                    <a:pt x="3308" y="2171"/>
                  </a:lnTo>
                  <a:lnTo>
                    <a:pt x="3300" y="2189"/>
                  </a:lnTo>
                  <a:lnTo>
                    <a:pt x="3291" y="2198"/>
                  </a:lnTo>
                  <a:lnTo>
                    <a:pt x="3282" y="2206"/>
                  </a:lnTo>
                  <a:lnTo>
                    <a:pt x="3273" y="2206"/>
                  </a:lnTo>
                  <a:lnTo>
                    <a:pt x="3238" y="2206"/>
                  </a:lnTo>
                  <a:lnTo>
                    <a:pt x="3238" y="2215"/>
                  </a:lnTo>
                  <a:lnTo>
                    <a:pt x="3220" y="2206"/>
                  </a:lnTo>
                  <a:lnTo>
                    <a:pt x="3211" y="2206"/>
                  </a:lnTo>
                  <a:lnTo>
                    <a:pt x="3211" y="2198"/>
                  </a:lnTo>
                  <a:lnTo>
                    <a:pt x="3229" y="2171"/>
                  </a:lnTo>
                  <a:lnTo>
                    <a:pt x="3238" y="2171"/>
                  </a:lnTo>
                  <a:lnTo>
                    <a:pt x="3220" y="2162"/>
                  </a:lnTo>
                  <a:lnTo>
                    <a:pt x="3211" y="2153"/>
                  </a:lnTo>
                  <a:lnTo>
                    <a:pt x="3211" y="2136"/>
                  </a:lnTo>
                  <a:lnTo>
                    <a:pt x="3211" y="2127"/>
                  </a:lnTo>
                  <a:lnTo>
                    <a:pt x="3211" y="2118"/>
                  </a:lnTo>
                  <a:lnTo>
                    <a:pt x="3211" y="2109"/>
                  </a:lnTo>
                  <a:lnTo>
                    <a:pt x="3203" y="2109"/>
                  </a:lnTo>
                  <a:lnTo>
                    <a:pt x="3194" y="2109"/>
                  </a:lnTo>
                  <a:lnTo>
                    <a:pt x="3185" y="2118"/>
                  </a:lnTo>
                  <a:lnTo>
                    <a:pt x="3176" y="2118"/>
                  </a:lnTo>
                  <a:lnTo>
                    <a:pt x="3167" y="2127"/>
                  </a:lnTo>
                  <a:lnTo>
                    <a:pt x="3176" y="2127"/>
                  </a:lnTo>
                  <a:lnTo>
                    <a:pt x="3185" y="2127"/>
                  </a:lnTo>
                  <a:lnTo>
                    <a:pt x="3176" y="2136"/>
                  </a:lnTo>
                  <a:lnTo>
                    <a:pt x="3167" y="2145"/>
                  </a:lnTo>
                  <a:lnTo>
                    <a:pt x="3167" y="2153"/>
                  </a:lnTo>
                  <a:lnTo>
                    <a:pt x="3158" y="2153"/>
                  </a:lnTo>
                  <a:lnTo>
                    <a:pt x="3150" y="2162"/>
                  </a:lnTo>
                  <a:lnTo>
                    <a:pt x="3141" y="2171"/>
                  </a:lnTo>
                  <a:lnTo>
                    <a:pt x="3141" y="2180"/>
                  </a:lnTo>
                  <a:lnTo>
                    <a:pt x="3150" y="2180"/>
                  </a:lnTo>
                  <a:lnTo>
                    <a:pt x="3158" y="2198"/>
                  </a:lnTo>
                  <a:lnTo>
                    <a:pt x="3158" y="2206"/>
                  </a:lnTo>
                  <a:lnTo>
                    <a:pt x="3141" y="2215"/>
                  </a:lnTo>
                  <a:lnTo>
                    <a:pt x="3132" y="2215"/>
                  </a:lnTo>
                  <a:lnTo>
                    <a:pt x="3114" y="2206"/>
                  </a:lnTo>
                  <a:lnTo>
                    <a:pt x="3105" y="2206"/>
                  </a:lnTo>
                  <a:lnTo>
                    <a:pt x="3088" y="2198"/>
                  </a:lnTo>
                  <a:lnTo>
                    <a:pt x="3079" y="2189"/>
                  </a:lnTo>
                  <a:lnTo>
                    <a:pt x="3053" y="2162"/>
                  </a:lnTo>
                  <a:lnTo>
                    <a:pt x="3044" y="2153"/>
                  </a:lnTo>
                  <a:lnTo>
                    <a:pt x="3044" y="2145"/>
                  </a:lnTo>
                  <a:lnTo>
                    <a:pt x="3035" y="2136"/>
                  </a:lnTo>
                  <a:lnTo>
                    <a:pt x="3026" y="2118"/>
                  </a:lnTo>
                  <a:lnTo>
                    <a:pt x="3008" y="2092"/>
                  </a:lnTo>
                  <a:lnTo>
                    <a:pt x="2991" y="2074"/>
                  </a:lnTo>
                  <a:lnTo>
                    <a:pt x="2964" y="2056"/>
                  </a:lnTo>
                  <a:lnTo>
                    <a:pt x="2955" y="2056"/>
                  </a:lnTo>
                  <a:lnTo>
                    <a:pt x="2947" y="2048"/>
                  </a:lnTo>
                  <a:lnTo>
                    <a:pt x="2947" y="2056"/>
                  </a:lnTo>
                  <a:lnTo>
                    <a:pt x="2938" y="2056"/>
                  </a:lnTo>
                  <a:lnTo>
                    <a:pt x="2938" y="2065"/>
                  </a:lnTo>
                  <a:lnTo>
                    <a:pt x="2938" y="2074"/>
                  </a:lnTo>
                  <a:lnTo>
                    <a:pt x="2947" y="2083"/>
                  </a:lnTo>
                  <a:lnTo>
                    <a:pt x="2947" y="2092"/>
                  </a:lnTo>
                  <a:lnTo>
                    <a:pt x="2973" y="2092"/>
                  </a:lnTo>
                  <a:lnTo>
                    <a:pt x="2964" y="2101"/>
                  </a:lnTo>
                  <a:lnTo>
                    <a:pt x="2938" y="2109"/>
                  </a:lnTo>
                  <a:lnTo>
                    <a:pt x="2929" y="2109"/>
                  </a:lnTo>
                  <a:lnTo>
                    <a:pt x="2920" y="2127"/>
                  </a:lnTo>
                  <a:lnTo>
                    <a:pt x="2920" y="2136"/>
                  </a:lnTo>
                  <a:lnTo>
                    <a:pt x="2894" y="2153"/>
                  </a:lnTo>
                  <a:lnTo>
                    <a:pt x="2885" y="2162"/>
                  </a:lnTo>
                  <a:lnTo>
                    <a:pt x="2876" y="2162"/>
                  </a:lnTo>
                  <a:lnTo>
                    <a:pt x="2867" y="2162"/>
                  </a:lnTo>
                  <a:lnTo>
                    <a:pt x="2867" y="2153"/>
                  </a:lnTo>
                  <a:lnTo>
                    <a:pt x="2876" y="2145"/>
                  </a:lnTo>
                  <a:lnTo>
                    <a:pt x="2885" y="2145"/>
                  </a:lnTo>
                  <a:lnTo>
                    <a:pt x="2885" y="2136"/>
                  </a:lnTo>
                  <a:lnTo>
                    <a:pt x="2876" y="2136"/>
                  </a:lnTo>
                  <a:lnTo>
                    <a:pt x="2867" y="2145"/>
                  </a:lnTo>
                  <a:lnTo>
                    <a:pt x="2858" y="2145"/>
                  </a:lnTo>
                  <a:lnTo>
                    <a:pt x="2832" y="2153"/>
                  </a:lnTo>
                  <a:lnTo>
                    <a:pt x="2797" y="2162"/>
                  </a:lnTo>
                  <a:lnTo>
                    <a:pt x="2779" y="2171"/>
                  </a:lnTo>
                  <a:lnTo>
                    <a:pt x="2761" y="2180"/>
                  </a:lnTo>
                  <a:lnTo>
                    <a:pt x="2753" y="2198"/>
                  </a:lnTo>
                  <a:lnTo>
                    <a:pt x="2735" y="2215"/>
                  </a:lnTo>
                  <a:lnTo>
                    <a:pt x="2735" y="2224"/>
                  </a:lnTo>
                  <a:lnTo>
                    <a:pt x="2726" y="2233"/>
                  </a:lnTo>
                  <a:lnTo>
                    <a:pt x="2726" y="2224"/>
                  </a:lnTo>
                  <a:lnTo>
                    <a:pt x="2726" y="2206"/>
                  </a:lnTo>
                  <a:lnTo>
                    <a:pt x="2726" y="2198"/>
                  </a:lnTo>
                  <a:lnTo>
                    <a:pt x="2717" y="2198"/>
                  </a:lnTo>
                  <a:lnTo>
                    <a:pt x="2708" y="2198"/>
                  </a:lnTo>
                  <a:lnTo>
                    <a:pt x="2708" y="2206"/>
                  </a:lnTo>
                  <a:lnTo>
                    <a:pt x="2708" y="2215"/>
                  </a:lnTo>
                  <a:lnTo>
                    <a:pt x="2708" y="2206"/>
                  </a:lnTo>
                  <a:lnTo>
                    <a:pt x="2700" y="2198"/>
                  </a:lnTo>
                  <a:lnTo>
                    <a:pt x="2691" y="2198"/>
                  </a:lnTo>
                  <a:lnTo>
                    <a:pt x="2682" y="2198"/>
                  </a:lnTo>
                  <a:lnTo>
                    <a:pt x="2673" y="2198"/>
                  </a:lnTo>
                  <a:lnTo>
                    <a:pt x="2664" y="2206"/>
                  </a:lnTo>
                  <a:lnTo>
                    <a:pt x="2673" y="2206"/>
                  </a:lnTo>
                  <a:lnTo>
                    <a:pt x="2664" y="2215"/>
                  </a:lnTo>
                  <a:lnTo>
                    <a:pt x="2664" y="2224"/>
                  </a:lnTo>
                  <a:lnTo>
                    <a:pt x="2647" y="2224"/>
                  </a:lnTo>
                  <a:lnTo>
                    <a:pt x="2638" y="2233"/>
                  </a:lnTo>
                  <a:lnTo>
                    <a:pt x="2629" y="2233"/>
                  </a:lnTo>
                  <a:lnTo>
                    <a:pt x="2611" y="2242"/>
                  </a:lnTo>
                  <a:lnTo>
                    <a:pt x="2603" y="2251"/>
                  </a:lnTo>
                  <a:lnTo>
                    <a:pt x="2594" y="2259"/>
                  </a:lnTo>
                  <a:lnTo>
                    <a:pt x="2603" y="2259"/>
                  </a:lnTo>
                  <a:lnTo>
                    <a:pt x="2603" y="2268"/>
                  </a:lnTo>
                  <a:lnTo>
                    <a:pt x="2611" y="2268"/>
                  </a:lnTo>
                  <a:lnTo>
                    <a:pt x="2611" y="2277"/>
                  </a:lnTo>
                  <a:lnTo>
                    <a:pt x="2603" y="2286"/>
                  </a:lnTo>
                  <a:lnTo>
                    <a:pt x="2558" y="2277"/>
                  </a:lnTo>
                  <a:lnTo>
                    <a:pt x="2567" y="2286"/>
                  </a:lnTo>
                  <a:lnTo>
                    <a:pt x="2567" y="2295"/>
                  </a:lnTo>
                  <a:lnTo>
                    <a:pt x="2558" y="2286"/>
                  </a:lnTo>
                  <a:lnTo>
                    <a:pt x="2550" y="2286"/>
                  </a:lnTo>
                  <a:lnTo>
                    <a:pt x="2550" y="2277"/>
                  </a:lnTo>
                  <a:lnTo>
                    <a:pt x="2550" y="2268"/>
                  </a:lnTo>
                  <a:lnTo>
                    <a:pt x="2567" y="2259"/>
                  </a:lnTo>
                  <a:lnTo>
                    <a:pt x="2576" y="2251"/>
                  </a:lnTo>
                  <a:lnTo>
                    <a:pt x="2585" y="2242"/>
                  </a:lnTo>
                  <a:lnTo>
                    <a:pt x="2594" y="2233"/>
                  </a:lnTo>
                  <a:lnTo>
                    <a:pt x="2603" y="2224"/>
                  </a:lnTo>
                  <a:lnTo>
                    <a:pt x="2620" y="2224"/>
                  </a:lnTo>
                  <a:lnTo>
                    <a:pt x="2629" y="2215"/>
                  </a:lnTo>
                  <a:lnTo>
                    <a:pt x="2638" y="2206"/>
                  </a:lnTo>
                  <a:lnTo>
                    <a:pt x="2647" y="2206"/>
                  </a:lnTo>
                  <a:lnTo>
                    <a:pt x="2656" y="2189"/>
                  </a:lnTo>
                  <a:lnTo>
                    <a:pt x="2664" y="2189"/>
                  </a:lnTo>
                  <a:lnTo>
                    <a:pt x="2691" y="2180"/>
                  </a:lnTo>
                  <a:lnTo>
                    <a:pt x="2708" y="2180"/>
                  </a:lnTo>
                  <a:lnTo>
                    <a:pt x="2735" y="2171"/>
                  </a:lnTo>
                  <a:lnTo>
                    <a:pt x="2744" y="2171"/>
                  </a:lnTo>
                  <a:lnTo>
                    <a:pt x="2753" y="2171"/>
                  </a:lnTo>
                  <a:lnTo>
                    <a:pt x="2770" y="2153"/>
                  </a:lnTo>
                  <a:lnTo>
                    <a:pt x="2823" y="2127"/>
                  </a:lnTo>
                  <a:lnTo>
                    <a:pt x="2832" y="2118"/>
                  </a:lnTo>
                  <a:lnTo>
                    <a:pt x="2832" y="2109"/>
                  </a:lnTo>
                  <a:lnTo>
                    <a:pt x="2823" y="2101"/>
                  </a:lnTo>
                  <a:lnTo>
                    <a:pt x="2806" y="2109"/>
                  </a:lnTo>
                  <a:lnTo>
                    <a:pt x="2806" y="2118"/>
                  </a:lnTo>
                  <a:lnTo>
                    <a:pt x="2797" y="2118"/>
                  </a:lnTo>
                  <a:lnTo>
                    <a:pt x="2788" y="2118"/>
                  </a:lnTo>
                  <a:lnTo>
                    <a:pt x="2779" y="2118"/>
                  </a:lnTo>
                  <a:lnTo>
                    <a:pt x="2770" y="2109"/>
                  </a:lnTo>
                  <a:lnTo>
                    <a:pt x="2761" y="2109"/>
                  </a:lnTo>
                  <a:lnTo>
                    <a:pt x="2753" y="2109"/>
                  </a:lnTo>
                  <a:lnTo>
                    <a:pt x="2735" y="2118"/>
                  </a:lnTo>
                  <a:lnTo>
                    <a:pt x="2726" y="2127"/>
                  </a:lnTo>
                  <a:lnTo>
                    <a:pt x="2717" y="2136"/>
                  </a:lnTo>
                  <a:lnTo>
                    <a:pt x="2708" y="2145"/>
                  </a:lnTo>
                  <a:lnTo>
                    <a:pt x="2708" y="2136"/>
                  </a:lnTo>
                  <a:lnTo>
                    <a:pt x="2700" y="2136"/>
                  </a:lnTo>
                  <a:lnTo>
                    <a:pt x="2682" y="2145"/>
                  </a:lnTo>
                  <a:lnTo>
                    <a:pt x="2656" y="2162"/>
                  </a:lnTo>
                  <a:lnTo>
                    <a:pt x="2647" y="2162"/>
                  </a:lnTo>
                  <a:lnTo>
                    <a:pt x="2638" y="2162"/>
                  </a:lnTo>
                  <a:lnTo>
                    <a:pt x="2629" y="2162"/>
                  </a:lnTo>
                  <a:lnTo>
                    <a:pt x="2620" y="2162"/>
                  </a:lnTo>
                  <a:lnTo>
                    <a:pt x="2611" y="2162"/>
                  </a:lnTo>
                  <a:lnTo>
                    <a:pt x="2611" y="2171"/>
                  </a:lnTo>
                  <a:lnTo>
                    <a:pt x="2620" y="2171"/>
                  </a:lnTo>
                  <a:lnTo>
                    <a:pt x="2629" y="2171"/>
                  </a:lnTo>
                  <a:lnTo>
                    <a:pt x="2620" y="2171"/>
                  </a:lnTo>
                  <a:lnTo>
                    <a:pt x="2611" y="2171"/>
                  </a:lnTo>
                  <a:lnTo>
                    <a:pt x="2594" y="2171"/>
                  </a:lnTo>
                  <a:lnTo>
                    <a:pt x="2585" y="2180"/>
                  </a:lnTo>
                  <a:lnTo>
                    <a:pt x="2576" y="2189"/>
                  </a:lnTo>
                  <a:lnTo>
                    <a:pt x="2576" y="2198"/>
                  </a:lnTo>
                  <a:lnTo>
                    <a:pt x="2567" y="2198"/>
                  </a:lnTo>
                  <a:lnTo>
                    <a:pt x="2558" y="2206"/>
                  </a:lnTo>
                  <a:lnTo>
                    <a:pt x="2550" y="2206"/>
                  </a:lnTo>
                  <a:lnTo>
                    <a:pt x="2532" y="2206"/>
                  </a:lnTo>
                  <a:lnTo>
                    <a:pt x="2514" y="2215"/>
                  </a:lnTo>
                  <a:lnTo>
                    <a:pt x="2497" y="2224"/>
                  </a:lnTo>
                  <a:lnTo>
                    <a:pt x="2506" y="2206"/>
                  </a:lnTo>
                  <a:lnTo>
                    <a:pt x="2514" y="2198"/>
                  </a:lnTo>
                  <a:lnTo>
                    <a:pt x="2514" y="2189"/>
                  </a:lnTo>
                  <a:lnTo>
                    <a:pt x="2506" y="2189"/>
                  </a:lnTo>
                  <a:lnTo>
                    <a:pt x="2497" y="2180"/>
                  </a:lnTo>
                  <a:lnTo>
                    <a:pt x="2497" y="2171"/>
                  </a:lnTo>
                  <a:lnTo>
                    <a:pt x="2488" y="2171"/>
                  </a:lnTo>
                  <a:lnTo>
                    <a:pt x="2479" y="2171"/>
                  </a:lnTo>
                  <a:lnTo>
                    <a:pt x="2470" y="2171"/>
                  </a:lnTo>
                  <a:lnTo>
                    <a:pt x="2470" y="2180"/>
                  </a:lnTo>
                  <a:lnTo>
                    <a:pt x="2470" y="2189"/>
                  </a:lnTo>
                  <a:lnTo>
                    <a:pt x="2470" y="2198"/>
                  </a:lnTo>
                  <a:lnTo>
                    <a:pt x="2444" y="2198"/>
                  </a:lnTo>
                  <a:lnTo>
                    <a:pt x="2426" y="2198"/>
                  </a:lnTo>
                  <a:lnTo>
                    <a:pt x="2417" y="2198"/>
                  </a:lnTo>
                  <a:lnTo>
                    <a:pt x="2417" y="2206"/>
                  </a:lnTo>
                  <a:lnTo>
                    <a:pt x="2417" y="2215"/>
                  </a:lnTo>
                  <a:lnTo>
                    <a:pt x="2409" y="2215"/>
                  </a:lnTo>
                  <a:lnTo>
                    <a:pt x="2400" y="2215"/>
                  </a:lnTo>
                  <a:lnTo>
                    <a:pt x="2391" y="2224"/>
                  </a:lnTo>
                  <a:lnTo>
                    <a:pt x="2382" y="2215"/>
                  </a:lnTo>
                  <a:lnTo>
                    <a:pt x="2364" y="2242"/>
                  </a:lnTo>
                  <a:lnTo>
                    <a:pt x="2373" y="2251"/>
                  </a:lnTo>
                  <a:lnTo>
                    <a:pt x="2382" y="2251"/>
                  </a:lnTo>
                  <a:lnTo>
                    <a:pt x="2391" y="2251"/>
                  </a:lnTo>
                  <a:lnTo>
                    <a:pt x="2391" y="2259"/>
                  </a:lnTo>
                  <a:lnTo>
                    <a:pt x="2382" y="2259"/>
                  </a:lnTo>
                  <a:lnTo>
                    <a:pt x="2373" y="2259"/>
                  </a:lnTo>
                  <a:lnTo>
                    <a:pt x="2364" y="2259"/>
                  </a:lnTo>
                  <a:lnTo>
                    <a:pt x="2364" y="2268"/>
                  </a:lnTo>
                  <a:lnTo>
                    <a:pt x="2373" y="2268"/>
                  </a:lnTo>
                  <a:lnTo>
                    <a:pt x="2391" y="2268"/>
                  </a:lnTo>
                  <a:lnTo>
                    <a:pt x="2400" y="2277"/>
                  </a:lnTo>
                  <a:lnTo>
                    <a:pt x="2417" y="2295"/>
                  </a:lnTo>
                  <a:lnTo>
                    <a:pt x="2409" y="2295"/>
                  </a:lnTo>
                  <a:lnTo>
                    <a:pt x="2373" y="2277"/>
                  </a:lnTo>
                  <a:lnTo>
                    <a:pt x="2356" y="2277"/>
                  </a:lnTo>
                  <a:lnTo>
                    <a:pt x="2320" y="2268"/>
                  </a:lnTo>
                  <a:lnTo>
                    <a:pt x="2311" y="2268"/>
                  </a:lnTo>
                  <a:lnTo>
                    <a:pt x="2285" y="2268"/>
                  </a:lnTo>
                  <a:lnTo>
                    <a:pt x="2267" y="2259"/>
                  </a:lnTo>
                  <a:lnTo>
                    <a:pt x="2223" y="2242"/>
                  </a:lnTo>
                  <a:lnTo>
                    <a:pt x="2206" y="2242"/>
                  </a:lnTo>
                  <a:lnTo>
                    <a:pt x="2188" y="2233"/>
                  </a:lnTo>
                  <a:lnTo>
                    <a:pt x="2161" y="2215"/>
                  </a:lnTo>
                  <a:lnTo>
                    <a:pt x="2126" y="2189"/>
                  </a:lnTo>
                  <a:lnTo>
                    <a:pt x="2064" y="2180"/>
                  </a:lnTo>
                  <a:lnTo>
                    <a:pt x="2038" y="2180"/>
                  </a:lnTo>
                  <a:lnTo>
                    <a:pt x="2003" y="2171"/>
                  </a:lnTo>
                  <a:lnTo>
                    <a:pt x="1994" y="2171"/>
                  </a:lnTo>
                  <a:lnTo>
                    <a:pt x="1985" y="2171"/>
                  </a:lnTo>
                  <a:lnTo>
                    <a:pt x="1967" y="2171"/>
                  </a:lnTo>
                  <a:lnTo>
                    <a:pt x="1959" y="2171"/>
                  </a:lnTo>
                  <a:lnTo>
                    <a:pt x="1959" y="2162"/>
                  </a:lnTo>
                  <a:lnTo>
                    <a:pt x="1941" y="2153"/>
                  </a:lnTo>
                  <a:lnTo>
                    <a:pt x="1897" y="2145"/>
                  </a:lnTo>
                  <a:lnTo>
                    <a:pt x="1888" y="2136"/>
                  </a:lnTo>
                  <a:lnTo>
                    <a:pt x="1870" y="2127"/>
                  </a:lnTo>
                  <a:lnTo>
                    <a:pt x="1826" y="2109"/>
                  </a:lnTo>
                  <a:lnTo>
                    <a:pt x="1826" y="2118"/>
                  </a:lnTo>
                  <a:lnTo>
                    <a:pt x="1817" y="2118"/>
                  </a:lnTo>
                  <a:lnTo>
                    <a:pt x="1809" y="2118"/>
                  </a:lnTo>
                  <a:lnTo>
                    <a:pt x="1791" y="2109"/>
                  </a:lnTo>
                  <a:lnTo>
                    <a:pt x="1764" y="2118"/>
                  </a:lnTo>
                  <a:lnTo>
                    <a:pt x="1738" y="2118"/>
                  </a:lnTo>
                  <a:lnTo>
                    <a:pt x="1729" y="2127"/>
                  </a:lnTo>
                  <a:lnTo>
                    <a:pt x="1685" y="2127"/>
                  </a:lnTo>
                  <a:lnTo>
                    <a:pt x="1667" y="2118"/>
                  </a:lnTo>
                  <a:lnTo>
                    <a:pt x="1641" y="2109"/>
                  </a:lnTo>
                  <a:lnTo>
                    <a:pt x="1623" y="2109"/>
                  </a:lnTo>
                  <a:lnTo>
                    <a:pt x="1606" y="2101"/>
                  </a:lnTo>
                  <a:lnTo>
                    <a:pt x="1570" y="2101"/>
                  </a:lnTo>
                  <a:lnTo>
                    <a:pt x="1544" y="2101"/>
                  </a:lnTo>
                  <a:lnTo>
                    <a:pt x="1500" y="2101"/>
                  </a:lnTo>
                  <a:lnTo>
                    <a:pt x="1491" y="2092"/>
                  </a:lnTo>
                  <a:lnTo>
                    <a:pt x="1491" y="2083"/>
                  </a:lnTo>
                  <a:lnTo>
                    <a:pt x="1473" y="2083"/>
                  </a:lnTo>
                  <a:lnTo>
                    <a:pt x="1465" y="2083"/>
                  </a:lnTo>
                  <a:lnTo>
                    <a:pt x="1456" y="2083"/>
                  </a:lnTo>
                  <a:lnTo>
                    <a:pt x="1447" y="2083"/>
                  </a:lnTo>
                  <a:lnTo>
                    <a:pt x="1429" y="2074"/>
                  </a:lnTo>
                  <a:lnTo>
                    <a:pt x="1420" y="2074"/>
                  </a:lnTo>
                  <a:lnTo>
                    <a:pt x="1385" y="2065"/>
                  </a:lnTo>
                  <a:lnTo>
                    <a:pt x="1376" y="2065"/>
                  </a:lnTo>
                  <a:lnTo>
                    <a:pt x="1367" y="2056"/>
                  </a:lnTo>
                  <a:lnTo>
                    <a:pt x="1341" y="2056"/>
                  </a:lnTo>
                  <a:lnTo>
                    <a:pt x="1323" y="2065"/>
                  </a:lnTo>
                  <a:lnTo>
                    <a:pt x="1315" y="2074"/>
                  </a:lnTo>
                  <a:lnTo>
                    <a:pt x="1306" y="2065"/>
                  </a:lnTo>
                  <a:lnTo>
                    <a:pt x="1288" y="2065"/>
                  </a:lnTo>
                  <a:lnTo>
                    <a:pt x="1279" y="2056"/>
                  </a:lnTo>
                  <a:lnTo>
                    <a:pt x="1262" y="2065"/>
                  </a:lnTo>
                  <a:lnTo>
                    <a:pt x="1253" y="2065"/>
                  </a:lnTo>
                  <a:lnTo>
                    <a:pt x="1244" y="2074"/>
                  </a:lnTo>
                  <a:lnTo>
                    <a:pt x="1191" y="2065"/>
                  </a:lnTo>
                  <a:lnTo>
                    <a:pt x="1200" y="2056"/>
                  </a:lnTo>
                  <a:lnTo>
                    <a:pt x="1173" y="2056"/>
                  </a:lnTo>
                  <a:lnTo>
                    <a:pt x="1165" y="2048"/>
                  </a:lnTo>
                  <a:lnTo>
                    <a:pt x="1156" y="2048"/>
                  </a:lnTo>
                  <a:lnTo>
                    <a:pt x="1147" y="2039"/>
                  </a:lnTo>
                  <a:lnTo>
                    <a:pt x="1156" y="2030"/>
                  </a:lnTo>
                  <a:lnTo>
                    <a:pt x="1165" y="2021"/>
                  </a:lnTo>
                  <a:lnTo>
                    <a:pt x="1165" y="2012"/>
                  </a:lnTo>
                  <a:lnTo>
                    <a:pt x="1147" y="2012"/>
                  </a:lnTo>
                  <a:lnTo>
                    <a:pt x="1138" y="2012"/>
                  </a:lnTo>
                  <a:lnTo>
                    <a:pt x="1129" y="2012"/>
                  </a:lnTo>
                  <a:lnTo>
                    <a:pt x="1094" y="2003"/>
                  </a:lnTo>
                  <a:lnTo>
                    <a:pt x="1076" y="2012"/>
                  </a:lnTo>
                  <a:lnTo>
                    <a:pt x="1059" y="2012"/>
                  </a:lnTo>
                  <a:lnTo>
                    <a:pt x="1041" y="2012"/>
                  </a:lnTo>
                  <a:lnTo>
                    <a:pt x="1023" y="2021"/>
                  </a:lnTo>
                  <a:lnTo>
                    <a:pt x="1006" y="2012"/>
                  </a:lnTo>
                  <a:lnTo>
                    <a:pt x="997" y="2012"/>
                  </a:lnTo>
                  <a:lnTo>
                    <a:pt x="979" y="2012"/>
                  </a:lnTo>
                  <a:lnTo>
                    <a:pt x="988" y="2003"/>
                  </a:lnTo>
                  <a:lnTo>
                    <a:pt x="988" y="1995"/>
                  </a:lnTo>
                  <a:lnTo>
                    <a:pt x="979" y="1986"/>
                  </a:lnTo>
                  <a:lnTo>
                    <a:pt x="970" y="1986"/>
                  </a:lnTo>
                  <a:lnTo>
                    <a:pt x="953" y="1977"/>
                  </a:lnTo>
                  <a:lnTo>
                    <a:pt x="944" y="1986"/>
                  </a:lnTo>
                  <a:lnTo>
                    <a:pt x="944" y="1995"/>
                  </a:lnTo>
                  <a:lnTo>
                    <a:pt x="918" y="2012"/>
                  </a:lnTo>
                  <a:lnTo>
                    <a:pt x="909" y="2012"/>
                  </a:lnTo>
                  <a:lnTo>
                    <a:pt x="900" y="2012"/>
                  </a:lnTo>
                  <a:lnTo>
                    <a:pt x="891" y="2012"/>
                  </a:lnTo>
                  <a:lnTo>
                    <a:pt x="891" y="2003"/>
                  </a:lnTo>
                  <a:lnTo>
                    <a:pt x="882" y="2003"/>
                  </a:lnTo>
                  <a:lnTo>
                    <a:pt x="909" y="1995"/>
                  </a:lnTo>
                  <a:lnTo>
                    <a:pt x="918" y="1986"/>
                  </a:lnTo>
                  <a:lnTo>
                    <a:pt x="918" y="1977"/>
                  </a:lnTo>
                  <a:lnTo>
                    <a:pt x="918" y="1968"/>
                  </a:lnTo>
                  <a:lnTo>
                    <a:pt x="900" y="1968"/>
                  </a:lnTo>
                  <a:lnTo>
                    <a:pt x="856" y="1950"/>
                  </a:lnTo>
                  <a:lnTo>
                    <a:pt x="847" y="1950"/>
                  </a:lnTo>
                  <a:lnTo>
                    <a:pt x="856" y="1942"/>
                  </a:lnTo>
                  <a:lnTo>
                    <a:pt x="865" y="1942"/>
                  </a:lnTo>
                  <a:lnTo>
                    <a:pt x="856" y="1942"/>
                  </a:lnTo>
                  <a:lnTo>
                    <a:pt x="829" y="1950"/>
                  </a:lnTo>
                  <a:lnTo>
                    <a:pt x="820" y="1959"/>
                  </a:lnTo>
                  <a:lnTo>
                    <a:pt x="803" y="1986"/>
                  </a:lnTo>
                  <a:lnTo>
                    <a:pt x="794" y="1986"/>
                  </a:lnTo>
                  <a:lnTo>
                    <a:pt x="776" y="2003"/>
                  </a:lnTo>
                  <a:lnTo>
                    <a:pt x="750" y="2012"/>
                  </a:lnTo>
                  <a:lnTo>
                    <a:pt x="741" y="2012"/>
                  </a:lnTo>
                  <a:lnTo>
                    <a:pt x="706" y="2012"/>
                  </a:lnTo>
                  <a:lnTo>
                    <a:pt x="706" y="2021"/>
                  </a:lnTo>
                  <a:lnTo>
                    <a:pt x="697" y="2021"/>
                  </a:lnTo>
                  <a:lnTo>
                    <a:pt x="671" y="2021"/>
                  </a:lnTo>
                  <a:lnTo>
                    <a:pt x="662" y="2021"/>
                  </a:lnTo>
                  <a:lnTo>
                    <a:pt x="653" y="2030"/>
                  </a:lnTo>
                  <a:lnTo>
                    <a:pt x="644" y="2030"/>
                  </a:lnTo>
                  <a:lnTo>
                    <a:pt x="644" y="2021"/>
                  </a:lnTo>
                  <a:lnTo>
                    <a:pt x="653" y="2021"/>
                  </a:lnTo>
                  <a:lnTo>
                    <a:pt x="653" y="2012"/>
                  </a:lnTo>
                  <a:lnTo>
                    <a:pt x="644" y="2012"/>
                  </a:lnTo>
                  <a:lnTo>
                    <a:pt x="618" y="2021"/>
                  </a:lnTo>
                  <a:lnTo>
                    <a:pt x="591" y="2039"/>
                  </a:lnTo>
                  <a:lnTo>
                    <a:pt x="600" y="2039"/>
                  </a:lnTo>
                  <a:lnTo>
                    <a:pt x="618" y="2056"/>
                  </a:lnTo>
                  <a:lnTo>
                    <a:pt x="644" y="2056"/>
                  </a:lnTo>
                  <a:lnTo>
                    <a:pt x="618" y="2065"/>
                  </a:lnTo>
                  <a:lnTo>
                    <a:pt x="609" y="2065"/>
                  </a:lnTo>
                  <a:lnTo>
                    <a:pt x="609" y="2074"/>
                  </a:lnTo>
                  <a:lnTo>
                    <a:pt x="609" y="2083"/>
                  </a:lnTo>
                  <a:lnTo>
                    <a:pt x="609" y="2092"/>
                  </a:lnTo>
                  <a:lnTo>
                    <a:pt x="600" y="2083"/>
                  </a:lnTo>
                  <a:lnTo>
                    <a:pt x="591" y="2083"/>
                  </a:lnTo>
                  <a:lnTo>
                    <a:pt x="600" y="2065"/>
                  </a:lnTo>
                  <a:lnTo>
                    <a:pt x="591" y="2065"/>
                  </a:lnTo>
                  <a:lnTo>
                    <a:pt x="600" y="2048"/>
                  </a:lnTo>
                  <a:lnTo>
                    <a:pt x="591" y="2048"/>
                  </a:lnTo>
                  <a:lnTo>
                    <a:pt x="547" y="2065"/>
                  </a:lnTo>
                  <a:lnTo>
                    <a:pt x="547" y="2074"/>
                  </a:lnTo>
                  <a:lnTo>
                    <a:pt x="521" y="2083"/>
                  </a:lnTo>
                  <a:lnTo>
                    <a:pt x="476" y="2101"/>
                  </a:lnTo>
                  <a:lnTo>
                    <a:pt x="468" y="2101"/>
                  </a:lnTo>
                  <a:lnTo>
                    <a:pt x="450" y="2109"/>
                  </a:lnTo>
                  <a:lnTo>
                    <a:pt x="441" y="2109"/>
                  </a:lnTo>
                  <a:lnTo>
                    <a:pt x="450" y="2101"/>
                  </a:lnTo>
                  <a:lnTo>
                    <a:pt x="459" y="2101"/>
                  </a:lnTo>
                  <a:lnTo>
                    <a:pt x="459" y="2092"/>
                  </a:lnTo>
                  <a:lnTo>
                    <a:pt x="468" y="2092"/>
                  </a:lnTo>
                  <a:lnTo>
                    <a:pt x="459" y="2092"/>
                  </a:lnTo>
                  <a:lnTo>
                    <a:pt x="459" y="2083"/>
                  </a:lnTo>
                  <a:lnTo>
                    <a:pt x="450" y="2092"/>
                  </a:lnTo>
                  <a:lnTo>
                    <a:pt x="441" y="2101"/>
                  </a:lnTo>
                  <a:lnTo>
                    <a:pt x="423" y="2118"/>
                  </a:lnTo>
                  <a:lnTo>
                    <a:pt x="379" y="2162"/>
                  </a:lnTo>
                  <a:lnTo>
                    <a:pt x="371" y="2180"/>
                  </a:lnTo>
                  <a:lnTo>
                    <a:pt x="362" y="2198"/>
                  </a:lnTo>
                  <a:lnTo>
                    <a:pt x="362" y="2206"/>
                  </a:lnTo>
                  <a:lnTo>
                    <a:pt x="362" y="2215"/>
                  </a:lnTo>
                  <a:lnTo>
                    <a:pt x="335" y="2233"/>
                  </a:lnTo>
                  <a:lnTo>
                    <a:pt x="309" y="2251"/>
                  </a:lnTo>
                  <a:lnTo>
                    <a:pt x="291" y="2259"/>
                  </a:lnTo>
                  <a:lnTo>
                    <a:pt x="282" y="2268"/>
                  </a:lnTo>
                  <a:lnTo>
                    <a:pt x="238" y="2268"/>
                  </a:lnTo>
                  <a:lnTo>
                    <a:pt x="229" y="2277"/>
                  </a:lnTo>
                  <a:lnTo>
                    <a:pt x="194" y="2277"/>
                  </a:lnTo>
                  <a:lnTo>
                    <a:pt x="141" y="2268"/>
                  </a:lnTo>
                  <a:lnTo>
                    <a:pt x="141" y="2286"/>
                  </a:lnTo>
                  <a:lnTo>
                    <a:pt x="132" y="2312"/>
                  </a:lnTo>
                  <a:lnTo>
                    <a:pt x="124" y="2330"/>
                  </a:lnTo>
                  <a:lnTo>
                    <a:pt x="124" y="2339"/>
                  </a:lnTo>
                  <a:lnTo>
                    <a:pt x="115" y="2339"/>
                  </a:lnTo>
                  <a:lnTo>
                    <a:pt x="106" y="2339"/>
                  </a:lnTo>
                  <a:lnTo>
                    <a:pt x="115" y="2330"/>
                  </a:lnTo>
                  <a:lnTo>
                    <a:pt x="106" y="2330"/>
                  </a:lnTo>
                  <a:lnTo>
                    <a:pt x="97" y="2339"/>
                  </a:lnTo>
                  <a:lnTo>
                    <a:pt x="115" y="2348"/>
                  </a:lnTo>
                  <a:lnTo>
                    <a:pt x="124" y="2348"/>
                  </a:lnTo>
                  <a:lnTo>
                    <a:pt x="141" y="2348"/>
                  </a:lnTo>
                  <a:lnTo>
                    <a:pt x="159" y="2365"/>
                  </a:lnTo>
                  <a:lnTo>
                    <a:pt x="203" y="2383"/>
                  </a:lnTo>
                  <a:lnTo>
                    <a:pt x="291" y="2436"/>
                  </a:lnTo>
                  <a:lnTo>
                    <a:pt x="309" y="2454"/>
                  </a:lnTo>
                  <a:lnTo>
                    <a:pt x="318" y="2480"/>
                  </a:lnTo>
                  <a:lnTo>
                    <a:pt x="326" y="2489"/>
                  </a:lnTo>
                  <a:lnTo>
                    <a:pt x="335" y="2498"/>
                  </a:lnTo>
                  <a:lnTo>
                    <a:pt x="379" y="2506"/>
                  </a:lnTo>
                  <a:lnTo>
                    <a:pt x="397" y="2506"/>
                  </a:lnTo>
                  <a:lnTo>
                    <a:pt x="406" y="2506"/>
                  </a:lnTo>
                  <a:lnTo>
                    <a:pt x="423" y="2498"/>
                  </a:lnTo>
                  <a:lnTo>
                    <a:pt x="415" y="2506"/>
                  </a:lnTo>
                  <a:lnTo>
                    <a:pt x="423" y="2506"/>
                  </a:lnTo>
                  <a:lnTo>
                    <a:pt x="450" y="2506"/>
                  </a:lnTo>
                  <a:lnTo>
                    <a:pt x="468" y="2506"/>
                  </a:lnTo>
                  <a:lnTo>
                    <a:pt x="476" y="2515"/>
                  </a:lnTo>
                  <a:lnTo>
                    <a:pt x="468" y="2524"/>
                  </a:lnTo>
                  <a:lnTo>
                    <a:pt x="459" y="2533"/>
                  </a:lnTo>
                  <a:lnTo>
                    <a:pt x="459" y="2551"/>
                  </a:lnTo>
                  <a:lnTo>
                    <a:pt x="476" y="2551"/>
                  </a:lnTo>
                  <a:lnTo>
                    <a:pt x="476" y="2559"/>
                  </a:lnTo>
                  <a:lnTo>
                    <a:pt x="494" y="2568"/>
                  </a:lnTo>
                  <a:lnTo>
                    <a:pt x="521" y="2551"/>
                  </a:lnTo>
                  <a:lnTo>
                    <a:pt x="529" y="2551"/>
                  </a:lnTo>
                  <a:lnTo>
                    <a:pt x="547" y="2559"/>
                  </a:lnTo>
                  <a:lnTo>
                    <a:pt x="573" y="2559"/>
                  </a:lnTo>
                  <a:lnTo>
                    <a:pt x="582" y="2568"/>
                  </a:lnTo>
                  <a:lnTo>
                    <a:pt x="582" y="2586"/>
                  </a:lnTo>
                  <a:lnTo>
                    <a:pt x="547" y="2586"/>
                  </a:lnTo>
                  <a:lnTo>
                    <a:pt x="538" y="2586"/>
                  </a:lnTo>
                  <a:lnTo>
                    <a:pt x="521" y="2577"/>
                  </a:lnTo>
                  <a:lnTo>
                    <a:pt x="512" y="2577"/>
                  </a:lnTo>
                  <a:lnTo>
                    <a:pt x="494" y="2577"/>
                  </a:lnTo>
                  <a:lnTo>
                    <a:pt x="476" y="2577"/>
                  </a:lnTo>
                  <a:lnTo>
                    <a:pt x="459" y="2568"/>
                  </a:lnTo>
                  <a:lnTo>
                    <a:pt x="441" y="2551"/>
                  </a:lnTo>
                  <a:lnTo>
                    <a:pt x="450" y="2542"/>
                  </a:lnTo>
                  <a:lnTo>
                    <a:pt x="441" y="2533"/>
                  </a:lnTo>
                  <a:lnTo>
                    <a:pt x="432" y="2524"/>
                  </a:lnTo>
                  <a:lnTo>
                    <a:pt x="423" y="2515"/>
                  </a:lnTo>
                  <a:lnTo>
                    <a:pt x="415" y="2515"/>
                  </a:lnTo>
                  <a:lnTo>
                    <a:pt x="406" y="2524"/>
                  </a:lnTo>
                  <a:lnTo>
                    <a:pt x="406" y="2533"/>
                  </a:lnTo>
                  <a:lnTo>
                    <a:pt x="415" y="2542"/>
                  </a:lnTo>
                  <a:lnTo>
                    <a:pt x="423" y="2542"/>
                  </a:lnTo>
                  <a:lnTo>
                    <a:pt x="432" y="2551"/>
                  </a:lnTo>
                  <a:lnTo>
                    <a:pt x="459" y="2577"/>
                  </a:lnTo>
                  <a:lnTo>
                    <a:pt x="459" y="2586"/>
                  </a:lnTo>
                  <a:lnTo>
                    <a:pt x="485" y="2586"/>
                  </a:lnTo>
                  <a:lnTo>
                    <a:pt x="512" y="2595"/>
                  </a:lnTo>
                  <a:lnTo>
                    <a:pt x="521" y="2595"/>
                  </a:lnTo>
                  <a:lnTo>
                    <a:pt x="521" y="2612"/>
                  </a:lnTo>
                  <a:lnTo>
                    <a:pt x="512" y="2604"/>
                  </a:lnTo>
                  <a:lnTo>
                    <a:pt x="494" y="2604"/>
                  </a:lnTo>
                  <a:lnTo>
                    <a:pt x="485" y="2604"/>
                  </a:lnTo>
                  <a:lnTo>
                    <a:pt x="459" y="2630"/>
                  </a:lnTo>
                  <a:lnTo>
                    <a:pt x="450" y="2630"/>
                  </a:lnTo>
                  <a:lnTo>
                    <a:pt x="432" y="2621"/>
                  </a:lnTo>
                  <a:lnTo>
                    <a:pt x="406" y="2630"/>
                  </a:lnTo>
                  <a:lnTo>
                    <a:pt x="397" y="2630"/>
                  </a:lnTo>
                  <a:lnTo>
                    <a:pt x="388" y="2621"/>
                  </a:lnTo>
                  <a:lnTo>
                    <a:pt x="362" y="2621"/>
                  </a:lnTo>
                  <a:lnTo>
                    <a:pt x="326" y="2621"/>
                  </a:lnTo>
                  <a:lnTo>
                    <a:pt x="300" y="2604"/>
                  </a:lnTo>
                  <a:lnTo>
                    <a:pt x="309" y="2604"/>
                  </a:lnTo>
                  <a:lnTo>
                    <a:pt x="309" y="2595"/>
                  </a:lnTo>
                  <a:lnTo>
                    <a:pt x="309" y="2586"/>
                  </a:lnTo>
                  <a:lnTo>
                    <a:pt x="318" y="2577"/>
                  </a:lnTo>
                  <a:lnTo>
                    <a:pt x="318" y="2568"/>
                  </a:lnTo>
                  <a:lnTo>
                    <a:pt x="309" y="2559"/>
                  </a:lnTo>
                  <a:lnTo>
                    <a:pt x="318" y="2559"/>
                  </a:lnTo>
                  <a:lnTo>
                    <a:pt x="326" y="2559"/>
                  </a:lnTo>
                  <a:lnTo>
                    <a:pt x="300" y="2559"/>
                  </a:lnTo>
                  <a:lnTo>
                    <a:pt x="265" y="2559"/>
                  </a:lnTo>
                  <a:lnTo>
                    <a:pt x="256" y="2568"/>
                  </a:lnTo>
                  <a:lnTo>
                    <a:pt x="221" y="2577"/>
                  </a:lnTo>
                  <a:lnTo>
                    <a:pt x="212" y="2577"/>
                  </a:lnTo>
                  <a:lnTo>
                    <a:pt x="194" y="2586"/>
                  </a:lnTo>
                  <a:lnTo>
                    <a:pt x="168" y="2595"/>
                  </a:lnTo>
                  <a:lnTo>
                    <a:pt x="168" y="2604"/>
                  </a:lnTo>
                  <a:lnTo>
                    <a:pt x="185" y="2612"/>
                  </a:lnTo>
                  <a:lnTo>
                    <a:pt x="185" y="2621"/>
                  </a:lnTo>
                  <a:lnTo>
                    <a:pt x="176" y="2621"/>
                  </a:lnTo>
                  <a:lnTo>
                    <a:pt x="159" y="2621"/>
                  </a:lnTo>
                  <a:lnTo>
                    <a:pt x="150" y="2621"/>
                  </a:lnTo>
                  <a:lnTo>
                    <a:pt x="141" y="2612"/>
                  </a:lnTo>
                  <a:lnTo>
                    <a:pt x="124" y="2612"/>
                  </a:lnTo>
                  <a:lnTo>
                    <a:pt x="115" y="2621"/>
                  </a:lnTo>
                  <a:lnTo>
                    <a:pt x="97" y="2630"/>
                  </a:lnTo>
                  <a:lnTo>
                    <a:pt x="88" y="2639"/>
                  </a:lnTo>
                  <a:lnTo>
                    <a:pt x="79" y="2648"/>
                  </a:lnTo>
                  <a:lnTo>
                    <a:pt x="53" y="2648"/>
                  </a:lnTo>
                  <a:lnTo>
                    <a:pt x="35" y="2665"/>
                  </a:lnTo>
                  <a:lnTo>
                    <a:pt x="18" y="2674"/>
                  </a:lnTo>
                  <a:lnTo>
                    <a:pt x="18" y="2665"/>
                  </a:lnTo>
                  <a:lnTo>
                    <a:pt x="9" y="2665"/>
                  </a:lnTo>
                  <a:lnTo>
                    <a:pt x="0" y="2674"/>
                  </a:lnTo>
                  <a:lnTo>
                    <a:pt x="9" y="2683"/>
                  </a:lnTo>
                  <a:lnTo>
                    <a:pt x="53" y="2701"/>
                  </a:lnTo>
                  <a:lnTo>
                    <a:pt x="106" y="2718"/>
                  </a:lnTo>
                  <a:lnTo>
                    <a:pt x="115" y="2709"/>
                  </a:lnTo>
                  <a:lnTo>
                    <a:pt x="141" y="2718"/>
                  </a:lnTo>
                  <a:lnTo>
                    <a:pt x="150" y="2727"/>
                  </a:lnTo>
                  <a:lnTo>
                    <a:pt x="132" y="2718"/>
                  </a:lnTo>
                  <a:lnTo>
                    <a:pt x="124" y="2727"/>
                  </a:lnTo>
                  <a:lnTo>
                    <a:pt x="115" y="2736"/>
                  </a:lnTo>
                  <a:lnTo>
                    <a:pt x="97" y="2736"/>
                  </a:lnTo>
                  <a:lnTo>
                    <a:pt x="88" y="2736"/>
                  </a:lnTo>
                  <a:lnTo>
                    <a:pt x="97" y="2745"/>
                  </a:lnTo>
                  <a:lnTo>
                    <a:pt x="115" y="2762"/>
                  </a:lnTo>
                  <a:lnTo>
                    <a:pt x="124" y="2762"/>
                  </a:lnTo>
                  <a:lnTo>
                    <a:pt x="124" y="2771"/>
                  </a:lnTo>
                  <a:lnTo>
                    <a:pt x="124" y="2780"/>
                  </a:lnTo>
                  <a:lnTo>
                    <a:pt x="124" y="2789"/>
                  </a:lnTo>
                  <a:lnTo>
                    <a:pt x="132" y="2798"/>
                  </a:lnTo>
                  <a:lnTo>
                    <a:pt x="141" y="2807"/>
                  </a:lnTo>
                  <a:lnTo>
                    <a:pt x="194" y="2815"/>
                  </a:lnTo>
                  <a:lnTo>
                    <a:pt x="221" y="2815"/>
                  </a:lnTo>
                  <a:lnTo>
                    <a:pt x="229" y="2815"/>
                  </a:lnTo>
                  <a:lnTo>
                    <a:pt x="238" y="2815"/>
                  </a:lnTo>
                  <a:lnTo>
                    <a:pt x="247" y="2807"/>
                  </a:lnTo>
                  <a:lnTo>
                    <a:pt x="247" y="2815"/>
                  </a:lnTo>
                  <a:lnTo>
                    <a:pt x="282" y="2807"/>
                  </a:lnTo>
                  <a:lnTo>
                    <a:pt x="326" y="2807"/>
                  </a:lnTo>
                  <a:lnTo>
                    <a:pt x="344" y="2807"/>
                  </a:lnTo>
                  <a:lnTo>
                    <a:pt x="353" y="2815"/>
                  </a:lnTo>
                  <a:lnTo>
                    <a:pt x="362" y="2824"/>
                  </a:lnTo>
                  <a:lnTo>
                    <a:pt x="371" y="2815"/>
                  </a:lnTo>
                  <a:lnTo>
                    <a:pt x="362" y="2807"/>
                  </a:lnTo>
                  <a:lnTo>
                    <a:pt x="353" y="2798"/>
                  </a:lnTo>
                  <a:lnTo>
                    <a:pt x="362" y="2798"/>
                  </a:lnTo>
                  <a:lnTo>
                    <a:pt x="388" y="2815"/>
                  </a:lnTo>
                  <a:lnTo>
                    <a:pt x="388" y="2833"/>
                  </a:lnTo>
                  <a:lnTo>
                    <a:pt x="397" y="2833"/>
                  </a:lnTo>
                  <a:lnTo>
                    <a:pt x="406" y="2824"/>
                  </a:lnTo>
                  <a:lnTo>
                    <a:pt x="423" y="2798"/>
                  </a:lnTo>
                  <a:lnTo>
                    <a:pt x="432" y="2789"/>
                  </a:lnTo>
                  <a:lnTo>
                    <a:pt x="459" y="2789"/>
                  </a:lnTo>
                  <a:lnTo>
                    <a:pt x="468" y="2780"/>
                  </a:lnTo>
                  <a:lnTo>
                    <a:pt x="476" y="2780"/>
                  </a:lnTo>
                  <a:lnTo>
                    <a:pt x="485" y="2780"/>
                  </a:lnTo>
                  <a:lnTo>
                    <a:pt x="512" y="2762"/>
                  </a:lnTo>
                  <a:lnTo>
                    <a:pt x="521" y="2762"/>
                  </a:lnTo>
                  <a:lnTo>
                    <a:pt x="529" y="2771"/>
                  </a:lnTo>
                  <a:lnTo>
                    <a:pt x="529" y="2780"/>
                  </a:lnTo>
                  <a:lnTo>
                    <a:pt x="538" y="2789"/>
                  </a:lnTo>
                  <a:lnTo>
                    <a:pt x="529" y="2798"/>
                  </a:lnTo>
                  <a:lnTo>
                    <a:pt x="529" y="2807"/>
                  </a:lnTo>
                  <a:lnTo>
                    <a:pt x="521" y="2807"/>
                  </a:lnTo>
                  <a:lnTo>
                    <a:pt x="512" y="2815"/>
                  </a:lnTo>
                  <a:lnTo>
                    <a:pt x="494" y="2815"/>
                  </a:lnTo>
                  <a:lnTo>
                    <a:pt x="485" y="2824"/>
                  </a:lnTo>
                  <a:lnTo>
                    <a:pt x="494" y="2824"/>
                  </a:lnTo>
                  <a:lnTo>
                    <a:pt x="503" y="2824"/>
                  </a:lnTo>
                  <a:lnTo>
                    <a:pt x="521" y="2842"/>
                  </a:lnTo>
                  <a:lnTo>
                    <a:pt x="529" y="2868"/>
                  </a:lnTo>
                  <a:lnTo>
                    <a:pt x="538" y="2877"/>
                  </a:lnTo>
                  <a:lnTo>
                    <a:pt x="538" y="2895"/>
                  </a:lnTo>
                  <a:lnTo>
                    <a:pt x="538" y="2904"/>
                  </a:lnTo>
                  <a:lnTo>
                    <a:pt x="529" y="2912"/>
                  </a:lnTo>
                  <a:lnTo>
                    <a:pt x="512" y="2921"/>
                  </a:lnTo>
                  <a:lnTo>
                    <a:pt x="503" y="2930"/>
                  </a:lnTo>
                  <a:lnTo>
                    <a:pt x="485" y="2939"/>
                  </a:lnTo>
                  <a:lnTo>
                    <a:pt x="450" y="2939"/>
                  </a:lnTo>
                  <a:lnTo>
                    <a:pt x="441" y="2939"/>
                  </a:lnTo>
                  <a:lnTo>
                    <a:pt x="441" y="2930"/>
                  </a:lnTo>
                  <a:lnTo>
                    <a:pt x="432" y="2930"/>
                  </a:lnTo>
                  <a:lnTo>
                    <a:pt x="423" y="2939"/>
                  </a:lnTo>
                  <a:lnTo>
                    <a:pt x="406" y="2957"/>
                  </a:lnTo>
                  <a:lnTo>
                    <a:pt x="388" y="2965"/>
                  </a:lnTo>
                  <a:lnTo>
                    <a:pt x="379" y="2974"/>
                  </a:lnTo>
                  <a:lnTo>
                    <a:pt x="371" y="2983"/>
                  </a:lnTo>
                  <a:lnTo>
                    <a:pt x="353" y="2983"/>
                  </a:lnTo>
                  <a:lnTo>
                    <a:pt x="344" y="2983"/>
                  </a:lnTo>
                  <a:lnTo>
                    <a:pt x="335" y="2974"/>
                  </a:lnTo>
                  <a:lnTo>
                    <a:pt x="326" y="2983"/>
                  </a:lnTo>
                  <a:lnTo>
                    <a:pt x="318" y="2992"/>
                  </a:lnTo>
                  <a:lnTo>
                    <a:pt x="318" y="2983"/>
                  </a:lnTo>
                  <a:lnTo>
                    <a:pt x="326" y="2983"/>
                  </a:lnTo>
                  <a:lnTo>
                    <a:pt x="326" y="2974"/>
                  </a:lnTo>
                  <a:lnTo>
                    <a:pt x="318" y="2965"/>
                  </a:lnTo>
                  <a:lnTo>
                    <a:pt x="309" y="2965"/>
                  </a:lnTo>
                  <a:lnTo>
                    <a:pt x="291" y="2957"/>
                  </a:lnTo>
                  <a:lnTo>
                    <a:pt x="273" y="2965"/>
                  </a:lnTo>
                  <a:lnTo>
                    <a:pt x="265" y="2965"/>
                  </a:lnTo>
                  <a:lnTo>
                    <a:pt x="265" y="2974"/>
                  </a:lnTo>
                  <a:lnTo>
                    <a:pt x="273" y="2983"/>
                  </a:lnTo>
                  <a:lnTo>
                    <a:pt x="256" y="2983"/>
                  </a:lnTo>
                  <a:lnTo>
                    <a:pt x="247" y="2992"/>
                  </a:lnTo>
                  <a:lnTo>
                    <a:pt x="247" y="3001"/>
                  </a:lnTo>
                  <a:lnTo>
                    <a:pt x="238" y="3010"/>
                  </a:lnTo>
                  <a:lnTo>
                    <a:pt x="238" y="3027"/>
                  </a:lnTo>
                  <a:lnTo>
                    <a:pt x="247" y="3036"/>
                  </a:lnTo>
                  <a:lnTo>
                    <a:pt x="256" y="3027"/>
                  </a:lnTo>
                  <a:lnTo>
                    <a:pt x="256" y="3036"/>
                  </a:lnTo>
                  <a:lnTo>
                    <a:pt x="238" y="3036"/>
                  </a:lnTo>
                  <a:lnTo>
                    <a:pt x="247" y="3045"/>
                  </a:lnTo>
                  <a:lnTo>
                    <a:pt x="247" y="3054"/>
                  </a:lnTo>
                  <a:lnTo>
                    <a:pt x="238" y="3045"/>
                  </a:lnTo>
                  <a:lnTo>
                    <a:pt x="229" y="3045"/>
                  </a:lnTo>
                  <a:lnTo>
                    <a:pt x="221" y="3045"/>
                  </a:lnTo>
                  <a:lnTo>
                    <a:pt x="212" y="3054"/>
                  </a:lnTo>
                  <a:lnTo>
                    <a:pt x="194" y="3071"/>
                  </a:lnTo>
                  <a:lnTo>
                    <a:pt x="176" y="3089"/>
                  </a:lnTo>
                  <a:lnTo>
                    <a:pt x="176" y="3107"/>
                  </a:lnTo>
                  <a:lnTo>
                    <a:pt x="176" y="3115"/>
                  </a:lnTo>
                  <a:lnTo>
                    <a:pt x="185" y="3115"/>
                  </a:lnTo>
                  <a:lnTo>
                    <a:pt x="168" y="3124"/>
                  </a:lnTo>
                  <a:lnTo>
                    <a:pt x="159" y="3124"/>
                  </a:lnTo>
                  <a:lnTo>
                    <a:pt x="150" y="3124"/>
                  </a:lnTo>
                  <a:lnTo>
                    <a:pt x="150" y="3133"/>
                  </a:lnTo>
                  <a:lnTo>
                    <a:pt x="168" y="3142"/>
                  </a:lnTo>
                  <a:lnTo>
                    <a:pt x="150" y="3142"/>
                  </a:lnTo>
                  <a:lnTo>
                    <a:pt x="141" y="3142"/>
                  </a:lnTo>
                  <a:lnTo>
                    <a:pt x="141" y="3151"/>
                  </a:lnTo>
                  <a:lnTo>
                    <a:pt x="141" y="3160"/>
                  </a:lnTo>
                  <a:lnTo>
                    <a:pt x="150" y="3160"/>
                  </a:lnTo>
                  <a:lnTo>
                    <a:pt x="159" y="3151"/>
                  </a:lnTo>
                  <a:lnTo>
                    <a:pt x="168" y="3160"/>
                  </a:lnTo>
                  <a:lnTo>
                    <a:pt x="159" y="3168"/>
                  </a:lnTo>
                  <a:lnTo>
                    <a:pt x="168" y="3177"/>
                  </a:lnTo>
                  <a:lnTo>
                    <a:pt x="176" y="3186"/>
                  </a:lnTo>
                  <a:lnTo>
                    <a:pt x="185" y="3195"/>
                  </a:lnTo>
                  <a:lnTo>
                    <a:pt x="185" y="3204"/>
                  </a:lnTo>
                  <a:lnTo>
                    <a:pt x="194" y="3204"/>
                  </a:lnTo>
                  <a:lnTo>
                    <a:pt x="203" y="3204"/>
                  </a:lnTo>
                  <a:lnTo>
                    <a:pt x="203" y="3195"/>
                  </a:lnTo>
                  <a:lnTo>
                    <a:pt x="203" y="3186"/>
                  </a:lnTo>
                  <a:lnTo>
                    <a:pt x="212" y="3186"/>
                  </a:lnTo>
                  <a:lnTo>
                    <a:pt x="203" y="3195"/>
                  </a:lnTo>
                  <a:lnTo>
                    <a:pt x="212" y="3195"/>
                  </a:lnTo>
                  <a:lnTo>
                    <a:pt x="212" y="3204"/>
                  </a:lnTo>
                  <a:lnTo>
                    <a:pt x="221" y="3195"/>
                  </a:lnTo>
                  <a:lnTo>
                    <a:pt x="221" y="3204"/>
                  </a:lnTo>
                  <a:lnTo>
                    <a:pt x="229" y="3204"/>
                  </a:lnTo>
                  <a:lnTo>
                    <a:pt x="238" y="3204"/>
                  </a:lnTo>
                  <a:lnTo>
                    <a:pt x="229" y="3213"/>
                  </a:lnTo>
                  <a:lnTo>
                    <a:pt x="212" y="3221"/>
                  </a:lnTo>
                  <a:lnTo>
                    <a:pt x="221" y="3221"/>
                  </a:lnTo>
                  <a:lnTo>
                    <a:pt x="221" y="3230"/>
                  </a:lnTo>
                  <a:lnTo>
                    <a:pt x="247" y="3221"/>
                  </a:lnTo>
                  <a:lnTo>
                    <a:pt x="273" y="3230"/>
                  </a:lnTo>
                  <a:lnTo>
                    <a:pt x="300" y="3230"/>
                  </a:lnTo>
                  <a:lnTo>
                    <a:pt x="318" y="3221"/>
                  </a:lnTo>
                  <a:lnTo>
                    <a:pt x="326" y="3221"/>
                  </a:lnTo>
                  <a:lnTo>
                    <a:pt x="335" y="3230"/>
                  </a:lnTo>
                  <a:lnTo>
                    <a:pt x="326" y="3230"/>
                  </a:lnTo>
                  <a:lnTo>
                    <a:pt x="318" y="3230"/>
                  </a:lnTo>
                  <a:lnTo>
                    <a:pt x="309" y="3230"/>
                  </a:lnTo>
                  <a:lnTo>
                    <a:pt x="326" y="3239"/>
                  </a:lnTo>
                  <a:lnTo>
                    <a:pt x="335" y="3239"/>
                  </a:lnTo>
                  <a:lnTo>
                    <a:pt x="344" y="3248"/>
                  </a:lnTo>
                  <a:lnTo>
                    <a:pt x="335" y="3257"/>
                  </a:lnTo>
                  <a:lnTo>
                    <a:pt x="326" y="3265"/>
                  </a:lnTo>
                  <a:lnTo>
                    <a:pt x="318" y="3257"/>
                  </a:lnTo>
                  <a:lnTo>
                    <a:pt x="309" y="3248"/>
                  </a:lnTo>
                  <a:lnTo>
                    <a:pt x="300" y="3239"/>
                  </a:lnTo>
                  <a:lnTo>
                    <a:pt x="291" y="3248"/>
                  </a:lnTo>
                  <a:lnTo>
                    <a:pt x="282" y="3257"/>
                  </a:lnTo>
                  <a:lnTo>
                    <a:pt x="273" y="3265"/>
                  </a:lnTo>
                  <a:lnTo>
                    <a:pt x="282" y="3257"/>
                  </a:lnTo>
                  <a:lnTo>
                    <a:pt x="282" y="3248"/>
                  </a:lnTo>
                  <a:lnTo>
                    <a:pt x="282" y="3239"/>
                  </a:lnTo>
                  <a:lnTo>
                    <a:pt x="273" y="3239"/>
                  </a:lnTo>
                  <a:lnTo>
                    <a:pt x="265" y="3239"/>
                  </a:lnTo>
                  <a:lnTo>
                    <a:pt x="256" y="3230"/>
                  </a:lnTo>
                  <a:lnTo>
                    <a:pt x="247" y="3230"/>
                  </a:lnTo>
                  <a:lnTo>
                    <a:pt x="238" y="3230"/>
                  </a:lnTo>
                  <a:lnTo>
                    <a:pt x="229" y="3248"/>
                  </a:lnTo>
                  <a:lnTo>
                    <a:pt x="203" y="3265"/>
                  </a:lnTo>
                  <a:lnTo>
                    <a:pt x="212" y="3274"/>
                  </a:lnTo>
                  <a:lnTo>
                    <a:pt x="221" y="3265"/>
                  </a:lnTo>
                  <a:lnTo>
                    <a:pt x="229" y="3274"/>
                  </a:lnTo>
                  <a:lnTo>
                    <a:pt x="221" y="3283"/>
                  </a:lnTo>
                  <a:lnTo>
                    <a:pt x="238" y="3292"/>
                  </a:lnTo>
                  <a:lnTo>
                    <a:pt x="247" y="3292"/>
                  </a:lnTo>
                  <a:lnTo>
                    <a:pt x="256" y="3292"/>
                  </a:lnTo>
                  <a:lnTo>
                    <a:pt x="265" y="3310"/>
                  </a:lnTo>
                  <a:lnTo>
                    <a:pt x="291" y="3327"/>
                  </a:lnTo>
                  <a:lnTo>
                    <a:pt x="291" y="3336"/>
                  </a:lnTo>
                  <a:lnTo>
                    <a:pt x="309" y="3345"/>
                  </a:lnTo>
                  <a:lnTo>
                    <a:pt x="326" y="3354"/>
                  </a:lnTo>
                  <a:lnTo>
                    <a:pt x="362" y="3345"/>
                  </a:lnTo>
                  <a:lnTo>
                    <a:pt x="388" y="3336"/>
                  </a:lnTo>
                  <a:lnTo>
                    <a:pt x="397" y="3327"/>
                  </a:lnTo>
                  <a:lnTo>
                    <a:pt x="406" y="3327"/>
                  </a:lnTo>
                  <a:lnTo>
                    <a:pt x="415" y="3310"/>
                  </a:lnTo>
                  <a:lnTo>
                    <a:pt x="406" y="3301"/>
                  </a:lnTo>
                  <a:lnTo>
                    <a:pt x="397" y="3301"/>
                  </a:lnTo>
                  <a:lnTo>
                    <a:pt x="406" y="3292"/>
                  </a:lnTo>
                  <a:lnTo>
                    <a:pt x="415" y="3283"/>
                  </a:lnTo>
                  <a:lnTo>
                    <a:pt x="432" y="3265"/>
                  </a:lnTo>
                  <a:lnTo>
                    <a:pt x="432" y="3257"/>
                  </a:lnTo>
                  <a:lnTo>
                    <a:pt x="441" y="3248"/>
                  </a:lnTo>
                  <a:lnTo>
                    <a:pt x="450" y="3248"/>
                  </a:lnTo>
                  <a:lnTo>
                    <a:pt x="441" y="3257"/>
                  </a:lnTo>
                  <a:lnTo>
                    <a:pt x="432" y="3274"/>
                  </a:lnTo>
                  <a:lnTo>
                    <a:pt x="415" y="3301"/>
                  </a:lnTo>
                  <a:lnTo>
                    <a:pt x="432" y="3310"/>
                  </a:lnTo>
                  <a:lnTo>
                    <a:pt x="441" y="3327"/>
                  </a:lnTo>
                  <a:lnTo>
                    <a:pt x="459" y="3363"/>
                  </a:lnTo>
                  <a:lnTo>
                    <a:pt x="459" y="3371"/>
                  </a:lnTo>
                  <a:lnTo>
                    <a:pt x="459" y="3380"/>
                  </a:lnTo>
                  <a:lnTo>
                    <a:pt x="459" y="3389"/>
                  </a:lnTo>
                  <a:lnTo>
                    <a:pt x="459" y="3398"/>
                  </a:lnTo>
                  <a:lnTo>
                    <a:pt x="450" y="3407"/>
                  </a:lnTo>
                  <a:lnTo>
                    <a:pt x="450" y="3424"/>
                  </a:lnTo>
                  <a:lnTo>
                    <a:pt x="459" y="3424"/>
                  </a:lnTo>
                  <a:lnTo>
                    <a:pt x="468" y="3424"/>
                  </a:lnTo>
                  <a:lnTo>
                    <a:pt x="476" y="3424"/>
                  </a:lnTo>
                  <a:lnTo>
                    <a:pt x="468" y="3433"/>
                  </a:lnTo>
                  <a:lnTo>
                    <a:pt x="468" y="3442"/>
                  </a:lnTo>
                  <a:lnTo>
                    <a:pt x="468" y="3451"/>
                  </a:lnTo>
                  <a:lnTo>
                    <a:pt x="468" y="3460"/>
                  </a:lnTo>
                  <a:lnTo>
                    <a:pt x="459" y="3468"/>
                  </a:lnTo>
                  <a:lnTo>
                    <a:pt x="450" y="3468"/>
                  </a:lnTo>
                  <a:lnTo>
                    <a:pt x="441" y="3477"/>
                  </a:lnTo>
                  <a:lnTo>
                    <a:pt x="468" y="3477"/>
                  </a:lnTo>
                  <a:lnTo>
                    <a:pt x="494" y="3468"/>
                  </a:lnTo>
                  <a:lnTo>
                    <a:pt x="503" y="3468"/>
                  </a:lnTo>
                  <a:lnTo>
                    <a:pt x="503" y="3460"/>
                  </a:lnTo>
                  <a:lnTo>
                    <a:pt x="529" y="3451"/>
                  </a:lnTo>
                  <a:lnTo>
                    <a:pt x="538" y="3451"/>
                  </a:lnTo>
                  <a:lnTo>
                    <a:pt x="547" y="3442"/>
                  </a:lnTo>
                  <a:lnTo>
                    <a:pt x="556" y="3433"/>
                  </a:lnTo>
                  <a:lnTo>
                    <a:pt x="573" y="3433"/>
                  </a:lnTo>
                  <a:lnTo>
                    <a:pt x="573" y="3442"/>
                  </a:lnTo>
                  <a:lnTo>
                    <a:pt x="582" y="3451"/>
                  </a:lnTo>
                  <a:lnTo>
                    <a:pt x="600" y="3460"/>
                  </a:lnTo>
                  <a:lnTo>
                    <a:pt x="609" y="3451"/>
                  </a:lnTo>
                  <a:lnTo>
                    <a:pt x="618" y="3451"/>
                  </a:lnTo>
                  <a:lnTo>
                    <a:pt x="635" y="3460"/>
                  </a:lnTo>
                  <a:lnTo>
                    <a:pt x="644" y="3468"/>
                  </a:lnTo>
                  <a:lnTo>
                    <a:pt x="662" y="3495"/>
                  </a:lnTo>
                  <a:lnTo>
                    <a:pt x="671" y="3504"/>
                  </a:lnTo>
                  <a:lnTo>
                    <a:pt x="688" y="3495"/>
                  </a:lnTo>
                  <a:lnTo>
                    <a:pt x="688" y="3486"/>
                  </a:lnTo>
                  <a:lnTo>
                    <a:pt x="679" y="3468"/>
                  </a:lnTo>
                  <a:lnTo>
                    <a:pt x="679" y="3460"/>
                  </a:lnTo>
                  <a:lnTo>
                    <a:pt x="688" y="3451"/>
                  </a:lnTo>
                  <a:lnTo>
                    <a:pt x="688" y="3442"/>
                  </a:lnTo>
                  <a:lnTo>
                    <a:pt x="697" y="3442"/>
                  </a:lnTo>
                  <a:lnTo>
                    <a:pt x="706" y="3433"/>
                  </a:lnTo>
                  <a:lnTo>
                    <a:pt x="715" y="3424"/>
                  </a:lnTo>
                  <a:lnTo>
                    <a:pt x="723" y="3433"/>
                  </a:lnTo>
                  <a:lnTo>
                    <a:pt x="741" y="3442"/>
                  </a:lnTo>
                  <a:lnTo>
                    <a:pt x="732" y="3442"/>
                  </a:lnTo>
                  <a:lnTo>
                    <a:pt x="723" y="3433"/>
                  </a:lnTo>
                  <a:lnTo>
                    <a:pt x="715" y="3433"/>
                  </a:lnTo>
                  <a:lnTo>
                    <a:pt x="706" y="3442"/>
                  </a:lnTo>
                  <a:lnTo>
                    <a:pt x="706" y="3451"/>
                  </a:lnTo>
                  <a:lnTo>
                    <a:pt x="715" y="3460"/>
                  </a:lnTo>
                  <a:lnTo>
                    <a:pt x="715" y="3468"/>
                  </a:lnTo>
                  <a:lnTo>
                    <a:pt x="723" y="3477"/>
                  </a:lnTo>
                  <a:lnTo>
                    <a:pt x="732" y="3477"/>
                  </a:lnTo>
                  <a:lnTo>
                    <a:pt x="741" y="3477"/>
                  </a:lnTo>
                  <a:lnTo>
                    <a:pt x="768" y="3468"/>
                  </a:lnTo>
                  <a:lnTo>
                    <a:pt x="803" y="3451"/>
                  </a:lnTo>
                  <a:lnTo>
                    <a:pt x="820" y="3442"/>
                  </a:lnTo>
                  <a:lnTo>
                    <a:pt x="829" y="3424"/>
                  </a:lnTo>
                  <a:lnTo>
                    <a:pt x="820" y="3442"/>
                  </a:lnTo>
                  <a:lnTo>
                    <a:pt x="812" y="3460"/>
                  </a:lnTo>
                  <a:lnTo>
                    <a:pt x="820" y="3468"/>
                  </a:lnTo>
                  <a:lnTo>
                    <a:pt x="803" y="3477"/>
                  </a:lnTo>
                  <a:lnTo>
                    <a:pt x="785" y="3495"/>
                  </a:lnTo>
                  <a:lnTo>
                    <a:pt x="776" y="3495"/>
                  </a:lnTo>
                  <a:lnTo>
                    <a:pt x="776" y="3504"/>
                  </a:lnTo>
                  <a:lnTo>
                    <a:pt x="785" y="3521"/>
                  </a:lnTo>
                  <a:lnTo>
                    <a:pt x="794" y="3521"/>
                  </a:lnTo>
                  <a:lnTo>
                    <a:pt x="803" y="3521"/>
                  </a:lnTo>
                  <a:lnTo>
                    <a:pt x="785" y="3530"/>
                  </a:lnTo>
                  <a:lnTo>
                    <a:pt x="776" y="3530"/>
                  </a:lnTo>
                  <a:lnTo>
                    <a:pt x="768" y="3539"/>
                  </a:lnTo>
                  <a:lnTo>
                    <a:pt x="768" y="3557"/>
                  </a:lnTo>
                  <a:lnTo>
                    <a:pt x="768" y="3574"/>
                  </a:lnTo>
                  <a:lnTo>
                    <a:pt x="768" y="3583"/>
                  </a:lnTo>
                  <a:lnTo>
                    <a:pt x="776" y="3583"/>
                  </a:lnTo>
                  <a:lnTo>
                    <a:pt x="776" y="3592"/>
                  </a:lnTo>
                  <a:lnTo>
                    <a:pt x="785" y="3592"/>
                  </a:lnTo>
                  <a:lnTo>
                    <a:pt x="785" y="3601"/>
                  </a:lnTo>
                  <a:lnTo>
                    <a:pt x="776" y="3601"/>
                  </a:lnTo>
                  <a:lnTo>
                    <a:pt x="768" y="3601"/>
                  </a:lnTo>
                  <a:lnTo>
                    <a:pt x="768" y="3592"/>
                  </a:lnTo>
                  <a:lnTo>
                    <a:pt x="759" y="3592"/>
                  </a:lnTo>
                  <a:lnTo>
                    <a:pt x="750" y="3592"/>
                  </a:lnTo>
                  <a:lnTo>
                    <a:pt x="741" y="3610"/>
                  </a:lnTo>
                  <a:lnTo>
                    <a:pt x="732" y="3610"/>
                  </a:lnTo>
                  <a:lnTo>
                    <a:pt x="723" y="3619"/>
                  </a:lnTo>
                  <a:lnTo>
                    <a:pt x="706" y="3627"/>
                  </a:lnTo>
                  <a:lnTo>
                    <a:pt x="697" y="3636"/>
                  </a:lnTo>
                  <a:lnTo>
                    <a:pt x="697" y="3645"/>
                  </a:lnTo>
                  <a:lnTo>
                    <a:pt x="697" y="3654"/>
                  </a:lnTo>
                  <a:lnTo>
                    <a:pt x="697" y="3663"/>
                  </a:lnTo>
                  <a:lnTo>
                    <a:pt x="697" y="3671"/>
                  </a:lnTo>
                  <a:lnTo>
                    <a:pt x="688" y="3671"/>
                  </a:lnTo>
                  <a:lnTo>
                    <a:pt x="679" y="3671"/>
                  </a:lnTo>
                  <a:lnTo>
                    <a:pt x="679" y="3663"/>
                  </a:lnTo>
                  <a:lnTo>
                    <a:pt x="671" y="3663"/>
                  </a:lnTo>
                  <a:lnTo>
                    <a:pt x="662" y="3671"/>
                  </a:lnTo>
                  <a:lnTo>
                    <a:pt x="653" y="3680"/>
                  </a:lnTo>
                  <a:lnTo>
                    <a:pt x="609" y="3698"/>
                  </a:lnTo>
                  <a:lnTo>
                    <a:pt x="591" y="3707"/>
                  </a:lnTo>
                  <a:lnTo>
                    <a:pt x="582" y="3716"/>
                  </a:lnTo>
                  <a:lnTo>
                    <a:pt x="573" y="3724"/>
                  </a:lnTo>
                  <a:lnTo>
                    <a:pt x="565" y="3733"/>
                  </a:lnTo>
                  <a:lnTo>
                    <a:pt x="565" y="3742"/>
                  </a:lnTo>
                  <a:lnTo>
                    <a:pt x="556" y="3751"/>
                  </a:lnTo>
                  <a:lnTo>
                    <a:pt x="556" y="3760"/>
                  </a:lnTo>
                  <a:lnTo>
                    <a:pt x="565" y="3760"/>
                  </a:lnTo>
                  <a:lnTo>
                    <a:pt x="573" y="3769"/>
                  </a:lnTo>
                  <a:lnTo>
                    <a:pt x="573" y="3777"/>
                  </a:lnTo>
                  <a:lnTo>
                    <a:pt x="565" y="3777"/>
                  </a:lnTo>
                  <a:lnTo>
                    <a:pt x="556" y="3769"/>
                  </a:lnTo>
                  <a:lnTo>
                    <a:pt x="547" y="3769"/>
                  </a:lnTo>
                  <a:lnTo>
                    <a:pt x="538" y="3769"/>
                  </a:lnTo>
                  <a:lnTo>
                    <a:pt x="538" y="3777"/>
                  </a:lnTo>
                  <a:lnTo>
                    <a:pt x="529" y="3777"/>
                  </a:lnTo>
                  <a:lnTo>
                    <a:pt x="521" y="3769"/>
                  </a:lnTo>
                  <a:lnTo>
                    <a:pt x="521" y="3760"/>
                  </a:lnTo>
                  <a:lnTo>
                    <a:pt x="529" y="3760"/>
                  </a:lnTo>
                  <a:lnTo>
                    <a:pt x="512" y="3760"/>
                  </a:lnTo>
                  <a:lnTo>
                    <a:pt x="503" y="3760"/>
                  </a:lnTo>
                  <a:lnTo>
                    <a:pt x="512" y="3751"/>
                  </a:lnTo>
                  <a:lnTo>
                    <a:pt x="503" y="3751"/>
                  </a:lnTo>
                  <a:lnTo>
                    <a:pt x="468" y="3769"/>
                  </a:lnTo>
                  <a:lnTo>
                    <a:pt x="450" y="3769"/>
                  </a:lnTo>
                  <a:lnTo>
                    <a:pt x="441" y="3786"/>
                  </a:lnTo>
                  <a:lnTo>
                    <a:pt x="423" y="3795"/>
                  </a:lnTo>
                  <a:lnTo>
                    <a:pt x="415" y="3813"/>
                  </a:lnTo>
                  <a:lnTo>
                    <a:pt x="397" y="3822"/>
                  </a:lnTo>
                  <a:lnTo>
                    <a:pt x="388" y="3830"/>
                  </a:lnTo>
                  <a:lnTo>
                    <a:pt x="388" y="3839"/>
                  </a:lnTo>
                  <a:lnTo>
                    <a:pt x="379" y="3839"/>
                  </a:lnTo>
                  <a:lnTo>
                    <a:pt x="371" y="3839"/>
                  </a:lnTo>
                  <a:lnTo>
                    <a:pt x="353" y="3848"/>
                  </a:lnTo>
                  <a:lnTo>
                    <a:pt x="353" y="3857"/>
                  </a:lnTo>
                  <a:lnTo>
                    <a:pt x="353" y="3866"/>
                  </a:lnTo>
                  <a:lnTo>
                    <a:pt x="353" y="3874"/>
                  </a:lnTo>
                  <a:lnTo>
                    <a:pt x="362" y="3874"/>
                  </a:lnTo>
                  <a:lnTo>
                    <a:pt x="362" y="3866"/>
                  </a:lnTo>
                  <a:lnTo>
                    <a:pt x="371" y="3857"/>
                  </a:lnTo>
                  <a:lnTo>
                    <a:pt x="371" y="3848"/>
                  </a:lnTo>
                  <a:lnTo>
                    <a:pt x="379" y="3857"/>
                  </a:lnTo>
                  <a:lnTo>
                    <a:pt x="388" y="3866"/>
                  </a:lnTo>
                  <a:lnTo>
                    <a:pt x="397" y="3857"/>
                  </a:lnTo>
                  <a:lnTo>
                    <a:pt x="406" y="3857"/>
                  </a:lnTo>
                  <a:lnTo>
                    <a:pt x="406" y="3848"/>
                  </a:lnTo>
                  <a:lnTo>
                    <a:pt x="406" y="3839"/>
                  </a:lnTo>
                  <a:lnTo>
                    <a:pt x="406" y="3830"/>
                  </a:lnTo>
                  <a:lnTo>
                    <a:pt x="415" y="3839"/>
                  </a:lnTo>
                  <a:lnTo>
                    <a:pt x="415" y="3848"/>
                  </a:lnTo>
                  <a:lnTo>
                    <a:pt x="423" y="3848"/>
                  </a:lnTo>
                  <a:lnTo>
                    <a:pt x="423" y="3857"/>
                  </a:lnTo>
                  <a:lnTo>
                    <a:pt x="432" y="3848"/>
                  </a:lnTo>
                  <a:lnTo>
                    <a:pt x="441" y="3839"/>
                  </a:lnTo>
                  <a:lnTo>
                    <a:pt x="450" y="3839"/>
                  </a:lnTo>
                  <a:lnTo>
                    <a:pt x="468" y="3822"/>
                  </a:lnTo>
                  <a:lnTo>
                    <a:pt x="468" y="3813"/>
                  </a:lnTo>
                  <a:lnTo>
                    <a:pt x="476" y="3804"/>
                  </a:lnTo>
                  <a:lnTo>
                    <a:pt x="476" y="3795"/>
                  </a:lnTo>
                  <a:lnTo>
                    <a:pt x="485" y="3795"/>
                  </a:lnTo>
                  <a:lnTo>
                    <a:pt x="494" y="3795"/>
                  </a:lnTo>
                  <a:lnTo>
                    <a:pt x="503" y="3795"/>
                  </a:lnTo>
                  <a:lnTo>
                    <a:pt x="503" y="3804"/>
                  </a:lnTo>
                  <a:lnTo>
                    <a:pt x="512" y="3804"/>
                  </a:lnTo>
                  <a:lnTo>
                    <a:pt x="503" y="3804"/>
                  </a:lnTo>
                  <a:lnTo>
                    <a:pt x="494" y="3804"/>
                  </a:lnTo>
                  <a:lnTo>
                    <a:pt x="485" y="3813"/>
                  </a:lnTo>
                  <a:lnTo>
                    <a:pt x="485" y="3822"/>
                  </a:lnTo>
                  <a:lnTo>
                    <a:pt x="494" y="3822"/>
                  </a:lnTo>
                  <a:lnTo>
                    <a:pt x="512" y="3822"/>
                  </a:lnTo>
                  <a:lnTo>
                    <a:pt x="512" y="3813"/>
                  </a:lnTo>
                  <a:lnTo>
                    <a:pt x="521" y="3813"/>
                  </a:lnTo>
                  <a:lnTo>
                    <a:pt x="529" y="3804"/>
                  </a:lnTo>
                  <a:lnTo>
                    <a:pt x="538" y="3804"/>
                  </a:lnTo>
                  <a:lnTo>
                    <a:pt x="547" y="3804"/>
                  </a:lnTo>
                  <a:lnTo>
                    <a:pt x="556" y="3804"/>
                  </a:lnTo>
                  <a:lnTo>
                    <a:pt x="565" y="3804"/>
                  </a:lnTo>
                  <a:lnTo>
                    <a:pt x="565" y="3795"/>
                  </a:lnTo>
                  <a:lnTo>
                    <a:pt x="582" y="3786"/>
                  </a:lnTo>
                  <a:lnTo>
                    <a:pt x="591" y="3777"/>
                  </a:lnTo>
                  <a:lnTo>
                    <a:pt x="600" y="3777"/>
                  </a:lnTo>
                  <a:lnTo>
                    <a:pt x="609" y="3777"/>
                  </a:lnTo>
                  <a:lnTo>
                    <a:pt x="609" y="3769"/>
                  </a:lnTo>
                  <a:lnTo>
                    <a:pt x="618" y="3769"/>
                  </a:lnTo>
                  <a:lnTo>
                    <a:pt x="618" y="3777"/>
                  </a:lnTo>
                  <a:lnTo>
                    <a:pt x="618" y="3795"/>
                  </a:lnTo>
                  <a:lnTo>
                    <a:pt x="626" y="3786"/>
                  </a:lnTo>
                  <a:lnTo>
                    <a:pt x="626" y="3777"/>
                  </a:lnTo>
                  <a:lnTo>
                    <a:pt x="635" y="3777"/>
                  </a:lnTo>
                  <a:lnTo>
                    <a:pt x="635" y="3769"/>
                  </a:lnTo>
                  <a:lnTo>
                    <a:pt x="688" y="3760"/>
                  </a:lnTo>
                  <a:lnTo>
                    <a:pt x="688" y="3751"/>
                  </a:lnTo>
                  <a:lnTo>
                    <a:pt x="697" y="3742"/>
                  </a:lnTo>
                  <a:lnTo>
                    <a:pt x="697" y="3733"/>
                  </a:lnTo>
                  <a:lnTo>
                    <a:pt x="706" y="3733"/>
                  </a:lnTo>
                  <a:lnTo>
                    <a:pt x="706" y="3751"/>
                  </a:lnTo>
                  <a:lnTo>
                    <a:pt x="715" y="3742"/>
                  </a:lnTo>
                  <a:lnTo>
                    <a:pt x="723" y="3733"/>
                  </a:lnTo>
                  <a:lnTo>
                    <a:pt x="723" y="3724"/>
                  </a:lnTo>
                  <a:lnTo>
                    <a:pt x="715" y="3724"/>
                  </a:lnTo>
                  <a:lnTo>
                    <a:pt x="706" y="3724"/>
                  </a:lnTo>
                  <a:lnTo>
                    <a:pt x="706" y="3716"/>
                  </a:lnTo>
                  <a:lnTo>
                    <a:pt x="715" y="3707"/>
                  </a:lnTo>
                  <a:lnTo>
                    <a:pt x="732" y="3707"/>
                  </a:lnTo>
                  <a:lnTo>
                    <a:pt x="741" y="3698"/>
                  </a:lnTo>
                  <a:lnTo>
                    <a:pt x="750" y="3698"/>
                  </a:lnTo>
                  <a:lnTo>
                    <a:pt x="741" y="3698"/>
                  </a:lnTo>
                  <a:lnTo>
                    <a:pt x="741" y="3689"/>
                  </a:lnTo>
                  <a:lnTo>
                    <a:pt x="750" y="3689"/>
                  </a:lnTo>
                  <a:lnTo>
                    <a:pt x="759" y="3689"/>
                  </a:lnTo>
                  <a:lnTo>
                    <a:pt x="768" y="3689"/>
                  </a:lnTo>
                  <a:lnTo>
                    <a:pt x="776" y="3689"/>
                  </a:lnTo>
                  <a:lnTo>
                    <a:pt x="776" y="3680"/>
                  </a:lnTo>
                  <a:lnTo>
                    <a:pt x="785" y="3671"/>
                  </a:lnTo>
                  <a:lnTo>
                    <a:pt x="794" y="3671"/>
                  </a:lnTo>
                  <a:lnTo>
                    <a:pt x="803" y="3671"/>
                  </a:lnTo>
                  <a:lnTo>
                    <a:pt x="812" y="3663"/>
                  </a:lnTo>
                  <a:lnTo>
                    <a:pt x="820" y="3663"/>
                  </a:lnTo>
                  <a:lnTo>
                    <a:pt x="820" y="3654"/>
                  </a:lnTo>
                  <a:lnTo>
                    <a:pt x="829" y="3654"/>
                  </a:lnTo>
                  <a:lnTo>
                    <a:pt x="838" y="3645"/>
                  </a:lnTo>
                  <a:lnTo>
                    <a:pt x="847" y="3645"/>
                  </a:lnTo>
                  <a:lnTo>
                    <a:pt x="856" y="3645"/>
                  </a:lnTo>
                  <a:lnTo>
                    <a:pt x="856" y="3636"/>
                  </a:lnTo>
                  <a:lnTo>
                    <a:pt x="865" y="3627"/>
                  </a:lnTo>
                  <a:lnTo>
                    <a:pt x="856" y="3619"/>
                  </a:lnTo>
                  <a:lnTo>
                    <a:pt x="856" y="3610"/>
                  </a:lnTo>
                  <a:lnTo>
                    <a:pt x="873" y="3601"/>
                  </a:lnTo>
                  <a:lnTo>
                    <a:pt x="882" y="3601"/>
                  </a:lnTo>
                  <a:lnTo>
                    <a:pt x="891" y="3592"/>
                  </a:lnTo>
                  <a:lnTo>
                    <a:pt x="900" y="3592"/>
                  </a:lnTo>
                  <a:lnTo>
                    <a:pt x="909" y="3592"/>
                  </a:lnTo>
                  <a:lnTo>
                    <a:pt x="909" y="3583"/>
                  </a:lnTo>
                  <a:lnTo>
                    <a:pt x="918" y="3583"/>
                  </a:lnTo>
                  <a:lnTo>
                    <a:pt x="918" y="3574"/>
                  </a:lnTo>
                  <a:lnTo>
                    <a:pt x="926" y="3574"/>
                  </a:lnTo>
                  <a:lnTo>
                    <a:pt x="935" y="3566"/>
                  </a:lnTo>
                  <a:lnTo>
                    <a:pt x="944" y="3566"/>
                  </a:lnTo>
                  <a:lnTo>
                    <a:pt x="953" y="3557"/>
                  </a:lnTo>
                  <a:lnTo>
                    <a:pt x="962" y="3539"/>
                  </a:lnTo>
                  <a:lnTo>
                    <a:pt x="997" y="3539"/>
                  </a:lnTo>
                  <a:lnTo>
                    <a:pt x="997" y="3530"/>
                  </a:lnTo>
                  <a:lnTo>
                    <a:pt x="1006" y="3530"/>
                  </a:lnTo>
                  <a:lnTo>
                    <a:pt x="1015" y="3530"/>
                  </a:lnTo>
                  <a:lnTo>
                    <a:pt x="1023" y="3530"/>
                  </a:lnTo>
                  <a:lnTo>
                    <a:pt x="1023" y="3521"/>
                  </a:lnTo>
                  <a:lnTo>
                    <a:pt x="1023" y="3513"/>
                  </a:lnTo>
                  <a:lnTo>
                    <a:pt x="1015" y="3513"/>
                  </a:lnTo>
                  <a:lnTo>
                    <a:pt x="1032" y="3504"/>
                  </a:lnTo>
                  <a:lnTo>
                    <a:pt x="1032" y="3495"/>
                  </a:lnTo>
                  <a:lnTo>
                    <a:pt x="1050" y="3477"/>
                  </a:lnTo>
                  <a:lnTo>
                    <a:pt x="1059" y="3477"/>
                  </a:lnTo>
                  <a:lnTo>
                    <a:pt x="1068" y="3477"/>
                  </a:lnTo>
                  <a:lnTo>
                    <a:pt x="1076" y="3460"/>
                  </a:lnTo>
                  <a:lnTo>
                    <a:pt x="1085" y="3460"/>
                  </a:lnTo>
                  <a:lnTo>
                    <a:pt x="1085" y="3451"/>
                  </a:lnTo>
                  <a:lnTo>
                    <a:pt x="1076" y="3442"/>
                  </a:lnTo>
                  <a:lnTo>
                    <a:pt x="1059" y="3433"/>
                  </a:lnTo>
                  <a:lnTo>
                    <a:pt x="1050" y="3433"/>
                  </a:lnTo>
                  <a:lnTo>
                    <a:pt x="1041" y="3424"/>
                  </a:lnTo>
                  <a:lnTo>
                    <a:pt x="1023" y="3424"/>
                  </a:lnTo>
                  <a:lnTo>
                    <a:pt x="1023" y="3407"/>
                  </a:lnTo>
                  <a:lnTo>
                    <a:pt x="1032" y="3398"/>
                  </a:lnTo>
                  <a:lnTo>
                    <a:pt x="1050" y="3389"/>
                  </a:lnTo>
                  <a:lnTo>
                    <a:pt x="1059" y="3380"/>
                  </a:lnTo>
                  <a:lnTo>
                    <a:pt x="1068" y="3371"/>
                  </a:lnTo>
                  <a:lnTo>
                    <a:pt x="1059" y="3371"/>
                  </a:lnTo>
                  <a:lnTo>
                    <a:pt x="1059" y="3363"/>
                  </a:lnTo>
                  <a:lnTo>
                    <a:pt x="1076" y="3363"/>
                  </a:lnTo>
                  <a:lnTo>
                    <a:pt x="1076" y="3354"/>
                  </a:lnTo>
                  <a:lnTo>
                    <a:pt x="1085" y="3354"/>
                  </a:lnTo>
                  <a:lnTo>
                    <a:pt x="1085" y="3363"/>
                  </a:lnTo>
                  <a:lnTo>
                    <a:pt x="1094" y="3363"/>
                  </a:lnTo>
                  <a:lnTo>
                    <a:pt x="1103" y="3363"/>
                  </a:lnTo>
                  <a:lnTo>
                    <a:pt x="1112" y="3354"/>
                  </a:lnTo>
                  <a:lnTo>
                    <a:pt x="1112" y="3345"/>
                  </a:lnTo>
                  <a:lnTo>
                    <a:pt x="1094" y="3345"/>
                  </a:lnTo>
                  <a:lnTo>
                    <a:pt x="1103" y="3345"/>
                  </a:lnTo>
                  <a:lnTo>
                    <a:pt x="1120" y="3336"/>
                  </a:lnTo>
                  <a:lnTo>
                    <a:pt x="1129" y="3336"/>
                  </a:lnTo>
                  <a:lnTo>
                    <a:pt x="1138" y="3327"/>
                  </a:lnTo>
                  <a:lnTo>
                    <a:pt x="1138" y="3318"/>
                  </a:lnTo>
                  <a:lnTo>
                    <a:pt x="1129" y="3310"/>
                  </a:lnTo>
                  <a:lnTo>
                    <a:pt x="1120" y="3301"/>
                  </a:lnTo>
                  <a:lnTo>
                    <a:pt x="1112" y="3292"/>
                  </a:lnTo>
                  <a:lnTo>
                    <a:pt x="1120" y="3292"/>
                  </a:lnTo>
                  <a:lnTo>
                    <a:pt x="1129" y="3301"/>
                  </a:lnTo>
                  <a:lnTo>
                    <a:pt x="1138" y="3301"/>
                  </a:lnTo>
                  <a:lnTo>
                    <a:pt x="1147" y="3301"/>
                  </a:lnTo>
                  <a:lnTo>
                    <a:pt x="1156" y="3292"/>
                  </a:lnTo>
                  <a:lnTo>
                    <a:pt x="1165" y="3283"/>
                  </a:lnTo>
                  <a:lnTo>
                    <a:pt x="1165" y="3274"/>
                  </a:lnTo>
                  <a:lnTo>
                    <a:pt x="1165" y="3265"/>
                  </a:lnTo>
                  <a:lnTo>
                    <a:pt x="1182" y="3257"/>
                  </a:lnTo>
                  <a:lnTo>
                    <a:pt x="1191" y="3248"/>
                  </a:lnTo>
                  <a:lnTo>
                    <a:pt x="1200" y="3248"/>
                  </a:lnTo>
                  <a:lnTo>
                    <a:pt x="1200" y="3239"/>
                  </a:lnTo>
                  <a:lnTo>
                    <a:pt x="1200" y="3230"/>
                  </a:lnTo>
                  <a:lnTo>
                    <a:pt x="1217" y="3221"/>
                  </a:lnTo>
                  <a:lnTo>
                    <a:pt x="1226" y="3213"/>
                  </a:lnTo>
                  <a:lnTo>
                    <a:pt x="1235" y="3213"/>
                  </a:lnTo>
                  <a:lnTo>
                    <a:pt x="1244" y="3204"/>
                  </a:lnTo>
                  <a:lnTo>
                    <a:pt x="1253" y="3204"/>
                  </a:lnTo>
                  <a:lnTo>
                    <a:pt x="1262" y="3195"/>
                  </a:lnTo>
                  <a:lnTo>
                    <a:pt x="1288" y="3186"/>
                  </a:lnTo>
                  <a:lnTo>
                    <a:pt x="1297" y="3186"/>
                  </a:lnTo>
                  <a:lnTo>
                    <a:pt x="1323" y="3186"/>
                  </a:lnTo>
                  <a:lnTo>
                    <a:pt x="1332" y="3186"/>
                  </a:lnTo>
                  <a:lnTo>
                    <a:pt x="1341" y="3177"/>
                  </a:lnTo>
                  <a:lnTo>
                    <a:pt x="1341" y="3168"/>
                  </a:lnTo>
                  <a:lnTo>
                    <a:pt x="1350" y="3168"/>
                  </a:lnTo>
                  <a:lnTo>
                    <a:pt x="1359" y="3160"/>
                  </a:lnTo>
                  <a:lnTo>
                    <a:pt x="1376" y="3160"/>
                  </a:lnTo>
                  <a:lnTo>
                    <a:pt x="1359" y="3168"/>
                  </a:lnTo>
                  <a:lnTo>
                    <a:pt x="1350" y="3177"/>
                  </a:lnTo>
                  <a:lnTo>
                    <a:pt x="1341" y="3186"/>
                  </a:lnTo>
                  <a:lnTo>
                    <a:pt x="1341" y="3195"/>
                  </a:lnTo>
                  <a:lnTo>
                    <a:pt x="1332" y="3195"/>
                  </a:lnTo>
                  <a:lnTo>
                    <a:pt x="1323" y="3195"/>
                  </a:lnTo>
                  <a:lnTo>
                    <a:pt x="1332" y="3204"/>
                  </a:lnTo>
                  <a:lnTo>
                    <a:pt x="1359" y="3221"/>
                  </a:lnTo>
                  <a:lnTo>
                    <a:pt x="1367" y="3221"/>
                  </a:lnTo>
                  <a:lnTo>
                    <a:pt x="1394" y="3221"/>
                  </a:lnTo>
                  <a:lnTo>
                    <a:pt x="1403" y="3230"/>
                  </a:lnTo>
                  <a:lnTo>
                    <a:pt x="1394" y="3230"/>
                  </a:lnTo>
                  <a:lnTo>
                    <a:pt x="1359" y="3221"/>
                  </a:lnTo>
                  <a:lnTo>
                    <a:pt x="1341" y="3221"/>
                  </a:lnTo>
                  <a:lnTo>
                    <a:pt x="1332" y="3221"/>
                  </a:lnTo>
                  <a:lnTo>
                    <a:pt x="1323" y="3221"/>
                  </a:lnTo>
                  <a:lnTo>
                    <a:pt x="1315" y="3221"/>
                  </a:lnTo>
                  <a:lnTo>
                    <a:pt x="1306" y="3213"/>
                  </a:lnTo>
                  <a:lnTo>
                    <a:pt x="1297" y="3213"/>
                  </a:lnTo>
                  <a:lnTo>
                    <a:pt x="1270" y="3230"/>
                  </a:lnTo>
                  <a:lnTo>
                    <a:pt x="1262" y="3239"/>
                  </a:lnTo>
                  <a:lnTo>
                    <a:pt x="1235" y="3248"/>
                  </a:lnTo>
                  <a:lnTo>
                    <a:pt x="1235" y="3257"/>
                  </a:lnTo>
                  <a:lnTo>
                    <a:pt x="1235" y="3265"/>
                  </a:lnTo>
                  <a:lnTo>
                    <a:pt x="1235" y="3274"/>
                  </a:lnTo>
                  <a:lnTo>
                    <a:pt x="1226" y="3301"/>
                  </a:lnTo>
                  <a:lnTo>
                    <a:pt x="1226" y="3310"/>
                  </a:lnTo>
                  <a:lnTo>
                    <a:pt x="1209" y="3318"/>
                  </a:lnTo>
                  <a:lnTo>
                    <a:pt x="1200" y="3327"/>
                  </a:lnTo>
                  <a:lnTo>
                    <a:pt x="1200" y="3336"/>
                  </a:lnTo>
                  <a:lnTo>
                    <a:pt x="1191" y="3354"/>
                  </a:lnTo>
                  <a:lnTo>
                    <a:pt x="1200" y="3363"/>
                  </a:lnTo>
                  <a:lnTo>
                    <a:pt x="1217" y="3363"/>
                  </a:lnTo>
                  <a:lnTo>
                    <a:pt x="1226" y="3363"/>
                  </a:lnTo>
                  <a:lnTo>
                    <a:pt x="1253" y="3354"/>
                  </a:lnTo>
                  <a:lnTo>
                    <a:pt x="1244" y="3371"/>
                  </a:lnTo>
                  <a:lnTo>
                    <a:pt x="1235" y="3371"/>
                  </a:lnTo>
                  <a:lnTo>
                    <a:pt x="1226" y="3380"/>
                  </a:lnTo>
                  <a:lnTo>
                    <a:pt x="1217" y="3380"/>
                  </a:lnTo>
                  <a:lnTo>
                    <a:pt x="1209" y="3389"/>
                  </a:lnTo>
                  <a:lnTo>
                    <a:pt x="1191" y="3389"/>
                  </a:lnTo>
                  <a:lnTo>
                    <a:pt x="1191" y="3398"/>
                  </a:lnTo>
                  <a:lnTo>
                    <a:pt x="1191" y="3407"/>
                  </a:lnTo>
                  <a:lnTo>
                    <a:pt x="1200" y="3416"/>
                  </a:lnTo>
                  <a:lnTo>
                    <a:pt x="1209" y="3416"/>
                  </a:lnTo>
                  <a:lnTo>
                    <a:pt x="1226" y="3416"/>
                  </a:lnTo>
                  <a:lnTo>
                    <a:pt x="1235" y="3407"/>
                  </a:lnTo>
                  <a:lnTo>
                    <a:pt x="1235" y="3416"/>
                  </a:lnTo>
                  <a:lnTo>
                    <a:pt x="1244" y="3416"/>
                  </a:lnTo>
                  <a:lnTo>
                    <a:pt x="1244" y="3407"/>
                  </a:lnTo>
                  <a:lnTo>
                    <a:pt x="1253" y="3407"/>
                  </a:lnTo>
                  <a:lnTo>
                    <a:pt x="1262" y="3407"/>
                  </a:lnTo>
                  <a:lnTo>
                    <a:pt x="1270" y="3398"/>
                  </a:lnTo>
                  <a:lnTo>
                    <a:pt x="1279" y="3389"/>
                  </a:lnTo>
                  <a:lnTo>
                    <a:pt x="1288" y="3389"/>
                  </a:lnTo>
                  <a:lnTo>
                    <a:pt x="1288" y="3380"/>
                  </a:lnTo>
                  <a:lnTo>
                    <a:pt x="1288" y="3371"/>
                  </a:lnTo>
                  <a:lnTo>
                    <a:pt x="1297" y="3380"/>
                  </a:lnTo>
                  <a:lnTo>
                    <a:pt x="1306" y="3371"/>
                  </a:lnTo>
                  <a:lnTo>
                    <a:pt x="1315" y="3371"/>
                  </a:lnTo>
                  <a:lnTo>
                    <a:pt x="1332" y="3363"/>
                  </a:lnTo>
                  <a:lnTo>
                    <a:pt x="1332" y="3354"/>
                  </a:lnTo>
                  <a:lnTo>
                    <a:pt x="1350" y="3354"/>
                  </a:lnTo>
                  <a:lnTo>
                    <a:pt x="1350" y="3345"/>
                  </a:lnTo>
                  <a:lnTo>
                    <a:pt x="1350" y="3336"/>
                  </a:lnTo>
                  <a:lnTo>
                    <a:pt x="1359" y="3336"/>
                  </a:lnTo>
                  <a:lnTo>
                    <a:pt x="1359" y="3354"/>
                  </a:lnTo>
                  <a:lnTo>
                    <a:pt x="1367" y="3336"/>
                  </a:lnTo>
                  <a:lnTo>
                    <a:pt x="1367" y="3327"/>
                  </a:lnTo>
                  <a:lnTo>
                    <a:pt x="1376" y="3327"/>
                  </a:lnTo>
                  <a:lnTo>
                    <a:pt x="1376" y="3318"/>
                  </a:lnTo>
                  <a:lnTo>
                    <a:pt x="1385" y="3327"/>
                  </a:lnTo>
                  <a:lnTo>
                    <a:pt x="1394" y="3327"/>
                  </a:lnTo>
                  <a:lnTo>
                    <a:pt x="1403" y="3327"/>
                  </a:lnTo>
                  <a:lnTo>
                    <a:pt x="1420" y="3336"/>
                  </a:lnTo>
                  <a:lnTo>
                    <a:pt x="1429" y="3336"/>
                  </a:lnTo>
                  <a:lnTo>
                    <a:pt x="1438" y="3327"/>
                  </a:lnTo>
                  <a:lnTo>
                    <a:pt x="1447" y="3327"/>
                  </a:lnTo>
                  <a:lnTo>
                    <a:pt x="1456" y="3318"/>
                  </a:lnTo>
                  <a:lnTo>
                    <a:pt x="1456" y="3310"/>
                  </a:lnTo>
                  <a:lnTo>
                    <a:pt x="1465" y="3310"/>
                  </a:lnTo>
                  <a:lnTo>
                    <a:pt x="1465" y="3301"/>
                  </a:lnTo>
                  <a:lnTo>
                    <a:pt x="1465" y="3292"/>
                  </a:lnTo>
                  <a:lnTo>
                    <a:pt x="1465" y="3283"/>
                  </a:lnTo>
                  <a:lnTo>
                    <a:pt x="1473" y="3283"/>
                  </a:lnTo>
                  <a:lnTo>
                    <a:pt x="1482" y="3274"/>
                  </a:lnTo>
                  <a:lnTo>
                    <a:pt x="1473" y="3265"/>
                  </a:lnTo>
                  <a:lnTo>
                    <a:pt x="1465" y="3265"/>
                  </a:lnTo>
                  <a:lnTo>
                    <a:pt x="1456" y="3265"/>
                  </a:lnTo>
                  <a:lnTo>
                    <a:pt x="1447" y="3265"/>
                  </a:lnTo>
                  <a:lnTo>
                    <a:pt x="1438" y="3274"/>
                  </a:lnTo>
                  <a:lnTo>
                    <a:pt x="1429" y="3274"/>
                  </a:lnTo>
                  <a:lnTo>
                    <a:pt x="1438" y="3274"/>
                  </a:lnTo>
                  <a:lnTo>
                    <a:pt x="1438" y="3265"/>
                  </a:lnTo>
                  <a:lnTo>
                    <a:pt x="1447" y="3265"/>
                  </a:lnTo>
                  <a:lnTo>
                    <a:pt x="1456" y="3265"/>
                  </a:lnTo>
                  <a:lnTo>
                    <a:pt x="1456" y="3257"/>
                  </a:lnTo>
                  <a:lnTo>
                    <a:pt x="1456" y="3248"/>
                  </a:lnTo>
                  <a:lnTo>
                    <a:pt x="1447" y="3248"/>
                  </a:lnTo>
                  <a:lnTo>
                    <a:pt x="1438" y="3239"/>
                  </a:lnTo>
                  <a:lnTo>
                    <a:pt x="1447" y="3239"/>
                  </a:lnTo>
                  <a:lnTo>
                    <a:pt x="1456" y="3230"/>
                  </a:lnTo>
                  <a:lnTo>
                    <a:pt x="1456" y="3221"/>
                  </a:lnTo>
                  <a:lnTo>
                    <a:pt x="1465" y="3213"/>
                  </a:lnTo>
                  <a:lnTo>
                    <a:pt x="1456" y="3213"/>
                  </a:lnTo>
                  <a:lnTo>
                    <a:pt x="1447" y="3213"/>
                  </a:lnTo>
                  <a:lnTo>
                    <a:pt x="1456" y="3213"/>
                  </a:lnTo>
                  <a:lnTo>
                    <a:pt x="1456" y="3204"/>
                  </a:lnTo>
                  <a:lnTo>
                    <a:pt x="1465" y="3204"/>
                  </a:lnTo>
                  <a:lnTo>
                    <a:pt x="1473" y="3204"/>
                  </a:lnTo>
                  <a:lnTo>
                    <a:pt x="1482" y="3204"/>
                  </a:lnTo>
                  <a:lnTo>
                    <a:pt x="1491" y="3195"/>
                  </a:lnTo>
                  <a:lnTo>
                    <a:pt x="1500" y="3195"/>
                  </a:lnTo>
                  <a:lnTo>
                    <a:pt x="1482" y="3213"/>
                  </a:lnTo>
                  <a:lnTo>
                    <a:pt x="1482" y="3221"/>
                  </a:lnTo>
                  <a:lnTo>
                    <a:pt x="1482" y="3230"/>
                  </a:lnTo>
                  <a:lnTo>
                    <a:pt x="1491" y="3230"/>
                  </a:lnTo>
                  <a:lnTo>
                    <a:pt x="1500" y="3230"/>
                  </a:lnTo>
                  <a:lnTo>
                    <a:pt x="1509" y="3221"/>
                  </a:lnTo>
                  <a:lnTo>
                    <a:pt x="1517" y="3221"/>
                  </a:lnTo>
                  <a:lnTo>
                    <a:pt x="1526" y="3230"/>
                  </a:lnTo>
                  <a:lnTo>
                    <a:pt x="1526" y="3221"/>
                  </a:lnTo>
                  <a:lnTo>
                    <a:pt x="1535" y="3221"/>
                  </a:lnTo>
                  <a:lnTo>
                    <a:pt x="1544" y="3213"/>
                  </a:lnTo>
                  <a:lnTo>
                    <a:pt x="1553" y="3221"/>
                  </a:lnTo>
                  <a:lnTo>
                    <a:pt x="1562" y="3213"/>
                  </a:lnTo>
                  <a:lnTo>
                    <a:pt x="1570" y="3213"/>
                  </a:lnTo>
                  <a:lnTo>
                    <a:pt x="1579" y="3204"/>
                  </a:lnTo>
                  <a:lnTo>
                    <a:pt x="1597" y="3204"/>
                  </a:lnTo>
                  <a:lnTo>
                    <a:pt x="1606" y="3204"/>
                  </a:lnTo>
                  <a:lnTo>
                    <a:pt x="1579" y="3213"/>
                  </a:lnTo>
                  <a:lnTo>
                    <a:pt x="1579" y="3221"/>
                  </a:lnTo>
                  <a:lnTo>
                    <a:pt x="1579" y="3230"/>
                  </a:lnTo>
                  <a:lnTo>
                    <a:pt x="1588" y="3239"/>
                  </a:lnTo>
                  <a:lnTo>
                    <a:pt x="1597" y="3239"/>
                  </a:lnTo>
                  <a:lnTo>
                    <a:pt x="1588" y="3248"/>
                  </a:lnTo>
                  <a:lnTo>
                    <a:pt x="1579" y="3248"/>
                  </a:lnTo>
                  <a:lnTo>
                    <a:pt x="1588" y="3248"/>
                  </a:lnTo>
                  <a:lnTo>
                    <a:pt x="1597" y="3248"/>
                  </a:lnTo>
                  <a:lnTo>
                    <a:pt x="1606" y="3248"/>
                  </a:lnTo>
                  <a:lnTo>
                    <a:pt x="1614" y="3248"/>
                  </a:lnTo>
                  <a:lnTo>
                    <a:pt x="1614" y="3257"/>
                  </a:lnTo>
                  <a:lnTo>
                    <a:pt x="1650" y="3257"/>
                  </a:lnTo>
                  <a:lnTo>
                    <a:pt x="1641" y="3265"/>
                  </a:lnTo>
                  <a:lnTo>
                    <a:pt x="1632" y="3274"/>
                  </a:lnTo>
                  <a:lnTo>
                    <a:pt x="1641" y="3274"/>
                  </a:lnTo>
                  <a:lnTo>
                    <a:pt x="1650" y="3274"/>
                  </a:lnTo>
                  <a:lnTo>
                    <a:pt x="1659" y="3283"/>
                  </a:lnTo>
                  <a:lnTo>
                    <a:pt x="1667" y="3283"/>
                  </a:lnTo>
                  <a:lnTo>
                    <a:pt x="1676" y="3283"/>
                  </a:lnTo>
                  <a:lnTo>
                    <a:pt x="1685" y="3283"/>
                  </a:lnTo>
                  <a:lnTo>
                    <a:pt x="1694" y="3274"/>
                  </a:lnTo>
                  <a:lnTo>
                    <a:pt x="1703" y="3265"/>
                  </a:lnTo>
                  <a:lnTo>
                    <a:pt x="1712" y="3265"/>
                  </a:lnTo>
                  <a:lnTo>
                    <a:pt x="1720" y="3257"/>
                  </a:lnTo>
                  <a:lnTo>
                    <a:pt x="1712" y="3265"/>
                  </a:lnTo>
                  <a:lnTo>
                    <a:pt x="1712" y="3274"/>
                  </a:lnTo>
                  <a:lnTo>
                    <a:pt x="1703" y="3292"/>
                  </a:lnTo>
                  <a:lnTo>
                    <a:pt x="1712" y="3292"/>
                  </a:lnTo>
                  <a:lnTo>
                    <a:pt x="1720" y="3301"/>
                  </a:lnTo>
                  <a:lnTo>
                    <a:pt x="1729" y="3301"/>
                  </a:lnTo>
                  <a:lnTo>
                    <a:pt x="1729" y="3310"/>
                  </a:lnTo>
                  <a:lnTo>
                    <a:pt x="1747" y="3310"/>
                  </a:lnTo>
                  <a:lnTo>
                    <a:pt x="1756" y="3310"/>
                  </a:lnTo>
                  <a:lnTo>
                    <a:pt x="1764" y="3318"/>
                  </a:lnTo>
                  <a:lnTo>
                    <a:pt x="1764" y="3327"/>
                  </a:lnTo>
                  <a:lnTo>
                    <a:pt x="1773" y="3327"/>
                  </a:lnTo>
                  <a:lnTo>
                    <a:pt x="1791" y="3327"/>
                  </a:lnTo>
                  <a:lnTo>
                    <a:pt x="1809" y="3318"/>
                  </a:lnTo>
                  <a:lnTo>
                    <a:pt x="1853" y="3318"/>
                  </a:lnTo>
                  <a:lnTo>
                    <a:pt x="1879" y="3318"/>
                  </a:lnTo>
                  <a:lnTo>
                    <a:pt x="1914" y="3327"/>
                  </a:lnTo>
                  <a:lnTo>
                    <a:pt x="1941" y="3327"/>
                  </a:lnTo>
                  <a:lnTo>
                    <a:pt x="1950" y="3327"/>
                  </a:lnTo>
                  <a:lnTo>
                    <a:pt x="1959" y="3327"/>
                  </a:lnTo>
                  <a:lnTo>
                    <a:pt x="1959" y="3318"/>
                  </a:lnTo>
                  <a:lnTo>
                    <a:pt x="1967" y="3318"/>
                  </a:lnTo>
                  <a:lnTo>
                    <a:pt x="1967" y="3327"/>
                  </a:lnTo>
                  <a:lnTo>
                    <a:pt x="1959" y="3336"/>
                  </a:lnTo>
                  <a:lnTo>
                    <a:pt x="1967" y="3345"/>
                  </a:lnTo>
                  <a:lnTo>
                    <a:pt x="2003" y="3354"/>
                  </a:lnTo>
                  <a:lnTo>
                    <a:pt x="2020" y="3363"/>
                  </a:lnTo>
                  <a:lnTo>
                    <a:pt x="2038" y="3363"/>
                  </a:lnTo>
                  <a:lnTo>
                    <a:pt x="2047" y="3354"/>
                  </a:lnTo>
                  <a:lnTo>
                    <a:pt x="2073" y="3345"/>
                  </a:lnTo>
                  <a:lnTo>
                    <a:pt x="2091" y="3327"/>
                  </a:lnTo>
                  <a:lnTo>
                    <a:pt x="2100" y="3327"/>
                  </a:lnTo>
                  <a:lnTo>
                    <a:pt x="2109" y="3327"/>
                  </a:lnTo>
                  <a:lnTo>
                    <a:pt x="2126" y="3336"/>
                  </a:lnTo>
                  <a:lnTo>
                    <a:pt x="2144" y="3345"/>
                  </a:lnTo>
                  <a:lnTo>
                    <a:pt x="2135" y="3345"/>
                  </a:lnTo>
                  <a:lnTo>
                    <a:pt x="2126" y="3345"/>
                  </a:lnTo>
                  <a:lnTo>
                    <a:pt x="2126" y="3354"/>
                  </a:lnTo>
                  <a:lnTo>
                    <a:pt x="2117" y="3354"/>
                  </a:lnTo>
                  <a:lnTo>
                    <a:pt x="2117" y="3363"/>
                  </a:lnTo>
                  <a:lnTo>
                    <a:pt x="2117" y="3371"/>
                  </a:lnTo>
                  <a:lnTo>
                    <a:pt x="2117" y="3354"/>
                  </a:lnTo>
                  <a:lnTo>
                    <a:pt x="2117" y="3345"/>
                  </a:lnTo>
                  <a:lnTo>
                    <a:pt x="2109" y="3336"/>
                  </a:lnTo>
                  <a:lnTo>
                    <a:pt x="2100" y="3336"/>
                  </a:lnTo>
                  <a:lnTo>
                    <a:pt x="2100" y="3345"/>
                  </a:lnTo>
                  <a:lnTo>
                    <a:pt x="2100" y="3354"/>
                  </a:lnTo>
                  <a:lnTo>
                    <a:pt x="2100" y="3363"/>
                  </a:lnTo>
                  <a:lnTo>
                    <a:pt x="2091" y="3371"/>
                  </a:lnTo>
                  <a:lnTo>
                    <a:pt x="2082" y="3371"/>
                  </a:lnTo>
                  <a:lnTo>
                    <a:pt x="2082" y="3380"/>
                  </a:lnTo>
                  <a:lnTo>
                    <a:pt x="2091" y="3380"/>
                  </a:lnTo>
                  <a:lnTo>
                    <a:pt x="2100" y="3389"/>
                  </a:lnTo>
                  <a:lnTo>
                    <a:pt x="2117" y="3398"/>
                  </a:lnTo>
                  <a:lnTo>
                    <a:pt x="2153" y="3416"/>
                  </a:lnTo>
                  <a:lnTo>
                    <a:pt x="2161" y="3416"/>
                  </a:lnTo>
                  <a:lnTo>
                    <a:pt x="2179" y="3416"/>
                  </a:lnTo>
                  <a:lnTo>
                    <a:pt x="2179" y="3424"/>
                  </a:lnTo>
                  <a:lnTo>
                    <a:pt x="2170" y="3424"/>
                  </a:lnTo>
                  <a:lnTo>
                    <a:pt x="2179" y="3424"/>
                  </a:lnTo>
                  <a:lnTo>
                    <a:pt x="2188" y="3424"/>
                  </a:lnTo>
                  <a:lnTo>
                    <a:pt x="2197" y="3433"/>
                  </a:lnTo>
                  <a:lnTo>
                    <a:pt x="2214" y="3442"/>
                  </a:lnTo>
                  <a:lnTo>
                    <a:pt x="2214" y="3451"/>
                  </a:lnTo>
                  <a:lnTo>
                    <a:pt x="2223" y="3460"/>
                  </a:lnTo>
                  <a:lnTo>
                    <a:pt x="2232" y="3468"/>
                  </a:lnTo>
                  <a:lnTo>
                    <a:pt x="2241" y="3477"/>
                  </a:lnTo>
                  <a:lnTo>
                    <a:pt x="2250" y="3477"/>
                  </a:lnTo>
                  <a:lnTo>
                    <a:pt x="2250" y="3486"/>
                  </a:lnTo>
                  <a:lnTo>
                    <a:pt x="2285" y="3504"/>
                  </a:lnTo>
                  <a:lnTo>
                    <a:pt x="2294" y="3513"/>
                  </a:lnTo>
                  <a:lnTo>
                    <a:pt x="2311" y="3513"/>
                  </a:lnTo>
                  <a:lnTo>
                    <a:pt x="2311" y="3521"/>
                  </a:lnTo>
                  <a:lnTo>
                    <a:pt x="2320" y="3521"/>
                  </a:lnTo>
                  <a:lnTo>
                    <a:pt x="2329" y="3513"/>
                  </a:lnTo>
                  <a:lnTo>
                    <a:pt x="2347" y="3504"/>
                  </a:lnTo>
                  <a:lnTo>
                    <a:pt x="2356" y="3504"/>
                  </a:lnTo>
                  <a:lnTo>
                    <a:pt x="2356" y="3495"/>
                  </a:lnTo>
                  <a:lnTo>
                    <a:pt x="2356" y="3486"/>
                  </a:lnTo>
                  <a:lnTo>
                    <a:pt x="2347" y="3477"/>
                  </a:lnTo>
                  <a:lnTo>
                    <a:pt x="2338" y="3477"/>
                  </a:lnTo>
                  <a:lnTo>
                    <a:pt x="2329" y="3477"/>
                  </a:lnTo>
                  <a:lnTo>
                    <a:pt x="2329" y="3468"/>
                  </a:lnTo>
                  <a:lnTo>
                    <a:pt x="2320" y="3468"/>
                  </a:lnTo>
                  <a:lnTo>
                    <a:pt x="2320" y="3460"/>
                  </a:lnTo>
                  <a:lnTo>
                    <a:pt x="2311" y="3460"/>
                  </a:lnTo>
                  <a:lnTo>
                    <a:pt x="2303" y="3451"/>
                  </a:lnTo>
                  <a:lnTo>
                    <a:pt x="2294" y="3451"/>
                  </a:lnTo>
                  <a:lnTo>
                    <a:pt x="2285" y="3451"/>
                  </a:lnTo>
                  <a:lnTo>
                    <a:pt x="2285" y="3442"/>
                  </a:lnTo>
                  <a:lnTo>
                    <a:pt x="2294" y="3442"/>
                  </a:lnTo>
                  <a:lnTo>
                    <a:pt x="2285" y="3433"/>
                  </a:lnTo>
                  <a:lnTo>
                    <a:pt x="2303" y="3442"/>
                  </a:lnTo>
                  <a:lnTo>
                    <a:pt x="2320" y="3442"/>
                  </a:lnTo>
                  <a:lnTo>
                    <a:pt x="2320" y="3451"/>
                  </a:lnTo>
                  <a:lnTo>
                    <a:pt x="2329" y="3451"/>
                  </a:lnTo>
                  <a:lnTo>
                    <a:pt x="2329" y="3460"/>
                  </a:lnTo>
                  <a:lnTo>
                    <a:pt x="2338" y="3460"/>
                  </a:lnTo>
                  <a:lnTo>
                    <a:pt x="2347" y="3460"/>
                  </a:lnTo>
                  <a:lnTo>
                    <a:pt x="2356" y="3460"/>
                  </a:lnTo>
                  <a:lnTo>
                    <a:pt x="2356" y="3451"/>
                  </a:lnTo>
                  <a:lnTo>
                    <a:pt x="2347" y="3442"/>
                  </a:lnTo>
                  <a:lnTo>
                    <a:pt x="2347" y="3433"/>
                  </a:lnTo>
                  <a:lnTo>
                    <a:pt x="2356" y="3433"/>
                  </a:lnTo>
                  <a:lnTo>
                    <a:pt x="2356" y="3451"/>
                  </a:lnTo>
                  <a:lnTo>
                    <a:pt x="2364" y="3451"/>
                  </a:lnTo>
                  <a:lnTo>
                    <a:pt x="2373" y="3451"/>
                  </a:lnTo>
                  <a:lnTo>
                    <a:pt x="2356" y="3460"/>
                  </a:lnTo>
                  <a:lnTo>
                    <a:pt x="2364" y="3477"/>
                  </a:lnTo>
                  <a:lnTo>
                    <a:pt x="2373" y="3486"/>
                  </a:lnTo>
                  <a:lnTo>
                    <a:pt x="2364" y="3495"/>
                  </a:lnTo>
                  <a:lnTo>
                    <a:pt x="2364" y="3504"/>
                  </a:lnTo>
                  <a:lnTo>
                    <a:pt x="2373" y="3504"/>
                  </a:lnTo>
                  <a:lnTo>
                    <a:pt x="2391" y="3504"/>
                  </a:lnTo>
                  <a:lnTo>
                    <a:pt x="2400" y="3504"/>
                  </a:lnTo>
                  <a:lnTo>
                    <a:pt x="2409" y="3513"/>
                  </a:lnTo>
                  <a:lnTo>
                    <a:pt x="2409" y="3521"/>
                  </a:lnTo>
                  <a:lnTo>
                    <a:pt x="2426" y="3521"/>
                  </a:lnTo>
                  <a:lnTo>
                    <a:pt x="2426" y="3513"/>
                  </a:lnTo>
                  <a:lnTo>
                    <a:pt x="2426" y="3504"/>
                  </a:lnTo>
                  <a:lnTo>
                    <a:pt x="2426" y="3486"/>
                  </a:lnTo>
                  <a:lnTo>
                    <a:pt x="2417" y="3477"/>
                  </a:lnTo>
                  <a:lnTo>
                    <a:pt x="2417" y="3468"/>
                  </a:lnTo>
                  <a:lnTo>
                    <a:pt x="2417" y="3460"/>
                  </a:lnTo>
                  <a:lnTo>
                    <a:pt x="2409" y="3451"/>
                  </a:lnTo>
                  <a:lnTo>
                    <a:pt x="2409" y="3424"/>
                  </a:lnTo>
                  <a:lnTo>
                    <a:pt x="2400" y="3416"/>
                  </a:lnTo>
                  <a:lnTo>
                    <a:pt x="2409" y="3416"/>
                  </a:lnTo>
                  <a:lnTo>
                    <a:pt x="2400" y="3407"/>
                  </a:lnTo>
                  <a:lnTo>
                    <a:pt x="2409" y="3398"/>
                  </a:lnTo>
                  <a:lnTo>
                    <a:pt x="2409" y="3389"/>
                  </a:lnTo>
                  <a:lnTo>
                    <a:pt x="2409" y="3398"/>
                  </a:lnTo>
                  <a:lnTo>
                    <a:pt x="2409" y="3407"/>
                  </a:lnTo>
                  <a:lnTo>
                    <a:pt x="2417" y="3424"/>
                  </a:lnTo>
                  <a:lnTo>
                    <a:pt x="2426" y="3451"/>
                  </a:lnTo>
                  <a:lnTo>
                    <a:pt x="2426" y="3460"/>
                  </a:lnTo>
                  <a:lnTo>
                    <a:pt x="2435" y="3460"/>
                  </a:lnTo>
                  <a:lnTo>
                    <a:pt x="2435" y="3468"/>
                  </a:lnTo>
                  <a:lnTo>
                    <a:pt x="2435" y="3477"/>
                  </a:lnTo>
                  <a:lnTo>
                    <a:pt x="2453" y="3495"/>
                  </a:lnTo>
                  <a:lnTo>
                    <a:pt x="2461" y="3504"/>
                  </a:lnTo>
                  <a:lnTo>
                    <a:pt x="2470" y="3504"/>
                  </a:lnTo>
                  <a:lnTo>
                    <a:pt x="2479" y="3513"/>
                  </a:lnTo>
                  <a:lnTo>
                    <a:pt x="2488" y="3521"/>
                  </a:lnTo>
                  <a:lnTo>
                    <a:pt x="2497" y="3513"/>
                  </a:lnTo>
                  <a:lnTo>
                    <a:pt x="2506" y="3504"/>
                  </a:lnTo>
                  <a:lnTo>
                    <a:pt x="2514" y="3495"/>
                  </a:lnTo>
                  <a:lnTo>
                    <a:pt x="2514" y="3486"/>
                  </a:lnTo>
                  <a:lnTo>
                    <a:pt x="2514" y="3495"/>
                  </a:lnTo>
                  <a:lnTo>
                    <a:pt x="2506" y="3513"/>
                  </a:lnTo>
                  <a:lnTo>
                    <a:pt x="2506" y="3521"/>
                  </a:lnTo>
                  <a:lnTo>
                    <a:pt x="2506" y="3530"/>
                  </a:lnTo>
                  <a:lnTo>
                    <a:pt x="2506" y="3539"/>
                  </a:lnTo>
                  <a:lnTo>
                    <a:pt x="2514" y="3548"/>
                  </a:lnTo>
                  <a:lnTo>
                    <a:pt x="2523" y="3548"/>
                  </a:lnTo>
                  <a:lnTo>
                    <a:pt x="2523" y="3557"/>
                  </a:lnTo>
                  <a:lnTo>
                    <a:pt x="2532" y="3557"/>
                  </a:lnTo>
                  <a:lnTo>
                    <a:pt x="2532" y="3566"/>
                  </a:lnTo>
                  <a:lnTo>
                    <a:pt x="2532" y="3557"/>
                  </a:lnTo>
                  <a:lnTo>
                    <a:pt x="2541" y="3557"/>
                  </a:lnTo>
                  <a:lnTo>
                    <a:pt x="2567" y="3557"/>
                  </a:lnTo>
                  <a:lnTo>
                    <a:pt x="2541" y="3557"/>
                  </a:lnTo>
                  <a:lnTo>
                    <a:pt x="2541" y="3566"/>
                  </a:lnTo>
                  <a:lnTo>
                    <a:pt x="2550" y="3574"/>
                  </a:lnTo>
                  <a:lnTo>
                    <a:pt x="2576" y="3592"/>
                  </a:lnTo>
                  <a:lnTo>
                    <a:pt x="2567" y="3592"/>
                  </a:lnTo>
                  <a:lnTo>
                    <a:pt x="2558" y="3583"/>
                  </a:lnTo>
                  <a:lnTo>
                    <a:pt x="2541" y="3574"/>
                  </a:lnTo>
                  <a:lnTo>
                    <a:pt x="2532" y="3583"/>
                  </a:lnTo>
                  <a:lnTo>
                    <a:pt x="2541" y="3592"/>
                  </a:lnTo>
                  <a:lnTo>
                    <a:pt x="2550" y="3619"/>
                  </a:lnTo>
                  <a:lnTo>
                    <a:pt x="2550" y="3636"/>
                  </a:lnTo>
                  <a:lnTo>
                    <a:pt x="2585" y="3645"/>
                  </a:lnTo>
                  <a:lnTo>
                    <a:pt x="2594" y="3645"/>
                  </a:lnTo>
                  <a:lnTo>
                    <a:pt x="2594" y="3654"/>
                  </a:lnTo>
                  <a:lnTo>
                    <a:pt x="2594" y="3663"/>
                  </a:lnTo>
                  <a:lnTo>
                    <a:pt x="2603" y="3671"/>
                  </a:lnTo>
                  <a:lnTo>
                    <a:pt x="2611" y="3671"/>
                  </a:lnTo>
                  <a:lnTo>
                    <a:pt x="2620" y="3671"/>
                  </a:lnTo>
                  <a:lnTo>
                    <a:pt x="2620" y="3689"/>
                  </a:lnTo>
                  <a:lnTo>
                    <a:pt x="2629" y="3689"/>
                  </a:lnTo>
                  <a:lnTo>
                    <a:pt x="2629" y="3698"/>
                  </a:lnTo>
                  <a:lnTo>
                    <a:pt x="2638" y="3707"/>
                  </a:lnTo>
                  <a:lnTo>
                    <a:pt x="2647" y="3716"/>
                  </a:lnTo>
                  <a:lnTo>
                    <a:pt x="2656" y="3716"/>
                  </a:lnTo>
                  <a:lnTo>
                    <a:pt x="2656" y="3724"/>
                  </a:lnTo>
                  <a:lnTo>
                    <a:pt x="2664" y="3733"/>
                  </a:lnTo>
                  <a:lnTo>
                    <a:pt x="2691" y="3733"/>
                  </a:lnTo>
                  <a:lnTo>
                    <a:pt x="2673" y="3742"/>
                  </a:lnTo>
                  <a:lnTo>
                    <a:pt x="2664" y="3742"/>
                  </a:lnTo>
                  <a:lnTo>
                    <a:pt x="2656" y="3760"/>
                  </a:lnTo>
                  <a:lnTo>
                    <a:pt x="2647" y="3769"/>
                  </a:lnTo>
                  <a:lnTo>
                    <a:pt x="2647" y="3777"/>
                  </a:lnTo>
                  <a:lnTo>
                    <a:pt x="2638" y="3777"/>
                  </a:lnTo>
                  <a:lnTo>
                    <a:pt x="2638" y="3786"/>
                  </a:lnTo>
                  <a:lnTo>
                    <a:pt x="2647" y="3795"/>
                  </a:lnTo>
                  <a:lnTo>
                    <a:pt x="2656" y="3804"/>
                  </a:lnTo>
                  <a:lnTo>
                    <a:pt x="2664" y="3795"/>
                  </a:lnTo>
                  <a:lnTo>
                    <a:pt x="2664" y="3786"/>
                  </a:lnTo>
                  <a:lnTo>
                    <a:pt x="2673" y="3777"/>
                  </a:lnTo>
                  <a:lnTo>
                    <a:pt x="2664" y="3769"/>
                  </a:lnTo>
                  <a:lnTo>
                    <a:pt x="2673" y="3769"/>
                  </a:lnTo>
                  <a:lnTo>
                    <a:pt x="2682" y="3760"/>
                  </a:lnTo>
                  <a:lnTo>
                    <a:pt x="2708" y="3751"/>
                  </a:lnTo>
                  <a:lnTo>
                    <a:pt x="2726" y="3742"/>
                  </a:lnTo>
                  <a:lnTo>
                    <a:pt x="2726" y="3751"/>
                  </a:lnTo>
                  <a:lnTo>
                    <a:pt x="2717" y="3751"/>
                  </a:lnTo>
                  <a:lnTo>
                    <a:pt x="2717" y="3760"/>
                  </a:lnTo>
                  <a:lnTo>
                    <a:pt x="2726" y="3777"/>
                  </a:lnTo>
                  <a:lnTo>
                    <a:pt x="2735" y="3786"/>
                  </a:lnTo>
                  <a:lnTo>
                    <a:pt x="2735" y="3795"/>
                  </a:lnTo>
                  <a:lnTo>
                    <a:pt x="2735" y="3804"/>
                  </a:lnTo>
                  <a:lnTo>
                    <a:pt x="2735" y="3813"/>
                  </a:lnTo>
                  <a:lnTo>
                    <a:pt x="2735" y="3822"/>
                  </a:lnTo>
                  <a:lnTo>
                    <a:pt x="2744" y="3822"/>
                  </a:lnTo>
                  <a:lnTo>
                    <a:pt x="2744" y="3830"/>
                  </a:lnTo>
                  <a:lnTo>
                    <a:pt x="2726" y="3830"/>
                  </a:lnTo>
                  <a:lnTo>
                    <a:pt x="2726" y="3839"/>
                  </a:lnTo>
                  <a:lnTo>
                    <a:pt x="2726" y="3848"/>
                  </a:lnTo>
                  <a:lnTo>
                    <a:pt x="2735" y="3866"/>
                  </a:lnTo>
                  <a:lnTo>
                    <a:pt x="2735" y="3874"/>
                  </a:lnTo>
                  <a:lnTo>
                    <a:pt x="2753" y="3883"/>
                  </a:lnTo>
                  <a:lnTo>
                    <a:pt x="2761" y="3883"/>
                  </a:lnTo>
                  <a:lnTo>
                    <a:pt x="2779" y="3874"/>
                  </a:lnTo>
                  <a:lnTo>
                    <a:pt x="2788" y="3866"/>
                  </a:lnTo>
                  <a:lnTo>
                    <a:pt x="2788" y="3857"/>
                  </a:lnTo>
                  <a:lnTo>
                    <a:pt x="2788" y="3848"/>
                  </a:lnTo>
                  <a:lnTo>
                    <a:pt x="2797" y="3830"/>
                  </a:lnTo>
                  <a:lnTo>
                    <a:pt x="2797" y="3822"/>
                  </a:lnTo>
                  <a:lnTo>
                    <a:pt x="2797" y="3813"/>
                  </a:lnTo>
                  <a:lnTo>
                    <a:pt x="2797" y="3804"/>
                  </a:lnTo>
                  <a:lnTo>
                    <a:pt x="2788" y="3795"/>
                  </a:lnTo>
                  <a:lnTo>
                    <a:pt x="2788" y="3786"/>
                  </a:lnTo>
                  <a:lnTo>
                    <a:pt x="2797" y="3777"/>
                  </a:lnTo>
                  <a:lnTo>
                    <a:pt x="2797" y="3769"/>
                  </a:lnTo>
                  <a:lnTo>
                    <a:pt x="2797" y="3777"/>
                  </a:lnTo>
                  <a:lnTo>
                    <a:pt x="2797" y="3786"/>
                  </a:lnTo>
                  <a:lnTo>
                    <a:pt x="2797" y="3795"/>
                  </a:lnTo>
                  <a:lnTo>
                    <a:pt x="2797" y="3804"/>
                  </a:lnTo>
                  <a:lnTo>
                    <a:pt x="2797" y="3813"/>
                  </a:lnTo>
                  <a:lnTo>
                    <a:pt x="2806" y="3822"/>
                  </a:lnTo>
                  <a:lnTo>
                    <a:pt x="2806" y="3830"/>
                  </a:lnTo>
                  <a:lnTo>
                    <a:pt x="2797" y="3839"/>
                  </a:lnTo>
                  <a:lnTo>
                    <a:pt x="2797" y="3848"/>
                  </a:lnTo>
                  <a:lnTo>
                    <a:pt x="2806" y="3848"/>
                  </a:lnTo>
                  <a:lnTo>
                    <a:pt x="2814" y="3830"/>
                  </a:lnTo>
                  <a:lnTo>
                    <a:pt x="2814" y="3822"/>
                  </a:lnTo>
                  <a:lnTo>
                    <a:pt x="2814" y="3813"/>
                  </a:lnTo>
                  <a:lnTo>
                    <a:pt x="2814" y="3804"/>
                  </a:lnTo>
                  <a:lnTo>
                    <a:pt x="2823" y="3804"/>
                  </a:lnTo>
                  <a:lnTo>
                    <a:pt x="2823" y="3813"/>
                  </a:lnTo>
                  <a:lnTo>
                    <a:pt x="2832" y="3813"/>
                  </a:lnTo>
                  <a:lnTo>
                    <a:pt x="2814" y="3830"/>
                  </a:lnTo>
                  <a:lnTo>
                    <a:pt x="2806" y="3839"/>
                  </a:lnTo>
                  <a:lnTo>
                    <a:pt x="2806" y="3848"/>
                  </a:lnTo>
                  <a:lnTo>
                    <a:pt x="2797" y="3866"/>
                  </a:lnTo>
                  <a:lnTo>
                    <a:pt x="2788" y="3874"/>
                  </a:lnTo>
                  <a:lnTo>
                    <a:pt x="2788" y="3883"/>
                  </a:lnTo>
                  <a:lnTo>
                    <a:pt x="2779" y="3892"/>
                  </a:lnTo>
                  <a:lnTo>
                    <a:pt x="2770" y="3892"/>
                  </a:lnTo>
                  <a:lnTo>
                    <a:pt x="2770" y="3901"/>
                  </a:lnTo>
                  <a:lnTo>
                    <a:pt x="2770" y="3910"/>
                  </a:lnTo>
                  <a:lnTo>
                    <a:pt x="2770" y="3919"/>
                  </a:lnTo>
                  <a:lnTo>
                    <a:pt x="2770" y="3927"/>
                  </a:lnTo>
                  <a:lnTo>
                    <a:pt x="2779" y="3936"/>
                  </a:lnTo>
                  <a:lnTo>
                    <a:pt x="2797" y="3945"/>
                  </a:lnTo>
                  <a:lnTo>
                    <a:pt x="2806" y="3936"/>
                  </a:lnTo>
                  <a:lnTo>
                    <a:pt x="2814" y="3936"/>
                  </a:lnTo>
                  <a:lnTo>
                    <a:pt x="2832" y="3936"/>
                  </a:lnTo>
                  <a:lnTo>
                    <a:pt x="2814" y="3945"/>
                  </a:lnTo>
                  <a:lnTo>
                    <a:pt x="2797" y="3945"/>
                  </a:lnTo>
                  <a:lnTo>
                    <a:pt x="2797" y="3963"/>
                  </a:lnTo>
                  <a:lnTo>
                    <a:pt x="2788" y="3972"/>
                  </a:lnTo>
                  <a:lnTo>
                    <a:pt x="2779" y="3989"/>
                  </a:lnTo>
                  <a:lnTo>
                    <a:pt x="2779" y="3998"/>
                  </a:lnTo>
                  <a:lnTo>
                    <a:pt x="2797" y="3998"/>
                  </a:lnTo>
                  <a:lnTo>
                    <a:pt x="2806" y="4007"/>
                  </a:lnTo>
                  <a:lnTo>
                    <a:pt x="2814" y="4016"/>
                  </a:lnTo>
                  <a:lnTo>
                    <a:pt x="2823" y="4024"/>
                  </a:lnTo>
                  <a:lnTo>
                    <a:pt x="2832" y="4033"/>
                  </a:lnTo>
                  <a:lnTo>
                    <a:pt x="2841" y="4024"/>
                  </a:lnTo>
                  <a:lnTo>
                    <a:pt x="2858" y="4024"/>
                  </a:lnTo>
                  <a:lnTo>
                    <a:pt x="2858" y="4016"/>
                  </a:lnTo>
                  <a:lnTo>
                    <a:pt x="2858" y="3998"/>
                  </a:lnTo>
                  <a:lnTo>
                    <a:pt x="2867" y="3980"/>
                  </a:lnTo>
                  <a:lnTo>
                    <a:pt x="2876" y="3980"/>
                  </a:lnTo>
                  <a:lnTo>
                    <a:pt x="2876" y="3972"/>
                  </a:lnTo>
                  <a:lnTo>
                    <a:pt x="2876" y="3980"/>
                  </a:lnTo>
                  <a:lnTo>
                    <a:pt x="2885" y="3980"/>
                  </a:lnTo>
                  <a:lnTo>
                    <a:pt x="2894" y="3972"/>
                  </a:lnTo>
                  <a:lnTo>
                    <a:pt x="2903" y="3972"/>
                  </a:lnTo>
                  <a:lnTo>
                    <a:pt x="2911" y="3972"/>
                  </a:lnTo>
                  <a:lnTo>
                    <a:pt x="2903" y="3980"/>
                  </a:lnTo>
                  <a:lnTo>
                    <a:pt x="2894" y="3980"/>
                  </a:lnTo>
                  <a:lnTo>
                    <a:pt x="2894" y="3989"/>
                  </a:lnTo>
                  <a:lnTo>
                    <a:pt x="2903" y="4007"/>
                  </a:lnTo>
                  <a:lnTo>
                    <a:pt x="2911" y="4016"/>
                  </a:lnTo>
                  <a:lnTo>
                    <a:pt x="2920" y="4007"/>
                  </a:lnTo>
                  <a:lnTo>
                    <a:pt x="2929" y="4007"/>
                  </a:lnTo>
                  <a:lnTo>
                    <a:pt x="2938" y="4016"/>
                  </a:lnTo>
                  <a:lnTo>
                    <a:pt x="2955" y="4024"/>
                  </a:lnTo>
                  <a:lnTo>
                    <a:pt x="2955" y="4033"/>
                  </a:lnTo>
                  <a:lnTo>
                    <a:pt x="2947" y="4024"/>
                  </a:lnTo>
                  <a:lnTo>
                    <a:pt x="2938" y="4016"/>
                  </a:lnTo>
                  <a:lnTo>
                    <a:pt x="2929" y="4016"/>
                  </a:lnTo>
                  <a:lnTo>
                    <a:pt x="2920" y="4016"/>
                  </a:lnTo>
                  <a:lnTo>
                    <a:pt x="2911" y="4016"/>
                  </a:lnTo>
                  <a:lnTo>
                    <a:pt x="2885" y="4007"/>
                  </a:lnTo>
                  <a:lnTo>
                    <a:pt x="2885" y="3989"/>
                  </a:lnTo>
                  <a:lnTo>
                    <a:pt x="2876" y="3989"/>
                  </a:lnTo>
                  <a:lnTo>
                    <a:pt x="2867" y="3998"/>
                  </a:lnTo>
                  <a:lnTo>
                    <a:pt x="2858" y="4007"/>
                  </a:lnTo>
                  <a:lnTo>
                    <a:pt x="2867" y="4016"/>
                  </a:lnTo>
                  <a:lnTo>
                    <a:pt x="2867" y="4024"/>
                  </a:lnTo>
                  <a:lnTo>
                    <a:pt x="2885" y="4024"/>
                  </a:lnTo>
                  <a:lnTo>
                    <a:pt x="2903" y="4033"/>
                  </a:lnTo>
                  <a:lnTo>
                    <a:pt x="2911" y="4042"/>
                  </a:lnTo>
                  <a:lnTo>
                    <a:pt x="2911" y="4069"/>
                  </a:lnTo>
                  <a:lnTo>
                    <a:pt x="2920" y="4077"/>
                  </a:lnTo>
                  <a:lnTo>
                    <a:pt x="2938" y="4069"/>
                  </a:lnTo>
                  <a:lnTo>
                    <a:pt x="2947" y="4069"/>
                  </a:lnTo>
                  <a:lnTo>
                    <a:pt x="2938" y="4077"/>
                  </a:lnTo>
                  <a:lnTo>
                    <a:pt x="2938" y="4095"/>
                  </a:lnTo>
                  <a:lnTo>
                    <a:pt x="2929" y="4113"/>
                  </a:lnTo>
                  <a:lnTo>
                    <a:pt x="2929" y="4122"/>
                  </a:lnTo>
                  <a:lnTo>
                    <a:pt x="2938" y="4122"/>
                  </a:lnTo>
                  <a:lnTo>
                    <a:pt x="2947" y="4104"/>
                  </a:lnTo>
                  <a:lnTo>
                    <a:pt x="2955" y="4104"/>
                  </a:lnTo>
                  <a:lnTo>
                    <a:pt x="2947" y="4113"/>
                  </a:lnTo>
                  <a:lnTo>
                    <a:pt x="2947" y="4122"/>
                  </a:lnTo>
                  <a:lnTo>
                    <a:pt x="2947" y="4130"/>
                  </a:lnTo>
                  <a:lnTo>
                    <a:pt x="2920" y="4139"/>
                  </a:lnTo>
                  <a:lnTo>
                    <a:pt x="2938" y="4157"/>
                  </a:lnTo>
                  <a:lnTo>
                    <a:pt x="2938" y="4183"/>
                  </a:lnTo>
                  <a:lnTo>
                    <a:pt x="2947" y="4166"/>
                  </a:lnTo>
                  <a:lnTo>
                    <a:pt x="2955" y="4139"/>
                  </a:lnTo>
                  <a:lnTo>
                    <a:pt x="2964" y="4130"/>
                  </a:lnTo>
                  <a:lnTo>
                    <a:pt x="2973" y="4130"/>
                  </a:lnTo>
                  <a:lnTo>
                    <a:pt x="2982" y="4122"/>
                  </a:lnTo>
                  <a:lnTo>
                    <a:pt x="3017" y="4095"/>
                  </a:lnTo>
                  <a:lnTo>
                    <a:pt x="3017" y="4086"/>
                  </a:lnTo>
                  <a:lnTo>
                    <a:pt x="3017" y="4077"/>
                  </a:lnTo>
                  <a:lnTo>
                    <a:pt x="3026" y="4077"/>
                  </a:lnTo>
                  <a:lnTo>
                    <a:pt x="3026" y="4086"/>
                  </a:lnTo>
                  <a:lnTo>
                    <a:pt x="3026" y="4095"/>
                  </a:lnTo>
                  <a:lnTo>
                    <a:pt x="3008" y="4104"/>
                  </a:lnTo>
                  <a:lnTo>
                    <a:pt x="3008" y="4113"/>
                  </a:lnTo>
                  <a:lnTo>
                    <a:pt x="3008" y="4122"/>
                  </a:lnTo>
                  <a:lnTo>
                    <a:pt x="3026" y="4130"/>
                  </a:lnTo>
                  <a:lnTo>
                    <a:pt x="3026" y="4139"/>
                  </a:lnTo>
                  <a:lnTo>
                    <a:pt x="3044" y="4148"/>
                  </a:lnTo>
                  <a:lnTo>
                    <a:pt x="3035" y="4148"/>
                  </a:lnTo>
                  <a:lnTo>
                    <a:pt x="3026" y="4139"/>
                  </a:lnTo>
                  <a:lnTo>
                    <a:pt x="3026" y="4130"/>
                  </a:lnTo>
                  <a:lnTo>
                    <a:pt x="3017" y="4130"/>
                  </a:lnTo>
                  <a:lnTo>
                    <a:pt x="3008" y="4130"/>
                  </a:lnTo>
                  <a:lnTo>
                    <a:pt x="3008" y="4122"/>
                  </a:lnTo>
                  <a:lnTo>
                    <a:pt x="2991" y="4122"/>
                  </a:lnTo>
                  <a:lnTo>
                    <a:pt x="2982" y="4130"/>
                  </a:lnTo>
                  <a:lnTo>
                    <a:pt x="2973" y="4130"/>
                  </a:lnTo>
                  <a:lnTo>
                    <a:pt x="2964" y="4139"/>
                  </a:lnTo>
                  <a:lnTo>
                    <a:pt x="2964" y="4148"/>
                  </a:lnTo>
                  <a:lnTo>
                    <a:pt x="2955" y="4157"/>
                  </a:lnTo>
                  <a:lnTo>
                    <a:pt x="2964" y="4157"/>
                  </a:lnTo>
                  <a:lnTo>
                    <a:pt x="2964" y="4166"/>
                  </a:lnTo>
                  <a:lnTo>
                    <a:pt x="2955" y="4175"/>
                  </a:lnTo>
                  <a:lnTo>
                    <a:pt x="2955" y="4183"/>
                  </a:lnTo>
                  <a:lnTo>
                    <a:pt x="2955" y="4192"/>
                  </a:lnTo>
                  <a:lnTo>
                    <a:pt x="2964" y="4201"/>
                  </a:lnTo>
                  <a:lnTo>
                    <a:pt x="2964" y="4210"/>
                  </a:lnTo>
                  <a:lnTo>
                    <a:pt x="2973" y="4210"/>
                  </a:lnTo>
                  <a:lnTo>
                    <a:pt x="2982" y="4201"/>
                  </a:lnTo>
                  <a:lnTo>
                    <a:pt x="2991" y="4192"/>
                  </a:lnTo>
                  <a:lnTo>
                    <a:pt x="3000" y="4183"/>
                  </a:lnTo>
                  <a:lnTo>
                    <a:pt x="3017" y="4183"/>
                  </a:lnTo>
                  <a:lnTo>
                    <a:pt x="3044" y="4183"/>
                  </a:lnTo>
                  <a:lnTo>
                    <a:pt x="3044" y="4192"/>
                  </a:lnTo>
                  <a:lnTo>
                    <a:pt x="3026" y="4192"/>
                  </a:lnTo>
                  <a:lnTo>
                    <a:pt x="3000" y="4192"/>
                  </a:lnTo>
                  <a:lnTo>
                    <a:pt x="2991" y="4201"/>
                  </a:lnTo>
                  <a:lnTo>
                    <a:pt x="2973" y="4219"/>
                  </a:lnTo>
                  <a:lnTo>
                    <a:pt x="2973" y="4227"/>
                  </a:lnTo>
                  <a:lnTo>
                    <a:pt x="2973" y="4245"/>
                  </a:lnTo>
                  <a:lnTo>
                    <a:pt x="2982" y="4245"/>
                  </a:lnTo>
                  <a:lnTo>
                    <a:pt x="2991" y="4254"/>
                  </a:lnTo>
                  <a:lnTo>
                    <a:pt x="3000" y="4263"/>
                  </a:lnTo>
                  <a:lnTo>
                    <a:pt x="3017" y="4272"/>
                  </a:lnTo>
                  <a:lnTo>
                    <a:pt x="3026" y="4263"/>
                  </a:lnTo>
                  <a:lnTo>
                    <a:pt x="3053" y="4263"/>
                  </a:lnTo>
                  <a:lnTo>
                    <a:pt x="3061" y="4254"/>
                  </a:lnTo>
                  <a:lnTo>
                    <a:pt x="3061" y="4263"/>
                  </a:lnTo>
                  <a:lnTo>
                    <a:pt x="3061" y="4272"/>
                  </a:lnTo>
                  <a:lnTo>
                    <a:pt x="3070" y="4272"/>
                  </a:lnTo>
                  <a:lnTo>
                    <a:pt x="3061" y="4280"/>
                  </a:lnTo>
                  <a:lnTo>
                    <a:pt x="3061" y="4289"/>
                  </a:lnTo>
                  <a:lnTo>
                    <a:pt x="3070" y="4289"/>
                  </a:lnTo>
                  <a:lnTo>
                    <a:pt x="3097" y="4280"/>
                  </a:lnTo>
                  <a:lnTo>
                    <a:pt x="3105" y="4280"/>
                  </a:lnTo>
                  <a:lnTo>
                    <a:pt x="3105" y="4289"/>
                  </a:lnTo>
                  <a:lnTo>
                    <a:pt x="3088" y="4289"/>
                  </a:lnTo>
                  <a:lnTo>
                    <a:pt x="3079" y="4289"/>
                  </a:lnTo>
                  <a:lnTo>
                    <a:pt x="3061" y="4298"/>
                  </a:lnTo>
                  <a:lnTo>
                    <a:pt x="3070" y="4298"/>
                  </a:lnTo>
                  <a:lnTo>
                    <a:pt x="3079" y="4298"/>
                  </a:lnTo>
                  <a:lnTo>
                    <a:pt x="3088" y="4307"/>
                  </a:lnTo>
                  <a:lnTo>
                    <a:pt x="3097" y="4307"/>
                  </a:lnTo>
                  <a:lnTo>
                    <a:pt x="3105" y="4307"/>
                  </a:lnTo>
                  <a:lnTo>
                    <a:pt x="3114" y="4307"/>
                  </a:lnTo>
                  <a:lnTo>
                    <a:pt x="3123" y="4307"/>
                  </a:lnTo>
                  <a:lnTo>
                    <a:pt x="3123" y="4298"/>
                  </a:lnTo>
                  <a:lnTo>
                    <a:pt x="3132" y="4289"/>
                  </a:lnTo>
                  <a:lnTo>
                    <a:pt x="3132" y="4298"/>
                  </a:lnTo>
                  <a:lnTo>
                    <a:pt x="3132" y="4307"/>
                  </a:lnTo>
                  <a:lnTo>
                    <a:pt x="3150" y="4307"/>
                  </a:lnTo>
                  <a:lnTo>
                    <a:pt x="3167" y="4307"/>
                  </a:lnTo>
                  <a:lnTo>
                    <a:pt x="3167" y="4298"/>
                  </a:lnTo>
                  <a:lnTo>
                    <a:pt x="3176" y="4289"/>
                  </a:lnTo>
                  <a:lnTo>
                    <a:pt x="3176" y="4280"/>
                  </a:lnTo>
                  <a:lnTo>
                    <a:pt x="3176" y="4272"/>
                  </a:lnTo>
                  <a:lnTo>
                    <a:pt x="3176" y="4280"/>
                  </a:lnTo>
                  <a:lnTo>
                    <a:pt x="3176" y="4289"/>
                  </a:lnTo>
                  <a:lnTo>
                    <a:pt x="3176" y="4298"/>
                  </a:lnTo>
                  <a:lnTo>
                    <a:pt x="3167" y="4316"/>
                  </a:lnTo>
                  <a:lnTo>
                    <a:pt x="3176" y="4325"/>
                  </a:lnTo>
                  <a:lnTo>
                    <a:pt x="3185" y="4342"/>
                  </a:lnTo>
                  <a:lnTo>
                    <a:pt x="3185" y="4351"/>
                  </a:lnTo>
                  <a:lnTo>
                    <a:pt x="3194" y="4360"/>
                  </a:lnTo>
                  <a:lnTo>
                    <a:pt x="3211" y="4369"/>
                  </a:lnTo>
                  <a:lnTo>
                    <a:pt x="3211" y="4378"/>
                  </a:lnTo>
                  <a:lnTo>
                    <a:pt x="3220" y="4378"/>
                  </a:lnTo>
                  <a:lnTo>
                    <a:pt x="3229" y="4369"/>
                  </a:lnTo>
                  <a:lnTo>
                    <a:pt x="3238" y="4369"/>
                  </a:lnTo>
                  <a:lnTo>
                    <a:pt x="3247" y="4360"/>
                  </a:lnTo>
                  <a:lnTo>
                    <a:pt x="3247" y="4351"/>
                  </a:lnTo>
                  <a:lnTo>
                    <a:pt x="3255" y="4342"/>
                  </a:lnTo>
                  <a:lnTo>
                    <a:pt x="3247" y="4333"/>
                  </a:lnTo>
                  <a:lnTo>
                    <a:pt x="3255" y="4333"/>
                  </a:lnTo>
                  <a:lnTo>
                    <a:pt x="3255" y="4342"/>
                  </a:lnTo>
                  <a:lnTo>
                    <a:pt x="3255" y="4351"/>
                  </a:lnTo>
                  <a:lnTo>
                    <a:pt x="3247" y="4351"/>
                  </a:lnTo>
                  <a:lnTo>
                    <a:pt x="3247" y="4369"/>
                  </a:lnTo>
                  <a:lnTo>
                    <a:pt x="3255" y="4378"/>
                  </a:lnTo>
                  <a:lnTo>
                    <a:pt x="3255" y="4386"/>
                  </a:lnTo>
                  <a:lnTo>
                    <a:pt x="3264" y="4386"/>
                  </a:lnTo>
                  <a:lnTo>
                    <a:pt x="3273" y="4386"/>
                  </a:lnTo>
                  <a:lnTo>
                    <a:pt x="3264" y="4395"/>
                  </a:lnTo>
                  <a:lnTo>
                    <a:pt x="3255" y="4395"/>
                  </a:lnTo>
                  <a:lnTo>
                    <a:pt x="3255" y="4386"/>
                  </a:lnTo>
                  <a:lnTo>
                    <a:pt x="3247" y="4378"/>
                  </a:lnTo>
                  <a:lnTo>
                    <a:pt x="3238" y="4378"/>
                  </a:lnTo>
                  <a:lnTo>
                    <a:pt x="3238" y="4386"/>
                  </a:lnTo>
                  <a:lnTo>
                    <a:pt x="3247" y="4395"/>
                  </a:lnTo>
                  <a:lnTo>
                    <a:pt x="3247" y="4404"/>
                  </a:lnTo>
                  <a:lnTo>
                    <a:pt x="3255" y="4404"/>
                  </a:lnTo>
                  <a:lnTo>
                    <a:pt x="3273" y="4413"/>
                  </a:lnTo>
                  <a:lnTo>
                    <a:pt x="3282" y="4413"/>
                  </a:lnTo>
                  <a:lnTo>
                    <a:pt x="3282" y="4404"/>
                  </a:lnTo>
                  <a:lnTo>
                    <a:pt x="3291" y="4404"/>
                  </a:lnTo>
                  <a:lnTo>
                    <a:pt x="3291" y="4395"/>
                  </a:lnTo>
                  <a:lnTo>
                    <a:pt x="3300" y="4386"/>
                  </a:lnTo>
                  <a:lnTo>
                    <a:pt x="3300" y="4395"/>
                  </a:lnTo>
                  <a:lnTo>
                    <a:pt x="3300" y="4404"/>
                  </a:lnTo>
                  <a:lnTo>
                    <a:pt x="3300" y="4413"/>
                  </a:lnTo>
                  <a:lnTo>
                    <a:pt x="3291" y="4413"/>
                  </a:lnTo>
                  <a:lnTo>
                    <a:pt x="3300" y="4413"/>
                  </a:lnTo>
                  <a:lnTo>
                    <a:pt x="3317" y="4413"/>
                  </a:lnTo>
                  <a:lnTo>
                    <a:pt x="3326" y="4413"/>
                  </a:lnTo>
                  <a:lnTo>
                    <a:pt x="3317" y="4422"/>
                  </a:lnTo>
                  <a:lnTo>
                    <a:pt x="3308" y="4422"/>
                  </a:lnTo>
                  <a:lnTo>
                    <a:pt x="3300" y="4422"/>
                  </a:lnTo>
                  <a:lnTo>
                    <a:pt x="3300" y="4430"/>
                  </a:lnTo>
                  <a:lnTo>
                    <a:pt x="3300" y="4439"/>
                  </a:lnTo>
                  <a:lnTo>
                    <a:pt x="3308" y="4439"/>
                  </a:lnTo>
                  <a:lnTo>
                    <a:pt x="3308" y="4448"/>
                  </a:lnTo>
                  <a:lnTo>
                    <a:pt x="3317" y="4448"/>
                  </a:lnTo>
                  <a:lnTo>
                    <a:pt x="3317" y="4439"/>
                  </a:lnTo>
                  <a:lnTo>
                    <a:pt x="3326" y="4439"/>
                  </a:lnTo>
                  <a:lnTo>
                    <a:pt x="3326" y="4448"/>
                  </a:lnTo>
                  <a:lnTo>
                    <a:pt x="3335" y="4448"/>
                  </a:lnTo>
                  <a:lnTo>
                    <a:pt x="3335" y="4466"/>
                  </a:lnTo>
                  <a:lnTo>
                    <a:pt x="3344" y="4466"/>
                  </a:lnTo>
                  <a:lnTo>
                    <a:pt x="3353" y="4466"/>
                  </a:lnTo>
                  <a:lnTo>
                    <a:pt x="3353" y="4475"/>
                  </a:lnTo>
                  <a:lnTo>
                    <a:pt x="3353" y="4492"/>
                  </a:lnTo>
                  <a:lnTo>
                    <a:pt x="3344" y="4492"/>
                  </a:lnTo>
                  <a:lnTo>
                    <a:pt x="3344" y="4501"/>
                  </a:lnTo>
                  <a:lnTo>
                    <a:pt x="3353" y="4501"/>
                  </a:lnTo>
                  <a:lnTo>
                    <a:pt x="3353" y="4510"/>
                  </a:lnTo>
                  <a:lnTo>
                    <a:pt x="3361" y="4519"/>
                  </a:lnTo>
                  <a:lnTo>
                    <a:pt x="3353" y="4519"/>
                  </a:lnTo>
                  <a:lnTo>
                    <a:pt x="3353" y="4528"/>
                  </a:lnTo>
                  <a:lnTo>
                    <a:pt x="3361" y="4536"/>
                  </a:lnTo>
                  <a:lnTo>
                    <a:pt x="3361" y="4528"/>
                  </a:lnTo>
                  <a:lnTo>
                    <a:pt x="3370" y="4536"/>
                  </a:lnTo>
                  <a:lnTo>
                    <a:pt x="3370" y="4545"/>
                  </a:lnTo>
                  <a:lnTo>
                    <a:pt x="3361" y="4554"/>
                  </a:lnTo>
                  <a:lnTo>
                    <a:pt x="3361" y="4563"/>
                  </a:lnTo>
                  <a:lnTo>
                    <a:pt x="3361" y="4572"/>
                  </a:lnTo>
                  <a:lnTo>
                    <a:pt x="3361" y="4581"/>
                  </a:lnTo>
                  <a:lnTo>
                    <a:pt x="3361" y="4589"/>
                  </a:lnTo>
                  <a:lnTo>
                    <a:pt x="3361" y="4598"/>
                  </a:lnTo>
                  <a:lnTo>
                    <a:pt x="3361" y="4607"/>
                  </a:lnTo>
                  <a:lnTo>
                    <a:pt x="3353" y="4607"/>
                  </a:lnTo>
                  <a:lnTo>
                    <a:pt x="3344" y="4616"/>
                  </a:lnTo>
                  <a:lnTo>
                    <a:pt x="3344" y="4625"/>
                  </a:lnTo>
                  <a:lnTo>
                    <a:pt x="3335" y="4625"/>
                  </a:lnTo>
                  <a:lnTo>
                    <a:pt x="3326" y="4625"/>
                  </a:lnTo>
                  <a:lnTo>
                    <a:pt x="3317" y="4625"/>
                  </a:lnTo>
                  <a:lnTo>
                    <a:pt x="3317" y="4616"/>
                  </a:lnTo>
                  <a:lnTo>
                    <a:pt x="3326" y="4607"/>
                  </a:lnTo>
                  <a:lnTo>
                    <a:pt x="3335" y="4616"/>
                  </a:lnTo>
                  <a:lnTo>
                    <a:pt x="3335" y="4607"/>
                  </a:lnTo>
                  <a:lnTo>
                    <a:pt x="3344" y="4607"/>
                  </a:lnTo>
                  <a:lnTo>
                    <a:pt x="3353" y="4598"/>
                  </a:lnTo>
                  <a:lnTo>
                    <a:pt x="3353" y="4589"/>
                  </a:lnTo>
                  <a:lnTo>
                    <a:pt x="3344" y="4589"/>
                  </a:lnTo>
                  <a:lnTo>
                    <a:pt x="3344" y="4581"/>
                  </a:lnTo>
                  <a:lnTo>
                    <a:pt x="3344" y="4572"/>
                  </a:lnTo>
                  <a:lnTo>
                    <a:pt x="3353" y="4563"/>
                  </a:lnTo>
                  <a:lnTo>
                    <a:pt x="3353" y="4545"/>
                  </a:lnTo>
                  <a:lnTo>
                    <a:pt x="3344" y="4545"/>
                  </a:lnTo>
                  <a:lnTo>
                    <a:pt x="3344" y="4554"/>
                  </a:lnTo>
                  <a:lnTo>
                    <a:pt x="3335" y="4563"/>
                  </a:lnTo>
                  <a:lnTo>
                    <a:pt x="3335" y="4572"/>
                  </a:lnTo>
                  <a:lnTo>
                    <a:pt x="3326" y="4572"/>
                  </a:lnTo>
                  <a:lnTo>
                    <a:pt x="3326" y="4581"/>
                  </a:lnTo>
                  <a:lnTo>
                    <a:pt x="3317" y="4581"/>
                  </a:lnTo>
                  <a:lnTo>
                    <a:pt x="3308" y="4589"/>
                  </a:lnTo>
                  <a:lnTo>
                    <a:pt x="3308" y="4598"/>
                  </a:lnTo>
                  <a:lnTo>
                    <a:pt x="3317" y="4598"/>
                  </a:lnTo>
                  <a:lnTo>
                    <a:pt x="3326" y="4598"/>
                  </a:lnTo>
                  <a:lnTo>
                    <a:pt x="3317" y="4598"/>
                  </a:lnTo>
                  <a:lnTo>
                    <a:pt x="3308" y="4607"/>
                  </a:lnTo>
                  <a:lnTo>
                    <a:pt x="3308" y="4598"/>
                  </a:lnTo>
                  <a:lnTo>
                    <a:pt x="3308" y="4581"/>
                  </a:lnTo>
                  <a:lnTo>
                    <a:pt x="3326" y="4563"/>
                  </a:lnTo>
                  <a:lnTo>
                    <a:pt x="3335" y="4563"/>
                  </a:lnTo>
                  <a:lnTo>
                    <a:pt x="3344" y="4554"/>
                  </a:lnTo>
                  <a:lnTo>
                    <a:pt x="3344" y="4545"/>
                  </a:lnTo>
                  <a:lnTo>
                    <a:pt x="3335" y="4536"/>
                  </a:lnTo>
                  <a:lnTo>
                    <a:pt x="3335" y="4528"/>
                  </a:lnTo>
                  <a:lnTo>
                    <a:pt x="3326" y="4536"/>
                  </a:lnTo>
                  <a:lnTo>
                    <a:pt x="3317" y="4536"/>
                  </a:lnTo>
                  <a:lnTo>
                    <a:pt x="3308" y="4528"/>
                  </a:lnTo>
                  <a:lnTo>
                    <a:pt x="3300" y="4528"/>
                  </a:lnTo>
                  <a:lnTo>
                    <a:pt x="3291" y="4528"/>
                  </a:lnTo>
                  <a:lnTo>
                    <a:pt x="3247" y="4528"/>
                  </a:lnTo>
                  <a:lnTo>
                    <a:pt x="3238" y="4528"/>
                  </a:lnTo>
                  <a:lnTo>
                    <a:pt x="3229" y="4519"/>
                  </a:lnTo>
                  <a:lnTo>
                    <a:pt x="3211" y="4510"/>
                  </a:lnTo>
                  <a:lnTo>
                    <a:pt x="3194" y="4510"/>
                  </a:lnTo>
                  <a:lnTo>
                    <a:pt x="3194" y="4519"/>
                  </a:lnTo>
                  <a:lnTo>
                    <a:pt x="3194" y="4528"/>
                  </a:lnTo>
                  <a:lnTo>
                    <a:pt x="3194" y="4545"/>
                  </a:lnTo>
                  <a:lnTo>
                    <a:pt x="3194" y="4554"/>
                  </a:lnTo>
                  <a:lnTo>
                    <a:pt x="3211" y="4563"/>
                  </a:lnTo>
                  <a:lnTo>
                    <a:pt x="3211" y="4572"/>
                  </a:lnTo>
                  <a:lnTo>
                    <a:pt x="3220" y="4598"/>
                  </a:lnTo>
                  <a:lnTo>
                    <a:pt x="3229" y="4616"/>
                  </a:lnTo>
                  <a:lnTo>
                    <a:pt x="3229" y="4625"/>
                  </a:lnTo>
                  <a:lnTo>
                    <a:pt x="3229" y="4633"/>
                  </a:lnTo>
                  <a:lnTo>
                    <a:pt x="3229" y="4642"/>
                  </a:lnTo>
                  <a:lnTo>
                    <a:pt x="3238" y="4633"/>
                  </a:lnTo>
                  <a:lnTo>
                    <a:pt x="3247" y="4633"/>
                  </a:lnTo>
                  <a:lnTo>
                    <a:pt x="3255" y="4642"/>
                  </a:lnTo>
                  <a:lnTo>
                    <a:pt x="3238" y="4651"/>
                  </a:lnTo>
                  <a:lnTo>
                    <a:pt x="3238" y="4660"/>
                  </a:lnTo>
                  <a:lnTo>
                    <a:pt x="3247" y="4660"/>
                  </a:lnTo>
                  <a:lnTo>
                    <a:pt x="3247" y="4669"/>
                  </a:lnTo>
                  <a:lnTo>
                    <a:pt x="3247" y="4678"/>
                  </a:lnTo>
                  <a:lnTo>
                    <a:pt x="3247" y="4686"/>
                  </a:lnTo>
                  <a:lnTo>
                    <a:pt x="3238" y="4678"/>
                  </a:lnTo>
                  <a:lnTo>
                    <a:pt x="3238" y="4669"/>
                  </a:lnTo>
                  <a:lnTo>
                    <a:pt x="3238" y="4686"/>
                  </a:lnTo>
                  <a:lnTo>
                    <a:pt x="3238" y="4695"/>
                  </a:lnTo>
                  <a:lnTo>
                    <a:pt x="3238" y="4704"/>
                  </a:lnTo>
                  <a:lnTo>
                    <a:pt x="3247" y="4695"/>
                  </a:lnTo>
                  <a:lnTo>
                    <a:pt x="3247" y="4704"/>
                  </a:lnTo>
                  <a:lnTo>
                    <a:pt x="3264" y="4704"/>
                  </a:lnTo>
                  <a:lnTo>
                    <a:pt x="3282" y="4704"/>
                  </a:lnTo>
                  <a:lnTo>
                    <a:pt x="3291" y="4704"/>
                  </a:lnTo>
                  <a:lnTo>
                    <a:pt x="3291" y="4713"/>
                  </a:lnTo>
                  <a:lnTo>
                    <a:pt x="3300" y="4713"/>
                  </a:lnTo>
                  <a:lnTo>
                    <a:pt x="3291" y="4713"/>
                  </a:lnTo>
                  <a:lnTo>
                    <a:pt x="3282" y="4704"/>
                  </a:lnTo>
                  <a:lnTo>
                    <a:pt x="3264" y="4713"/>
                  </a:lnTo>
                  <a:lnTo>
                    <a:pt x="3247" y="4713"/>
                  </a:lnTo>
                  <a:lnTo>
                    <a:pt x="3247" y="4704"/>
                  </a:lnTo>
                  <a:lnTo>
                    <a:pt x="3247" y="4713"/>
                  </a:lnTo>
                  <a:lnTo>
                    <a:pt x="3247" y="4739"/>
                  </a:lnTo>
                  <a:lnTo>
                    <a:pt x="3247" y="4766"/>
                  </a:lnTo>
                  <a:lnTo>
                    <a:pt x="3247" y="4775"/>
                  </a:lnTo>
                  <a:lnTo>
                    <a:pt x="3247" y="4784"/>
                  </a:lnTo>
                  <a:lnTo>
                    <a:pt x="3238" y="4836"/>
                  </a:lnTo>
                  <a:lnTo>
                    <a:pt x="3238" y="4854"/>
                  </a:lnTo>
                  <a:lnTo>
                    <a:pt x="3238" y="4863"/>
                  </a:lnTo>
                  <a:lnTo>
                    <a:pt x="3238" y="4872"/>
                  </a:lnTo>
                  <a:lnTo>
                    <a:pt x="3238" y="4881"/>
                  </a:lnTo>
                  <a:lnTo>
                    <a:pt x="3229" y="4907"/>
                  </a:lnTo>
                  <a:lnTo>
                    <a:pt x="3229" y="4934"/>
                  </a:lnTo>
                  <a:lnTo>
                    <a:pt x="3229" y="4942"/>
                  </a:lnTo>
                  <a:lnTo>
                    <a:pt x="3229" y="4951"/>
                  </a:lnTo>
                  <a:lnTo>
                    <a:pt x="3220" y="4960"/>
                  </a:lnTo>
                  <a:lnTo>
                    <a:pt x="3229" y="4960"/>
                  </a:lnTo>
                  <a:lnTo>
                    <a:pt x="3220" y="4969"/>
                  </a:lnTo>
                  <a:lnTo>
                    <a:pt x="3211" y="4995"/>
                  </a:lnTo>
                  <a:lnTo>
                    <a:pt x="3203" y="5004"/>
                  </a:lnTo>
                  <a:lnTo>
                    <a:pt x="3203" y="5013"/>
                  </a:lnTo>
                  <a:lnTo>
                    <a:pt x="3211" y="5031"/>
                  </a:lnTo>
                  <a:lnTo>
                    <a:pt x="3211" y="5057"/>
                  </a:lnTo>
                  <a:lnTo>
                    <a:pt x="3220" y="5075"/>
                  </a:lnTo>
                  <a:lnTo>
                    <a:pt x="3229" y="5084"/>
                  </a:lnTo>
                  <a:lnTo>
                    <a:pt x="3229" y="5092"/>
                  </a:lnTo>
                  <a:lnTo>
                    <a:pt x="3229" y="5101"/>
                  </a:lnTo>
                  <a:lnTo>
                    <a:pt x="3229" y="5110"/>
                  </a:lnTo>
                  <a:lnTo>
                    <a:pt x="3238" y="5119"/>
                  </a:lnTo>
                  <a:lnTo>
                    <a:pt x="3238" y="5137"/>
                  </a:lnTo>
                  <a:lnTo>
                    <a:pt x="3229" y="5163"/>
                  </a:lnTo>
                  <a:lnTo>
                    <a:pt x="3229" y="5181"/>
                  </a:lnTo>
                  <a:lnTo>
                    <a:pt x="3229" y="5189"/>
                  </a:lnTo>
                  <a:lnTo>
                    <a:pt x="3229" y="5198"/>
                  </a:lnTo>
                  <a:lnTo>
                    <a:pt x="3220" y="5198"/>
                  </a:lnTo>
                  <a:lnTo>
                    <a:pt x="3229" y="5198"/>
                  </a:lnTo>
                  <a:lnTo>
                    <a:pt x="3220" y="5198"/>
                  </a:lnTo>
                  <a:lnTo>
                    <a:pt x="3220" y="5207"/>
                  </a:lnTo>
                  <a:lnTo>
                    <a:pt x="3211" y="5216"/>
                  </a:lnTo>
                  <a:lnTo>
                    <a:pt x="3220" y="5225"/>
                  </a:lnTo>
                  <a:lnTo>
                    <a:pt x="3220" y="5242"/>
                  </a:lnTo>
                  <a:lnTo>
                    <a:pt x="3238" y="5251"/>
                  </a:lnTo>
                  <a:lnTo>
                    <a:pt x="3255" y="5269"/>
                  </a:lnTo>
                  <a:lnTo>
                    <a:pt x="3255" y="5278"/>
                  </a:lnTo>
                  <a:lnTo>
                    <a:pt x="3255" y="5295"/>
                  </a:lnTo>
                  <a:lnTo>
                    <a:pt x="3255" y="5304"/>
                  </a:lnTo>
                  <a:lnTo>
                    <a:pt x="3255" y="5313"/>
                  </a:lnTo>
                  <a:lnTo>
                    <a:pt x="3264" y="5340"/>
                  </a:lnTo>
                  <a:lnTo>
                    <a:pt x="3264" y="5357"/>
                  </a:lnTo>
                  <a:lnTo>
                    <a:pt x="3282" y="5375"/>
                  </a:lnTo>
                  <a:lnTo>
                    <a:pt x="3291" y="5384"/>
                  </a:lnTo>
                  <a:lnTo>
                    <a:pt x="3308" y="5392"/>
                  </a:lnTo>
                  <a:lnTo>
                    <a:pt x="3308" y="5410"/>
                  </a:lnTo>
                  <a:lnTo>
                    <a:pt x="3317" y="5410"/>
                  </a:lnTo>
                  <a:lnTo>
                    <a:pt x="3326" y="5419"/>
                  </a:lnTo>
                  <a:lnTo>
                    <a:pt x="3317" y="5410"/>
                  </a:lnTo>
                  <a:lnTo>
                    <a:pt x="3317" y="5428"/>
                  </a:lnTo>
                  <a:lnTo>
                    <a:pt x="3317" y="5437"/>
                  </a:lnTo>
                  <a:lnTo>
                    <a:pt x="3317" y="5428"/>
                  </a:lnTo>
                  <a:lnTo>
                    <a:pt x="3326" y="5428"/>
                  </a:lnTo>
                  <a:lnTo>
                    <a:pt x="3335" y="5437"/>
                  </a:lnTo>
                  <a:lnTo>
                    <a:pt x="3344" y="5437"/>
                  </a:lnTo>
                  <a:lnTo>
                    <a:pt x="3344" y="5445"/>
                  </a:lnTo>
                  <a:lnTo>
                    <a:pt x="3353" y="5445"/>
                  </a:lnTo>
                  <a:lnTo>
                    <a:pt x="3353" y="5437"/>
                  </a:lnTo>
                  <a:lnTo>
                    <a:pt x="3353" y="5419"/>
                  </a:lnTo>
                  <a:lnTo>
                    <a:pt x="3361" y="5419"/>
                  </a:lnTo>
                  <a:lnTo>
                    <a:pt x="3370" y="5428"/>
                  </a:lnTo>
                  <a:lnTo>
                    <a:pt x="3379" y="5428"/>
                  </a:lnTo>
                  <a:lnTo>
                    <a:pt x="3388" y="5419"/>
                  </a:lnTo>
                  <a:lnTo>
                    <a:pt x="3397" y="5428"/>
                  </a:lnTo>
                  <a:lnTo>
                    <a:pt x="3405" y="5428"/>
                  </a:lnTo>
                  <a:lnTo>
                    <a:pt x="3414" y="5428"/>
                  </a:lnTo>
                  <a:lnTo>
                    <a:pt x="3423" y="5428"/>
                  </a:lnTo>
                  <a:lnTo>
                    <a:pt x="3414" y="5428"/>
                  </a:lnTo>
                  <a:lnTo>
                    <a:pt x="3379" y="5428"/>
                  </a:lnTo>
                  <a:lnTo>
                    <a:pt x="3370" y="5428"/>
                  </a:lnTo>
                  <a:lnTo>
                    <a:pt x="3361" y="5437"/>
                  </a:lnTo>
                  <a:lnTo>
                    <a:pt x="3361" y="5445"/>
                  </a:lnTo>
                  <a:lnTo>
                    <a:pt x="3370" y="5454"/>
                  </a:lnTo>
                  <a:lnTo>
                    <a:pt x="3379" y="5463"/>
                  </a:lnTo>
                  <a:lnTo>
                    <a:pt x="3379" y="5472"/>
                  </a:lnTo>
                  <a:lnTo>
                    <a:pt x="3388" y="5481"/>
                  </a:lnTo>
                  <a:lnTo>
                    <a:pt x="3379" y="5481"/>
                  </a:lnTo>
                  <a:lnTo>
                    <a:pt x="3379" y="5472"/>
                  </a:lnTo>
                  <a:lnTo>
                    <a:pt x="3370" y="5472"/>
                  </a:lnTo>
                  <a:lnTo>
                    <a:pt x="3370" y="5463"/>
                  </a:lnTo>
                  <a:lnTo>
                    <a:pt x="3361" y="5463"/>
                  </a:lnTo>
                  <a:lnTo>
                    <a:pt x="3361" y="5454"/>
                  </a:lnTo>
                  <a:lnTo>
                    <a:pt x="3353" y="5445"/>
                  </a:lnTo>
                  <a:lnTo>
                    <a:pt x="3353" y="5454"/>
                  </a:lnTo>
                  <a:lnTo>
                    <a:pt x="3353" y="5463"/>
                  </a:lnTo>
                  <a:lnTo>
                    <a:pt x="3353" y="5472"/>
                  </a:lnTo>
                  <a:lnTo>
                    <a:pt x="3361" y="5490"/>
                  </a:lnTo>
                  <a:lnTo>
                    <a:pt x="3361" y="5498"/>
                  </a:lnTo>
                  <a:lnTo>
                    <a:pt x="3379" y="5516"/>
                  </a:lnTo>
                  <a:lnTo>
                    <a:pt x="3397" y="5525"/>
                  </a:lnTo>
                  <a:lnTo>
                    <a:pt x="3405" y="5534"/>
                  </a:lnTo>
                  <a:lnTo>
                    <a:pt x="3405" y="5543"/>
                  </a:lnTo>
                  <a:lnTo>
                    <a:pt x="3397" y="5551"/>
                  </a:lnTo>
                  <a:lnTo>
                    <a:pt x="3397" y="5569"/>
                  </a:lnTo>
                  <a:lnTo>
                    <a:pt x="3414" y="5587"/>
                  </a:lnTo>
                  <a:lnTo>
                    <a:pt x="3432" y="5604"/>
                  </a:lnTo>
                  <a:lnTo>
                    <a:pt x="3432" y="5613"/>
                  </a:lnTo>
                  <a:lnTo>
                    <a:pt x="3441" y="5622"/>
                  </a:lnTo>
                  <a:lnTo>
                    <a:pt x="3441" y="5631"/>
                  </a:lnTo>
                  <a:lnTo>
                    <a:pt x="3450" y="5631"/>
                  </a:lnTo>
                  <a:lnTo>
                    <a:pt x="3458" y="5648"/>
                  </a:lnTo>
                  <a:lnTo>
                    <a:pt x="3467" y="5648"/>
                  </a:lnTo>
                  <a:lnTo>
                    <a:pt x="3476" y="5657"/>
                  </a:lnTo>
                  <a:lnTo>
                    <a:pt x="3467" y="5657"/>
                  </a:lnTo>
                  <a:lnTo>
                    <a:pt x="3476" y="5666"/>
                  </a:lnTo>
                  <a:lnTo>
                    <a:pt x="3485" y="5675"/>
                  </a:lnTo>
                  <a:lnTo>
                    <a:pt x="3494" y="5675"/>
                  </a:lnTo>
                  <a:lnTo>
                    <a:pt x="3485" y="5693"/>
                  </a:lnTo>
                  <a:lnTo>
                    <a:pt x="3494" y="5701"/>
                  </a:lnTo>
                  <a:lnTo>
                    <a:pt x="3494" y="5710"/>
                  </a:lnTo>
                  <a:lnTo>
                    <a:pt x="3485" y="5719"/>
                  </a:lnTo>
                  <a:lnTo>
                    <a:pt x="3494" y="5719"/>
                  </a:lnTo>
                  <a:lnTo>
                    <a:pt x="3502" y="5728"/>
                  </a:lnTo>
                  <a:lnTo>
                    <a:pt x="3511" y="5728"/>
                  </a:lnTo>
                  <a:lnTo>
                    <a:pt x="3520" y="5728"/>
                  </a:lnTo>
                  <a:lnTo>
                    <a:pt x="3529" y="5728"/>
                  </a:lnTo>
                  <a:lnTo>
                    <a:pt x="3547" y="5737"/>
                  </a:lnTo>
                  <a:lnTo>
                    <a:pt x="3555" y="5737"/>
                  </a:lnTo>
                  <a:lnTo>
                    <a:pt x="3564" y="5737"/>
                  </a:lnTo>
                  <a:lnTo>
                    <a:pt x="3582" y="5737"/>
                  </a:lnTo>
                  <a:lnTo>
                    <a:pt x="3591" y="5745"/>
                  </a:lnTo>
                  <a:lnTo>
                    <a:pt x="3591" y="5754"/>
                  </a:lnTo>
                  <a:lnTo>
                    <a:pt x="3600" y="5754"/>
                  </a:lnTo>
                  <a:lnTo>
                    <a:pt x="3626" y="5763"/>
                  </a:lnTo>
                  <a:lnTo>
                    <a:pt x="3644" y="5763"/>
                  </a:lnTo>
                  <a:lnTo>
                    <a:pt x="3652" y="5781"/>
                  </a:lnTo>
                  <a:lnTo>
                    <a:pt x="3652" y="5790"/>
                  </a:lnTo>
                  <a:lnTo>
                    <a:pt x="3661" y="5790"/>
                  </a:lnTo>
                  <a:lnTo>
                    <a:pt x="3670" y="5790"/>
                  </a:lnTo>
                  <a:lnTo>
                    <a:pt x="3679" y="5790"/>
                  </a:lnTo>
                  <a:lnTo>
                    <a:pt x="3688" y="5798"/>
                  </a:lnTo>
                  <a:lnTo>
                    <a:pt x="3697" y="5807"/>
                  </a:lnTo>
                  <a:lnTo>
                    <a:pt x="3723" y="5825"/>
                  </a:lnTo>
                  <a:lnTo>
                    <a:pt x="3732" y="5843"/>
                  </a:lnTo>
                  <a:lnTo>
                    <a:pt x="3741" y="5851"/>
                  </a:lnTo>
                  <a:lnTo>
                    <a:pt x="3741" y="5860"/>
                  </a:lnTo>
                  <a:lnTo>
                    <a:pt x="3741" y="5869"/>
                  </a:lnTo>
                  <a:lnTo>
                    <a:pt x="3741" y="5878"/>
                  </a:lnTo>
                  <a:lnTo>
                    <a:pt x="3750" y="5878"/>
                  </a:lnTo>
                  <a:lnTo>
                    <a:pt x="3750" y="5887"/>
                  </a:lnTo>
                  <a:lnTo>
                    <a:pt x="3750" y="5904"/>
                  </a:lnTo>
                  <a:lnTo>
                    <a:pt x="3758" y="5904"/>
                  </a:lnTo>
                  <a:lnTo>
                    <a:pt x="3767" y="5913"/>
                  </a:lnTo>
                  <a:lnTo>
                    <a:pt x="3767" y="5931"/>
                  </a:lnTo>
                  <a:lnTo>
                    <a:pt x="3785" y="5940"/>
                  </a:lnTo>
                  <a:lnTo>
                    <a:pt x="3785" y="5948"/>
                  </a:lnTo>
                  <a:lnTo>
                    <a:pt x="3776" y="5948"/>
                  </a:lnTo>
                  <a:lnTo>
                    <a:pt x="3785" y="5957"/>
                  </a:lnTo>
                  <a:lnTo>
                    <a:pt x="3785" y="5966"/>
                  </a:lnTo>
                  <a:lnTo>
                    <a:pt x="3785" y="5975"/>
                  </a:lnTo>
                  <a:lnTo>
                    <a:pt x="3794" y="5984"/>
                  </a:lnTo>
                  <a:lnTo>
                    <a:pt x="3802" y="5993"/>
                  </a:lnTo>
                  <a:lnTo>
                    <a:pt x="3811" y="6001"/>
                  </a:lnTo>
                  <a:lnTo>
                    <a:pt x="3811" y="6010"/>
                  </a:lnTo>
                  <a:lnTo>
                    <a:pt x="3829" y="6028"/>
                  </a:lnTo>
                  <a:lnTo>
                    <a:pt x="3829" y="6037"/>
                  </a:lnTo>
                  <a:lnTo>
                    <a:pt x="3829" y="6046"/>
                  </a:lnTo>
                  <a:lnTo>
                    <a:pt x="3829" y="6054"/>
                  </a:lnTo>
                  <a:lnTo>
                    <a:pt x="3838" y="6063"/>
                  </a:lnTo>
                  <a:lnTo>
                    <a:pt x="3847" y="6063"/>
                  </a:lnTo>
                  <a:lnTo>
                    <a:pt x="3847" y="6081"/>
                  </a:lnTo>
                  <a:lnTo>
                    <a:pt x="3847" y="6099"/>
                  </a:lnTo>
                  <a:lnTo>
                    <a:pt x="3855" y="6107"/>
                  </a:lnTo>
                  <a:lnTo>
                    <a:pt x="3864" y="6116"/>
                  </a:lnTo>
                  <a:lnTo>
                    <a:pt x="3882" y="6134"/>
                  </a:lnTo>
                  <a:lnTo>
                    <a:pt x="3891" y="6134"/>
                  </a:lnTo>
                  <a:lnTo>
                    <a:pt x="3908" y="6143"/>
                  </a:lnTo>
                  <a:lnTo>
                    <a:pt x="3917" y="6151"/>
                  </a:lnTo>
                  <a:lnTo>
                    <a:pt x="3926" y="6160"/>
                  </a:lnTo>
                  <a:lnTo>
                    <a:pt x="3952" y="6196"/>
                  </a:lnTo>
                  <a:lnTo>
                    <a:pt x="3970" y="6204"/>
                  </a:lnTo>
                  <a:lnTo>
                    <a:pt x="3970" y="6213"/>
                  </a:lnTo>
                  <a:lnTo>
                    <a:pt x="3970" y="6231"/>
                  </a:lnTo>
                  <a:lnTo>
                    <a:pt x="3961" y="6249"/>
                  </a:lnTo>
                  <a:lnTo>
                    <a:pt x="3961" y="6257"/>
                  </a:lnTo>
                  <a:lnTo>
                    <a:pt x="3970" y="6257"/>
                  </a:lnTo>
                  <a:lnTo>
                    <a:pt x="3961" y="6266"/>
                  </a:lnTo>
                  <a:lnTo>
                    <a:pt x="3970" y="6275"/>
                  </a:lnTo>
                  <a:lnTo>
                    <a:pt x="3961" y="6275"/>
                  </a:lnTo>
                  <a:lnTo>
                    <a:pt x="3952" y="6266"/>
                  </a:lnTo>
                  <a:lnTo>
                    <a:pt x="3952" y="6257"/>
                  </a:lnTo>
                  <a:lnTo>
                    <a:pt x="3952" y="6266"/>
                  </a:lnTo>
                  <a:lnTo>
                    <a:pt x="3944" y="6266"/>
                  </a:lnTo>
                  <a:lnTo>
                    <a:pt x="3935" y="6266"/>
                  </a:lnTo>
                  <a:lnTo>
                    <a:pt x="3917" y="6266"/>
                  </a:lnTo>
                  <a:lnTo>
                    <a:pt x="3899" y="6266"/>
                  </a:lnTo>
                  <a:lnTo>
                    <a:pt x="3908" y="6275"/>
                  </a:lnTo>
                  <a:lnTo>
                    <a:pt x="3917" y="6275"/>
                  </a:lnTo>
                  <a:lnTo>
                    <a:pt x="3926" y="6284"/>
                  </a:lnTo>
                  <a:lnTo>
                    <a:pt x="3935" y="6293"/>
                  </a:lnTo>
                  <a:lnTo>
                    <a:pt x="3944" y="6302"/>
                  </a:lnTo>
                  <a:lnTo>
                    <a:pt x="3944" y="6310"/>
                  </a:lnTo>
                  <a:lnTo>
                    <a:pt x="3952" y="6319"/>
                  </a:lnTo>
                  <a:lnTo>
                    <a:pt x="3961" y="6319"/>
                  </a:lnTo>
                  <a:lnTo>
                    <a:pt x="3970" y="6319"/>
                  </a:lnTo>
                  <a:lnTo>
                    <a:pt x="3979" y="6328"/>
                  </a:lnTo>
                  <a:lnTo>
                    <a:pt x="3988" y="6337"/>
                  </a:lnTo>
                  <a:lnTo>
                    <a:pt x="3997" y="6337"/>
                  </a:lnTo>
                  <a:lnTo>
                    <a:pt x="3997" y="6346"/>
                  </a:lnTo>
                  <a:lnTo>
                    <a:pt x="4005" y="6354"/>
                  </a:lnTo>
                  <a:lnTo>
                    <a:pt x="4023" y="6346"/>
                  </a:lnTo>
                  <a:lnTo>
                    <a:pt x="4032" y="6346"/>
                  </a:lnTo>
                  <a:lnTo>
                    <a:pt x="4041" y="6337"/>
                  </a:lnTo>
                  <a:lnTo>
                    <a:pt x="4041" y="6346"/>
                  </a:lnTo>
                  <a:lnTo>
                    <a:pt x="4041" y="6354"/>
                  </a:lnTo>
                  <a:lnTo>
                    <a:pt x="4049" y="6363"/>
                  </a:lnTo>
                  <a:lnTo>
                    <a:pt x="4076" y="6381"/>
                  </a:lnTo>
                  <a:lnTo>
                    <a:pt x="4085" y="6390"/>
                  </a:lnTo>
                  <a:lnTo>
                    <a:pt x="4094" y="6390"/>
                  </a:lnTo>
                  <a:lnTo>
                    <a:pt x="4111" y="6416"/>
                  </a:lnTo>
                  <a:lnTo>
                    <a:pt x="4120" y="6425"/>
                  </a:lnTo>
                  <a:lnTo>
                    <a:pt x="4120" y="6434"/>
                  </a:lnTo>
                  <a:lnTo>
                    <a:pt x="4120" y="6443"/>
                  </a:lnTo>
                  <a:lnTo>
                    <a:pt x="4120" y="6452"/>
                  </a:lnTo>
                  <a:lnTo>
                    <a:pt x="4120" y="6460"/>
                  </a:lnTo>
                  <a:lnTo>
                    <a:pt x="4111" y="6487"/>
                  </a:lnTo>
                  <a:lnTo>
                    <a:pt x="4120" y="6496"/>
                  </a:lnTo>
                  <a:lnTo>
                    <a:pt x="4138" y="6513"/>
                  </a:lnTo>
                  <a:lnTo>
                    <a:pt x="4138" y="6522"/>
                  </a:lnTo>
                  <a:lnTo>
                    <a:pt x="4147" y="6522"/>
                  </a:lnTo>
                  <a:lnTo>
                    <a:pt x="4155" y="6531"/>
                  </a:lnTo>
                  <a:lnTo>
                    <a:pt x="4164" y="6540"/>
                  </a:lnTo>
                  <a:lnTo>
                    <a:pt x="4199" y="6557"/>
                  </a:lnTo>
                  <a:lnTo>
                    <a:pt x="4208" y="6566"/>
                  </a:lnTo>
                  <a:lnTo>
                    <a:pt x="4217" y="6575"/>
                  </a:lnTo>
                  <a:lnTo>
                    <a:pt x="4226" y="6584"/>
                  </a:lnTo>
                  <a:lnTo>
                    <a:pt x="4244" y="6593"/>
                  </a:lnTo>
                  <a:lnTo>
                    <a:pt x="4252" y="6602"/>
                  </a:lnTo>
                  <a:lnTo>
                    <a:pt x="4252" y="6609"/>
                  </a:lnTo>
                  <a:lnTo>
                    <a:pt x="4261" y="6618"/>
                  </a:lnTo>
                  <a:lnTo>
                    <a:pt x="4261" y="6636"/>
                  </a:lnTo>
                  <a:lnTo>
                    <a:pt x="4270" y="6645"/>
                  </a:lnTo>
                  <a:lnTo>
                    <a:pt x="4279" y="6654"/>
                  </a:lnTo>
                  <a:lnTo>
                    <a:pt x="4288" y="6645"/>
                  </a:lnTo>
                  <a:lnTo>
                    <a:pt x="4296" y="6636"/>
                  </a:lnTo>
                  <a:lnTo>
                    <a:pt x="4305" y="6627"/>
                  </a:lnTo>
                  <a:lnTo>
                    <a:pt x="4314" y="6627"/>
                  </a:lnTo>
                  <a:lnTo>
                    <a:pt x="4314" y="6609"/>
                  </a:lnTo>
                  <a:lnTo>
                    <a:pt x="4314" y="6602"/>
                  </a:lnTo>
                  <a:lnTo>
                    <a:pt x="4305" y="6593"/>
                  </a:lnTo>
                  <a:lnTo>
                    <a:pt x="4296" y="6593"/>
                  </a:lnTo>
                  <a:lnTo>
                    <a:pt x="4296" y="6584"/>
                  </a:lnTo>
                  <a:lnTo>
                    <a:pt x="4288" y="6575"/>
                  </a:lnTo>
                  <a:lnTo>
                    <a:pt x="4288" y="6566"/>
                  </a:lnTo>
                  <a:lnTo>
                    <a:pt x="4279" y="6557"/>
                  </a:lnTo>
                  <a:lnTo>
                    <a:pt x="4270" y="6557"/>
                  </a:lnTo>
                  <a:lnTo>
                    <a:pt x="4270" y="6549"/>
                  </a:lnTo>
                  <a:lnTo>
                    <a:pt x="4252" y="6540"/>
                  </a:lnTo>
                  <a:lnTo>
                    <a:pt x="4244" y="6540"/>
                  </a:lnTo>
                  <a:lnTo>
                    <a:pt x="4252" y="6549"/>
                  </a:lnTo>
                  <a:lnTo>
                    <a:pt x="4252" y="6557"/>
                  </a:lnTo>
                  <a:lnTo>
                    <a:pt x="4244" y="6557"/>
                  </a:lnTo>
                  <a:lnTo>
                    <a:pt x="4244" y="6549"/>
                  </a:lnTo>
                  <a:lnTo>
                    <a:pt x="4235" y="6549"/>
                  </a:lnTo>
                  <a:lnTo>
                    <a:pt x="4226" y="6540"/>
                  </a:lnTo>
                  <a:lnTo>
                    <a:pt x="4217" y="6522"/>
                  </a:lnTo>
                  <a:lnTo>
                    <a:pt x="4217" y="6513"/>
                  </a:lnTo>
                  <a:lnTo>
                    <a:pt x="4226" y="6505"/>
                  </a:lnTo>
                  <a:lnTo>
                    <a:pt x="4217" y="6496"/>
                  </a:lnTo>
                  <a:lnTo>
                    <a:pt x="4217" y="6487"/>
                  </a:lnTo>
                  <a:lnTo>
                    <a:pt x="4208" y="6478"/>
                  </a:lnTo>
                  <a:lnTo>
                    <a:pt x="4199" y="6452"/>
                  </a:lnTo>
                  <a:lnTo>
                    <a:pt x="4199" y="6443"/>
                  </a:lnTo>
                  <a:lnTo>
                    <a:pt x="4191" y="6443"/>
                  </a:lnTo>
                  <a:lnTo>
                    <a:pt x="4173" y="6425"/>
                  </a:lnTo>
                  <a:lnTo>
                    <a:pt x="4173" y="6416"/>
                  </a:lnTo>
                  <a:lnTo>
                    <a:pt x="4173" y="6399"/>
                  </a:lnTo>
                  <a:lnTo>
                    <a:pt x="4164" y="6390"/>
                  </a:lnTo>
                  <a:lnTo>
                    <a:pt x="4164" y="6381"/>
                  </a:lnTo>
                  <a:lnTo>
                    <a:pt x="4164" y="6372"/>
                  </a:lnTo>
                  <a:lnTo>
                    <a:pt x="4155" y="6363"/>
                  </a:lnTo>
                  <a:lnTo>
                    <a:pt x="4155" y="6354"/>
                  </a:lnTo>
                  <a:lnTo>
                    <a:pt x="4138" y="6337"/>
                  </a:lnTo>
                  <a:lnTo>
                    <a:pt x="4138" y="6346"/>
                  </a:lnTo>
                  <a:lnTo>
                    <a:pt x="4138" y="6354"/>
                  </a:lnTo>
                  <a:lnTo>
                    <a:pt x="4147" y="6363"/>
                  </a:lnTo>
                  <a:lnTo>
                    <a:pt x="4138" y="6354"/>
                  </a:lnTo>
                  <a:lnTo>
                    <a:pt x="4138" y="6346"/>
                  </a:lnTo>
                  <a:lnTo>
                    <a:pt x="4120" y="6337"/>
                  </a:lnTo>
                  <a:lnTo>
                    <a:pt x="4120" y="6328"/>
                  </a:lnTo>
                  <a:lnTo>
                    <a:pt x="4120" y="6319"/>
                  </a:lnTo>
                  <a:lnTo>
                    <a:pt x="4111" y="6319"/>
                  </a:lnTo>
                  <a:lnTo>
                    <a:pt x="4102" y="6302"/>
                  </a:lnTo>
                  <a:lnTo>
                    <a:pt x="4102" y="6293"/>
                  </a:lnTo>
                  <a:lnTo>
                    <a:pt x="4085" y="6275"/>
                  </a:lnTo>
                  <a:lnTo>
                    <a:pt x="4067" y="6266"/>
                  </a:lnTo>
                  <a:lnTo>
                    <a:pt x="4067" y="6257"/>
                  </a:lnTo>
                  <a:lnTo>
                    <a:pt x="4067" y="6249"/>
                  </a:lnTo>
                  <a:lnTo>
                    <a:pt x="4067" y="6240"/>
                  </a:lnTo>
                  <a:lnTo>
                    <a:pt x="4067" y="6231"/>
                  </a:lnTo>
                  <a:lnTo>
                    <a:pt x="4058" y="6231"/>
                  </a:lnTo>
                  <a:lnTo>
                    <a:pt x="4058" y="6222"/>
                  </a:lnTo>
                  <a:lnTo>
                    <a:pt x="4058" y="6213"/>
                  </a:lnTo>
                  <a:lnTo>
                    <a:pt x="4049" y="6213"/>
                  </a:lnTo>
                  <a:lnTo>
                    <a:pt x="4041" y="6213"/>
                  </a:lnTo>
                  <a:lnTo>
                    <a:pt x="4032" y="6187"/>
                  </a:lnTo>
                  <a:lnTo>
                    <a:pt x="4023" y="6187"/>
                  </a:lnTo>
                  <a:lnTo>
                    <a:pt x="4023" y="6178"/>
                  </a:lnTo>
                  <a:lnTo>
                    <a:pt x="4014" y="6178"/>
                  </a:lnTo>
                  <a:lnTo>
                    <a:pt x="4014" y="6169"/>
                  </a:lnTo>
                  <a:lnTo>
                    <a:pt x="4014" y="6160"/>
                  </a:lnTo>
                  <a:lnTo>
                    <a:pt x="3997" y="6143"/>
                  </a:lnTo>
                  <a:lnTo>
                    <a:pt x="3988" y="6134"/>
                  </a:lnTo>
                  <a:lnTo>
                    <a:pt x="3970" y="6125"/>
                  </a:lnTo>
                  <a:lnTo>
                    <a:pt x="3961" y="6116"/>
                  </a:lnTo>
                  <a:lnTo>
                    <a:pt x="3952" y="6107"/>
                  </a:lnTo>
                  <a:lnTo>
                    <a:pt x="3952" y="6099"/>
                  </a:lnTo>
                  <a:lnTo>
                    <a:pt x="3935" y="6090"/>
                  </a:lnTo>
                  <a:lnTo>
                    <a:pt x="3935" y="6081"/>
                  </a:lnTo>
                  <a:lnTo>
                    <a:pt x="3926" y="6072"/>
                  </a:lnTo>
                  <a:lnTo>
                    <a:pt x="3935" y="6054"/>
                  </a:lnTo>
                  <a:lnTo>
                    <a:pt x="3926" y="6046"/>
                  </a:lnTo>
                  <a:lnTo>
                    <a:pt x="3926" y="6028"/>
                  </a:lnTo>
                  <a:lnTo>
                    <a:pt x="3926" y="6019"/>
                  </a:lnTo>
                  <a:lnTo>
                    <a:pt x="3917" y="6001"/>
                  </a:lnTo>
                  <a:lnTo>
                    <a:pt x="3917" y="5966"/>
                  </a:lnTo>
                  <a:lnTo>
                    <a:pt x="3917" y="5957"/>
                  </a:lnTo>
                  <a:lnTo>
                    <a:pt x="3917" y="5948"/>
                  </a:lnTo>
                  <a:lnTo>
                    <a:pt x="3908" y="5940"/>
                  </a:lnTo>
                  <a:lnTo>
                    <a:pt x="3926" y="5948"/>
                  </a:lnTo>
                  <a:lnTo>
                    <a:pt x="3935" y="5948"/>
                  </a:lnTo>
                  <a:lnTo>
                    <a:pt x="3961" y="5966"/>
                  </a:lnTo>
                  <a:lnTo>
                    <a:pt x="3970" y="5975"/>
                  </a:lnTo>
                  <a:lnTo>
                    <a:pt x="3970" y="5966"/>
                  </a:lnTo>
                  <a:lnTo>
                    <a:pt x="3979" y="5966"/>
                  </a:lnTo>
                  <a:lnTo>
                    <a:pt x="3979" y="5957"/>
                  </a:lnTo>
                  <a:lnTo>
                    <a:pt x="3997" y="5966"/>
                  </a:lnTo>
                  <a:lnTo>
                    <a:pt x="4005" y="5975"/>
                  </a:lnTo>
                  <a:lnTo>
                    <a:pt x="4005" y="5984"/>
                  </a:lnTo>
                  <a:lnTo>
                    <a:pt x="4014" y="5984"/>
                  </a:lnTo>
                  <a:lnTo>
                    <a:pt x="4032" y="5993"/>
                  </a:lnTo>
                  <a:lnTo>
                    <a:pt x="4041" y="5993"/>
                  </a:lnTo>
                  <a:lnTo>
                    <a:pt x="4049" y="6001"/>
                  </a:lnTo>
                  <a:lnTo>
                    <a:pt x="4049" y="6010"/>
                  </a:lnTo>
                  <a:lnTo>
                    <a:pt x="4041" y="6001"/>
                  </a:lnTo>
                  <a:lnTo>
                    <a:pt x="4041" y="6010"/>
                  </a:lnTo>
                  <a:lnTo>
                    <a:pt x="4041" y="6019"/>
                  </a:lnTo>
                  <a:lnTo>
                    <a:pt x="4041" y="6028"/>
                  </a:lnTo>
                  <a:lnTo>
                    <a:pt x="4049" y="6037"/>
                  </a:lnTo>
                  <a:lnTo>
                    <a:pt x="4058" y="6054"/>
                  </a:lnTo>
                  <a:lnTo>
                    <a:pt x="4067" y="6072"/>
                  </a:lnTo>
                  <a:lnTo>
                    <a:pt x="4067" y="6081"/>
                  </a:lnTo>
                  <a:lnTo>
                    <a:pt x="4067" y="6090"/>
                  </a:lnTo>
                  <a:lnTo>
                    <a:pt x="4076" y="6099"/>
                  </a:lnTo>
                  <a:lnTo>
                    <a:pt x="4085" y="6116"/>
                  </a:lnTo>
                  <a:lnTo>
                    <a:pt x="4094" y="6125"/>
                  </a:lnTo>
                  <a:lnTo>
                    <a:pt x="4094" y="6134"/>
                  </a:lnTo>
                  <a:lnTo>
                    <a:pt x="4094" y="6143"/>
                  </a:lnTo>
                  <a:lnTo>
                    <a:pt x="4102" y="6143"/>
                  </a:lnTo>
                  <a:lnTo>
                    <a:pt x="4111" y="6151"/>
                  </a:lnTo>
                  <a:lnTo>
                    <a:pt x="4111" y="6160"/>
                  </a:lnTo>
                  <a:lnTo>
                    <a:pt x="4111" y="6169"/>
                  </a:lnTo>
                  <a:lnTo>
                    <a:pt x="4120" y="6178"/>
                  </a:lnTo>
                  <a:lnTo>
                    <a:pt x="4129" y="6187"/>
                  </a:lnTo>
                  <a:lnTo>
                    <a:pt x="4129" y="6196"/>
                  </a:lnTo>
                  <a:lnTo>
                    <a:pt x="4138" y="6196"/>
                  </a:lnTo>
                  <a:lnTo>
                    <a:pt x="4147" y="6204"/>
                  </a:lnTo>
                  <a:lnTo>
                    <a:pt x="4147" y="6213"/>
                  </a:lnTo>
                  <a:lnTo>
                    <a:pt x="4164" y="6222"/>
                  </a:lnTo>
                  <a:lnTo>
                    <a:pt x="4182" y="6240"/>
                  </a:lnTo>
                  <a:lnTo>
                    <a:pt x="4191" y="6257"/>
                  </a:lnTo>
                  <a:lnTo>
                    <a:pt x="4199" y="6257"/>
                  </a:lnTo>
                  <a:lnTo>
                    <a:pt x="4208" y="6257"/>
                  </a:lnTo>
                  <a:lnTo>
                    <a:pt x="4217" y="6257"/>
                  </a:lnTo>
                  <a:lnTo>
                    <a:pt x="4235" y="6266"/>
                  </a:lnTo>
                  <a:lnTo>
                    <a:pt x="4226" y="6266"/>
                  </a:lnTo>
                  <a:lnTo>
                    <a:pt x="4226" y="6275"/>
                  </a:lnTo>
                  <a:lnTo>
                    <a:pt x="4226" y="6284"/>
                  </a:lnTo>
                  <a:lnTo>
                    <a:pt x="4235" y="6293"/>
                  </a:lnTo>
                  <a:lnTo>
                    <a:pt x="4235" y="6302"/>
                  </a:lnTo>
                  <a:lnTo>
                    <a:pt x="4244" y="6310"/>
                  </a:lnTo>
                  <a:lnTo>
                    <a:pt x="4252" y="6319"/>
                  </a:lnTo>
                  <a:lnTo>
                    <a:pt x="4279" y="6328"/>
                  </a:lnTo>
                  <a:lnTo>
                    <a:pt x="4279" y="6337"/>
                  </a:lnTo>
                  <a:lnTo>
                    <a:pt x="4288" y="6346"/>
                  </a:lnTo>
                  <a:lnTo>
                    <a:pt x="4288" y="6354"/>
                  </a:lnTo>
                  <a:lnTo>
                    <a:pt x="4296" y="6354"/>
                  </a:lnTo>
                  <a:lnTo>
                    <a:pt x="4314" y="6354"/>
                  </a:lnTo>
                  <a:lnTo>
                    <a:pt x="4323" y="6363"/>
                  </a:lnTo>
                  <a:lnTo>
                    <a:pt x="4323" y="6372"/>
                  </a:lnTo>
                  <a:lnTo>
                    <a:pt x="4332" y="6381"/>
                  </a:lnTo>
                  <a:lnTo>
                    <a:pt x="4341" y="6390"/>
                  </a:lnTo>
                  <a:lnTo>
                    <a:pt x="4332" y="6390"/>
                  </a:lnTo>
                  <a:lnTo>
                    <a:pt x="4332" y="6381"/>
                  </a:lnTo>
                  <a:lnTo>
                    <a:pt x="4323" y="6390"/>
                  </a:lnTo>
                  <a:lnTo>
                    <a:pt x="4323" y="6399"/>
                  </a:lnTo>
                  <a:lnTo>
                    <a:pt x="4314" y="6407"/>
                  </a:lnTo>
                  <a:lnTo>
                    <a:pt x="4314" y="6434"/>
                  </a:lnTo>
                  <a:lnTo>
                    <a:pt x="4323" y="6434"/>
                  </a:lnTo>
                  <a:lnTo>
                    <a:pt x="4323" y="6443"/>
                  </a:lnTo>
                  <a:lnTo>
                    <a:pt x="4332" y="6443"/>
                  </a:lnTo>
                  <a:lnTo>
                    <a:pt x="4341" y="6443"/>
                  </a:lnTo>
                  <a:lnTo>
                    <a:pt x="4341" y="6434"/>
                  </a:lnTo>
                  <a:lnTo>
                    <a:pt x="4349" y="6434"/>
                  </a:lnTo>
                  <a:lnTo>
                    <a:pt x="4349" y="6443"/>
                  </a:lnTo>
                  <a:lnTo>
                    <a:pt x="4341" y="6443"/>
                  </a:lnTo>
                  <a:lnTo>
                    <a:pt x="4341" y="6452"/>
                  </a:lnTo>
                  <a:lnTo>
                    <a:pt x="4349" y="6443"/>
                  </a:lnTo>
                  <a:lnTo>
                    <a:pt x="4358" y="6443"/>
                  </a:lnTo>
                  <a:lnTo>
                    <a:pt x="4367" y="6452"/>
                  </a:lnTo>
                  <a:lnTo>
                    <a:pt x="4367" y="6460"/>
                  </a:lnTo>
                  <a:lnTo>
                    <a:pt x="4385" y="6469"/>
                  </a:lnTo>
                  <a:lnTo>
                    <a:pt x="4394" y="6469"/>
                  </a:lnTo>
                  <a:lnTo>
                    <a:pt x="4411" y="6478"/>
                  </a:lnTo>
                  <a:lnTo>
                    <a:pt x="4420" y="6487"/>
                  </a:lnTo>
                  <a:lnTo>
                    <a:pt x="4411" y="6487"/>
                  </a:lnTo>
                  <a:lnTo>
                    <a:pt x="4402" y="6487"/>
                  </a:lnTo>
                  <a:lnTo>
                    <a:pt x="4402" y="6478"/>
                  </a:lnTo>
                  <a:lnTo>
                    <a:pt x="4402" y="6487"/>
                  </a:lnTo>
                  <a:lnTo>
                    <a:pt x="4420" y="6505"/>
                  </a:lnTo>
                  <a:lnTo>
                    <a:pt x="4420" y="6513"/>
                  </a:lnTo>
                  <a:lnTo>
                    <a:pt x="4429" y="6522"/>
                  </a:lnTo>
                  <a:lnTo>
                    <a:pt x="4438" y="6522"/>
                  </a:lnTo>
                  <a:lnTo>
                    <a:pt x="4446" y="6522"/>
                  </a:lnTo>
                  <a:lnTo>
                    <a:pt x="4455" y="6522"/>
                  </a:lnTo>
                  <a:lnTo>
                    <a:pt x="4455" y="6531"/>
                  </a:lnTo>
                  <a:lnTo>
                    <a:pt x="4455" y="6540"/>
                  </a:lnTo>
                  <a:lnTo>
                    <a:pt x="4438" y="6531"/>
                  </a:lnTo>
                  <a:lnTo>
                    <a:pt x="4482" y="6566"/>
                  </a:lnTo>
                  <a:lnTo>
                    <a:pt x="4499" y="6575"/>
                  </a:lnTo>
                  <a:lnTo>
                    <a:pt x="4508" y="6593"/>
                  </a:lnTo>
                  <a:lnTo>
                    <a:pt x="4526" y="6609"/>
                  </a:lnTo>
                  <a:lnTo>
                    <a:pt x="4535" y="6627"/>
                  </a:lnTo>
                  <a:lnTo>
                    <a:pt x="4552" y="6636"/>
                  </a:lnTo>
                  <a:lnTo>
                    <a:pt x="4561" y="6654"/>
                  </a:lnTo>
                  <a:lnTo>
                    <a:pt x="4570" y="6654"/>
                  </a:lnTo>
                  <a:lnTo>
                    <a:pt x="4579" y="6671"/>
                  </a:lnTo>
                  <a:lnTo>
                    <a:pt x="4588" y="6689"/>
                  </a:lnTo>
                  <a:lnTo>
                    <a:pt x="4588" y="6715"/>
                  </a:lnTo>
                  <a:lnTo>
                    <a:pt x="4596" y="6733"/>
                  </a:lnTo>
                  <a:lnTo>
                    <a:pt x="4605" y="6742"/>
                  </a:lnTo>
                  <a:lnTo>
                    <a:pt x="4605" y="6751"/>
                  </a:lnTo>
                  <a:lnTo>
                    <a:pt x="4623" y="6759"/>
                  </a:lnTo>
                  <a:lnTo>
                    <a:pt x="4623" y="6768"/>
                  </a:lnTo>
                  <a:lnTo>
                    <a:pt x="4623" y="6777"/>
                  </a:lnTo>
                  <a:lnTo>
                    <a:pt x="4623" y="6786"/>
                  </a:lnTo>
                  <a:lnTo>
                    <a:pt x="4614" y="6795"/>
                  </a:lnTo>
                  <a:lnTo>
                    <a:pt x="4614" y="6804"/>
                  </a:lnTo>
                  <a:lnTo>
                    <a:pt x="4605" y="6804"/>
                  </a:lnTo>
                  <a:lnTo>
                    <a:pt x="4605" y="6812"/>
                  </a:lnTo>
                  <a:lnTo>
                    <a:pt x="4614" y="6812"/>
                  </a:lnTo>
                  <a:lnTo>
                    <a:pt x="4623" y="6821"/>
                  </a:lnTo>
                  <a:lnTo>
                    <a:pt x="4623" y="6830"/>
                  </a:lnTo>
                  <a:lnTo>
                    <a:pt x="4614" y="6830"/>
                  </a:lnTo>
                  <a:lnTo>
                    <a:pt x="4596" y="6830"/>
                  </a:lnTo>
                  <a:lnTo>
                    <a:pt x="4596" y="6839"/>
                  </a:lnTo>
                  <a:lnTo>
                    <a:pt x="4588" y="6839"/>
                  </a:lnTo>
                  <a:lnTo>
                    <a:pt x="4596" y="6848"/>
                  </a:lnTo>
                  <a:lnTo>
                    <a:pt x="4596" y="6857"/>
                  </a:lnTo>
                  <a:lnTo>
                    <a:pt x="4596" y="6865"/>
                  </a:lnTo>
                  <a:lnTo>
                    <a:pt x="4605" y="6874"/>
                  </a:lnTo>
                  <a:lnTo>
                    <a:pt x="4614" y="6892"/>
                  </a:lnTo>
                  <a:lnTo>
                    <a:pt x="4632" y="6901"/>
                  </a:lnTo>
                  <a:lnTo>
                    <a:pt x="4632" y="6909"/>
                  </a:lnTo>
                  <a:lnTo>
                    <a:pt x="4641" y="6927"/>
                  </a:lnTo>
                  <a:lnTo>
                    <a:pt x="4667" y="6936"/>
                  </a:lnTo>
                  <a:lnTo>
                    <a:pt x="4685" y="6936"/>
                  </a:lnTo>
                  <a:lnTo>
                    <a:pt x="4694" y="6945"/>
                  </a:lnTo>
                  <a:lnTo>
                    <a:pt x="4711" y="6954"/>
                  </a:lnTo>
                  <a:lnTo>
                    <a:pt x="4720" y="6962"/>
                  </a:lnTo>
                  <a:lnTo>
                    <a:pt x="4738" y="6971"/>
                  </a:lnTo>
                  <a:lnTo>
                    <a:pt x="4746" y="6989"/>
                  </a:lnTo>
                  <a:lnTo>
                    <a:pt x="4755" y="6998"/>
                  </a:lnTo>
                  <a:lnTo>
                    <a:pt x="4782" y="7007"/>
                  </a:lnTo>
                  <a:lnTo>
                    <a:pt x="4808" y="7015"/>
                  </a:lnTo>
                  <a:lnTo>
                    <a:pt x="4817" y="7015"/>
                  </a:lnTo>
                  <a:lnTo>
                    <a:pt x="4843" y="7024"/>
                  </a:lnTo>
                  <a:lnTo>
                    <a:pt x="4861" y="7024"/>
                  </a:lnTo>
                  <a:lnTo>
                    <a:pt x="4870" y="7024"/>
                  </a:lnTo>
                  <a:lnTo>
                    <a:pt x="4879" y="7033"/>
                  </a:lnTo>
                  <a:lnTo>
                    <a:pt x="4888" y="7051"/>
                  </a:lnTo>
                  <a:lnTo>
                    <a:pt x="4896" y="7051"/>
                  </a:lnTo>
                  <a:lnTo>
                    <a:pt x="4905" y="7060"/>
                  </a:lnTo>
                  <a:lnTo>
                    <a:pt x="4923" y="7068"/>
                  </a:lnTo>
                  <a:lnTo>
                    <a:pt x="4932" y="7077"/>
                  </a:lnTo>
                  <a:lnTo>
                    <a:pt x="4941" y="7086"/>
                  </a:lnTo>
                  <a:lnTo>
                    <a:pt x="4976" y="7095"/>
                  </a:lnTo>
                  <a:lnTo>
                    <a:pt x="4985" y="7095"/>
                  </a:lnTo>
                  <a:lnTo>
                    <a:pt x="5002" y="7104"/>
                  </a:lnTo>
                  <a:lnTo>
                    <a:pt x="5029" y="7121"/>
                  </a:lnTo>
                  <a:lnTo>
                    <a:pt x="5055" y="7121"/>
                  </a:lnTo>
                  <a:lnTo>
                    <a:pt x="5082" y="7130"/>
                  </a:lnTo>
                  <a:lnTo>
                    <a:pt x="5091" y="7130"/>
                  </a:lnTo>
                  <a:lnTo>
                    <a:pt x="5099" y="7130"/>
                  </a:lnTo>
                  <a:lnTo>
                    <a:pt x="5117" y="7148"/>
                  </a:lnTo>
                  <a:lnTo>
                    <a:pt x="5143" y="7157"/>
                  </a:lnTo>
                  <a:lnTo>
                    <a:pt x="5170" y="7174"/>
                  </a:lnTo>
                  <a:lnTo>
                    <a:pt x="5214" y="7183"/>
                  </a:lnTo>
                  <a:lnTo>
                    <a:pt x="5240" y="7192"/>
                  </a:lnTo>
                  <a:lnTo>
                    <a:pt x="5267" y="7201"/>
                  </a:lnTo>
                  <a:lnTo>
                    <a:pt x="5267" y="7192"/>
                  </a:lnTo>
                  <a:lnTo>
                    <a:pt x="5285" y="7192"/>
                  </a:lnTo>
                  <a:lnTo>
                    <a:pt x="5320" y="7183"/>
                  </a:lnTo>
                  <a:lnTo>
                    <a:pt x="5338" y="7174"/>
                  </a:lnTo>
                  <a:lnTo>
                    <a:pt x="5364" y="7157"/>
                  </a:lnTo>
                  <a:lnTo>
                    <a:pt x="5382" y="7157"/>
                  </a:lnTo>
                  <a:lnTo>
                    <a:pt x="5390" y="7157"/>
                  </a:lnTo>
                  <a:lnTo>
                    <a:pt x="5382" y="7157"/>
                  </a:lnTo>
                  <a:lnTo>
                    <a:pt x="5373" y="7148"/>
                  </a:lnTo>
                  <a:lnTo>
                    <a:pt x="5382" y="7148"/>
                  </a:lnTo>
                  <a:lnTo>
                    <a:pt x="5382" y="7139"/>
                  </a:lnTo>
                  <a:lnTo>
                    <a:pt x="5390" y="7148"/>
                  </a:lnTo>
                  <a:lnTo>
                    <a:pt x="5399" y="7148"/>
                  </a:lnTo>
                  <a:lnTo>
                    <a:pt x="5408" y="7148"/>
                  </a:lnTo>
                  <a:lnTo>
                    <a:pt x="5399" y="7157"/>
                  </a:lnTo>
                  <a:lnTo>
                    <a:pt x="5417" y="7157"/>
                  </a:lnTo>
                  <a:lnTo>
                    <a:pt x="5443" y="7174"/>
                  </a:lnTo>
                  <a:lnTo>
                    <a:pt x="5443" y="7165"/>
                  </a:lnTo>
                  <a:lnTo>
                    <a:pt x="5435" y="7165"/>
                  </a:lnTo>
                  <a:lnTo>
                    <a:pt x="5426" y="7157"/>
                  </a:lnTo>
                  <a:lnTo>
                    <a:pt x="5417" y="7157"/>
                  </a:lnTo>
                  <a:lnTo>
                    <a:pt x="5417" y="7148"/>
                  </a:lnTo>
                  <a:lnTo>
                    <a:pt x="5426" y="7157"/>
                  </a:lnTo>
                  <a:lnTo>
                    <a:pt x="5435" y="7157"/>
                  </a:lnTo>
                  <a:lnTo>
                    <a:pt x="5443" y="7165"/>
                  </a:lnTo>
                  <a:lnTo>
                    <a:pt x="5452" y="7165"/>
                  </a:lnTo>
                  <a:lnTo>
                    <a:pt x="5470" y="7183"/>
                  </a:lnTo>
                  <a:lnTo>
                    <a:pt x="5479" y="7192"/>
                  </a:lnTo>
                  <a:lnTo>
                    <a:pt x="5505" y="7210"/>
                  </a:lnTo>
                  <a:lnTo>
                    <a:pt x="5523" y="7227"/>
                  </a:lnTo>
                  <a:lnTo>
                    <a:pt x="5532" y="7227"/>
                  </a:lnTo>
                  <a:lnTo>
                    <a:pt x="5532" y="7236"/>
                  </a:lnTo>
                  <a:lnTo>
                    <a:pt x="5558" y="7263"/>
                  </a:lnTo>
                  <a:lnTo>
                    <a:pt x="5576" y="7280"/>
                  </a:lnTo>
                  <a:lnTo>
                    <a:pt x="5611" y="7307"/>
                  </a:lnTo>
                  <a:lnTo>
                    <a:pt x="5620" y="7315"/>
                  </a:lnTo>
                  <a:lnTo>
                    <a:pt x="5637" y="7324"/>
                  </a:lnTo>
                  <a:lnTo>
                    <a:pt x="5655" y="7324"/>
                  </a:lnTo>
                  <a:lnTo>
                    <a:pt x="5699" y="7324"/>
                  </a:lnTo>
                  <a:lnTo>
                    <a:pt x="5708" y="7333"/>
                  </a:lnTo>
                  <a:lnTo>
                    <a:pt x="5735" y="7342"/>
                  </a:lnTo>
                  <a:lnTo>
                    <a:pt x="5743" y="7342"/>
                  </a:lnTo>
                  <a:lnTo>
                    <a:pt x="5752" y="7351"/>
                  </a:lnTo>
                  <a:lnTo>
                    <a:pt x="5779" y="7360"/>
                  </a:lnTo>
                  <a:lnTo>
                    <a:pt x="5796" y="7360"/>
                  </a:lnTo>
                  <a:lnTo>
                    <a:pt x="5823" y="7377"/>
                  </a:lnTo>
                  <a:lnTo>
                    <a:pt x="5849" y="7386"/>
                  </a:lnTo>
                  <a:lnTo>
                    <a:pt x="5849" y="7377"/>
                  </a:lnTo>
                  <a:lnTo>
                    <a:pt x="5840" y="7377"/>
                  </a:lnTo>
                  <a:lnTo>
                    <a:pt x="5849" y="7377"/>
                  </a:lnTo>
                  <a:lnTo>
                    <a:pt x="5858" y="7377"/>
                  </a:lnTo>
                  <a:lnTo>
                    <a:pt x="5876" y="7386"/>
                  </a:lnTo>
                  <a:lnTo>
                    <a:pt x="5885" y="7386"/>
                  </a:lnTo>
                  <a:lnTo>
                    <a:pt x="5893" y="7386"/>
                  </a:lnTo>
                  <a:lnTo>
                    <a:pt x="5902" y="7377"/>
                  </a:lnTo>
                  <a:lnTo>
                    <a:pt x="5902" y="7368"/>
                  </a:lnTo>
                  <a:lnTo>
                    <a:pt x="5911" y="7368"/>
                  </a:lnTo>
                  <a:lnTo>
                    <a:pt x="5920" y="7368"/>
                  </a:lnTo>
                  <a:lnTo>
                    <a:pt x="5929" y="7368"/>
                  </a:lnTo>
                  <a:lnTo>
                    <a:pt x="5929" y="7377"/>
                  </a:lnTo>
                  <a:lnTo>
                    <a:pt x="5929" y="7386"/>
                  </a:lnTo>
                  <a:lnTo>
                    <a:pt x="5937" y="7386"/>
                  </a:lnTo>
                  <a:lnTo>
                    <a:pt x="5937" y="7395"/>
                  </a:lnTo>
                  <a:lnTo>
                    <a:pt x="5937" y="7404"/>
                  </a:lnTo>
                  <a:lnTo>
                    <a:pt x="5929" y="7404"/>
                  </a:lnTo>
                  <a:lnTo>
                    <a:pt x="5929" y="7395"/>
                  </a:lnTo>
                  <a:lnTo>
                    <a:pt x="5920" y="7395"/>
                  </a:lnTo>
                  <a:lnTo>
                    <a:pt x="5911" y="7395"/>
                  </a:lnTo>
                  <a:lnTo>
                    <a:pt x="5911" y="7404"/>
                  </a:lnTo>
                  <a:lnTo>
                    <a:pt x="5929" y="7413"/>
                  </a:lnTo>
                  <a:lnTo>
                    <a:pt x="5946" y="7430"/>
                  </a:lnTo>
                  <a:lnTo>
                    <a:pt x="5955" y="7439"/>
                  </a:lnTo>
                  <a:lnTo>
                    <a:pt x="5973" y="7448"/>
                  </a:lnTo>
                  <a:lnTo>
                    <a:pt x="5982" y="7457"/>
                  </a:lnTo>
                  <a:lnTo>
                    <a:pt x="5990" y="7474"/>
                  </a:lnTo>
                  <a:lnTo>
                    <a:pt x="5999" y="7492"/>
                  </a:lnTo>
                  <a:lnTo>
                    <a:pt x="6035" y="7518"/>
                  </a:lnTo>
                  <a:lnTo>
                    <a:pt x="6052" y="7527"/>
                  </a:lnTo>
                  <a:lnTo>
                    <a:pt x="6052" y="7536"/>
                  </a:lnTo>
                  <a:lnTo>
                    <a:pt x="6052" y="7545"/>
                  </a:lnTo>
                  <a:lnTo>
                    <a:pt x="6043" y="7554"/>
                  </a:lnTo>
                  <a:lnTo>
                    <a:pt x="6052" y="7554"/>
                  </a:lnTo>
                  <a:lnTo>
                    <a:pt x="6061" y="7563"/>
                  </a:lnTo>
                  <a:lnTo>
                    <a:pt x="6061" y="7571"/>
                  </a:lnTo>
                  <a:lnTo>
                    <a:pt x="6061" y="7580"/>
                  </a:lnTo>
                  <a:lnTo>
                    <a:pt x="6052" y="7589"/>
                  </a:lnTo>
                  <a:lnTo>
                    <a:pt x="6043" y="7598"/>
                  </a:lnTo>
                  <a:lnTo>
                    <a:pt x="6052" y="7607"/>
                  </a:lnTo>
                  <a:lnTo>
                    <a:pt x="6061" y="7624"/>
                  </a:lnTo>
                  <a:lnTo>
                    <a:pt x="6087" y="7633"/>
                  </a:lnTo>
                  <a:lnTo>
                    <a:pt x="6096" y="7642"/>
                  </a:lnTo>
                  <a:lnTo>
                    <a:pt x="6105" y="7651"/>
                  </a:lnTo>
                  <a:lnTo>
                    <a:pt x="6105" y="7642"/>
                  </a:lnTo>
                  <a:lnTo>
                    <a:pt x="6114" y="7633"/>
                  </a:lnTo>
                  <a:lnTo>
                    <a:pt x="6114" y="7624"/>
                  </a:lnTo>
                  <a:lnTo>
                    <a:pt x="6096" y="7616"/>
                  </a:lnTo>
                  <a:lnTo>
                    <a:pt x="6096" y="7607"/>
                  </a:lnTo>
                  <a:lnTo>
                    <a:pt x="6087" y="7598"/>
                  </a:lnTo>
                  <a:lnTo>
                    <a:pt x="6096" y="7598"/>
                  </a:lnTo>
                  <a:lnTo>
                    <a:pt x="6096" y="7607"/>
                  </a:lnTo>
                  <a:lnTo>
                    <a:pt x="6105" y="7607"/>
                  </a:lnTo>
                  <a:lnTo>
                    <a:pt x="6132" y="7624"/>
                  </a:lnTo>
                  <a:lnTo>
                    <a:pt x="6132" y="7633"/>
                  </a:lnTo>
                  <a:lnTo>
                    <a:pt x="6132" y="7642"/>
                  </a:lnTo>
                  <a:lnTo>
                    <a:pt x="6140" y="7651"/>
                  </a:lnTo>
                  <a:lnTo>
                    <a:pt x="6149" y="7651"/>
                  </a:lnTo>
                  <a:lnTo>
                    <a:pt x="6167" y="7660"/>
                  </a:lnTo>
                  <a:lnTo>
                    <a:pt x="6176" y="7660"/>
                  </a:lnTo>
                  <a:lnTo>
                    <a:pt x="6193" y="7668"/>
                  </a:lnTo>
                  <a:lnTo>
                    <a:pt x="6202" y="7677"/>
                  </a:lnTo>
                  <a:lnTo>
                    <a:pt x="6211" y="7686"/>
                  </a:lnTo>
                  <a:lnTo>
                    <a:pt x="6211" y="7695"/>
                  </a:lnTo>
                  <a:lnTo>
                    <a:pt x="6211" y="7704"/>
                  </a:lnTo>
                  <a:lnTo>
                    <a:pt x="6211" y="7713"/>
                  </a:lnTo>
                  <a:lnTo>
                    <a:pt x="6202" y="7721"/>
                  </a:lnTo>
                  <a:lnTo>
                    <a:pt x="6211" y="7730"/>
                  </a:lnTo>
                  <a:lnTo>
                    <a:pt x="6220" y="7730"/>
                  </a:lnTo>
                  <a:lnTo>
                    <a:pt x="6229" y="7739"/>
                  </a:lnTo>
                  <a:lnTo>
                    <a:pt x="6237" y="7739"/>
                  </a:lnTo>
                  <a:lnTo>
                    <a:pt x="6237" y="7730"/>
                  </a:lnTo>
                  <a:lnTo>
                    <a:pt x="6229" y="7721"/>
                  </a:lnTo>
                  <a:lnTo>
                    <a:pt x="6220" y="7713"/>
                  </a:lnTo>
                  <a:lnTo>
                    <a:pt x="6229" y="7713"/>
                  </a:lnTo>
                  <a:lnTo>
                    <a:pt x="6237" y="7713"/>
                  </a:lnTo>
                  <a:lnTo>
                    <a:pt x="6246" y="7721"/>
                  </a:lnTo>
                  <a:lnTo>
                    <a:pt x="6246" y="7730"/>
                  </a:lnTo>
                  <a:lnTo>
                    <a:pt x="6246" y="7739"/>
                  </a:lnTo>
                  <a:lnTo>
                    <a:pt x="6255" y="7748"/>
                  </a:lnTo>
                  <a:lnTo>
                    <a:pt x="6264" y="7748"/>
                  </a:lnTo>
                  <a:lnTo>
                    <a:pt x="6264" y="7757"/>
                  </a:lnTo>
                  <a:lnTo>
                    <a:pt x="6264" y="7748"/>
                  </a:lnTo>
                  <a:lnTo>
                    <a:pt x="6273" y="7739"/>
                  </a:lnTo>
                  <a:lnTo>
                    <a:pt x="6282" y="7739"/>
                  </a:lnTo>
                  <a:lnTo>
                    <a:pt x="6290" y="7748"/>
                  </a:lnTo>
                  <a:lnTo>
                    <a:pt x="6299" y="7748"/>
                  </a:lnTo>
                  <a:lnTo>
                    <a:pt x="6317" y="7739"/>
                  </a:lnTo>
                  <a:lnTo>
                    <a:pt x="6317" y="7748"/>
                  </a:lnTo>
                  <a:lnTo>
                    <a:pt x="6326" y="7748"/>
                  </a:lnTo>
                  <a:lnTo>
                    <a:pt x="6334" y="7748"/>
                  </a:lnTo>
                  <a:lnTo>
                    <a:pt x="6343" y="7757"/>
                  </a:lnTo>
                  <a:lnTo>
                    <a:pt x="6352" y="7757"/>
                  </a:lnTo>
                  <a:lnTo>
                    <a:pt x="6352" y="7766"/>
                  </a:lnTo>
                  <a:lnTo>
                    <a:pt x="6370" y="7783"/>
                  </a:lnTo>
                  <a:lnTo>
                    <a:pt x="6379" y="7792"/>
                  </a:lnTo>
                  <a:lnTo>
                    <a:pt x="6387" y="7792"/>
                  </a:lnTo>
                  <a:lnTo>
                    <a:pt x="6387" y="7783"/>
                  </a:lnTo>
                  <a:lnTo>
                    <a:pt x="6396" y="7774"/>
                  </a:lnTo>
                  <a:lnTo>
                    <a:pt x="6405" y="7783"/>
                  </a:lnTo>
                  <a:lnTo>
                    <a:pt x="6414" y="7810"/>
                  </a:lnTo>
                  <a:lnTo>
                    <a:pt x="6414" y="7819"/>
                  </a:lnTo>
                  <a:lnTo>
                    <a:pt x="6432" y="7819"/>
                  </a:lnTo>
                  <a:lnTo>
                    <a:pt x="6449" y="7819"/>
                  </a:lnTo>
                  <a:lnTo>
                    <a:pt x="6449" y="7810"/>
                  </a:lnTo>
                  <a:lnTo>
                    <a:pt x="6458" y="7810"/>
                  </a:lnTo>
                  <a:lnTo>
                    <a:pt x="6467" y="7810"/>
                  </a:lnTo>
                  <a:lnTo>
                    <a:pt x="6476" y="7810"/>
                  </a:lnTo>
                  <a:lnTo>
                    <a:pt x="6476" y="7801"/>
                  </a:lnTo>
                  <a:lnTo>
                    <a:pt x="6476" y="7792"/>
                  </a:lnTo>
                  <a:lnTo>
                    <a:pt x="6458" y="7774"/>
                  </a:lnTo>
                  <a:lnTo>
                    <a:pt x="6449" y="7766"/>
                  </a:lnTo>
                  <a:lnTo>
                    <a:pt x="6440" y="7757"/>
                  </a:lnTo>
                  <a:lnTo>
                    <a:pt x="6440" y="7748"/>
                  </a:lnTo>
                  <a:lnTo>
                    <a:pt x="6449" y="7748"/>
                  </a:lnTo>
                  <a:lnTo>
                    <a:pt x="6458" y="7739"/>
                  </a:lnTo>
                  <a:lnTo>
                    <a:pt x="6467" y="7739"/>
                  </a:lnTo>
                  <a:lnTo>
                    <a:pt x="6493" y="7721"/>
                  </a:lnTo>
                  <a:lnTo>
                    <a:pt x="6493" y="7713"/>
                  </a:lnTo>
                  <a:lnTo>
                    <a:pt x="6502" y="7704"/>
                  </a:lnTo>
                  <a:lnTo>
                    <a:pt x="6511" y="7695"/>
                  </a:lnTo>
                  <a:lnTo>
                    <a:pt x="6520" y="7695"/>
                  </a:lnTo>
                  <a:lnTo>
                    <a:pt x="6529" y="7686"/>
                  </a:lnTo>
                  <a:lnTo>
                    <a:pt x="6546" y="7695"/>
                  </a:lnTo>
                  <a:lnTo>
                    <a:pt x="6555" y="7695"/>
                  </a:lnTo>
                  <a:lnTo>
                    <a:pt x="6564" y="7704"/>
                  </a:lnTo>
                  <a:lnTo>
                    <a:pt x="6573" y="7713"/>
                  </a:lnTo>
                  <a:lnTo>
                    <a:pt x="6581" y="7713"/>
                  </a:lnTo>
                  <a:lnTo>
                    <a:pt x="6590" y="7721"/>
                  </a:lnTo>
                  <a:lnTo>
                    <a:pt x="6590" y="7730"/>
                  </a:lnTo>
                  <a:lnTo>
                    <a:pt x="6590" y="7739"/>
                  </a:lnTo>
                  <a:lnTo>
                    <a:pt x="6599" y="7739"/>
                  </a:lnTo>
                  <a:lnTo>
                    <a:pt x="6599" y="7730"/>
                  </a:lnTo>
                  <a:lnTo>
                    <a:pt x="6590" y="7730"/>
                  </a:lnTo>
                  <a:lnTo>
                    <a:pt x="6599" y="7730"/>
                  </a:lnTo>
                  <a:lnTo>
                    <a:pt x="6608" y="7730"/>
                  </a:lnTo>
                  <a:lnTo>
                    <a:pt x="6608" y="7739"/>
                  </a:lnTo>
                  <a:lnTo>
                    <a:pt x="6608" y="7730"/>
                  </a:lnTo>
                  <a:lnTo>
                    <a:pt x="6617" y="7730"/>
                  </a:lnTo>
                  <a:lnTo>
                    <a:pt x="6617" y="7739"/>
                  </a:lnTo>
                  <a:lnTo>
                    <a:pt x="6626" y="7739"/>
                  </a:lnTo>
                  <a:lnTo>
                    <a:pt x="6634" y="7748"/>
                  </a:lnTo>
                  <a:lnTo>
                    <a:pt x="6643" y="7757"/>
                  </a:lnTo>
                  <a:lnTo>
                    <a:pt x="6634" y="7757"/>
                  </a:lnTo>
                  <a:lnTo>
                    <a:pt x="6626" y="7748"/>
                  </a:lnTo>
                  <a:lnTo>
                    <a:pt x="6617" y="7748"/>
                  </a:lnTo>
                  <a:lnTo>
                    <a:pt x="6617" y="7739"/>
                  </a:lnTo>
                  <a:lnTo>
                    <a:pt x="6608" y="7739"/>
                  </a:lnTo>
                  <a:lnTo>
                    <a:pt x="6599" y="7748"/>
                  </a:lnTo>
                  <a:lnTo>
                    <a:pt x="6608" y="7757"/>
                  </a:lnTo>
                  <a:lnTo>
                    <a:pt x="6599" y="7757"/>
                  </a:lnTo>
                  <a:lnTo>
                    <a:pt x="6590" y="7757"/>
                  </a:lnTo>
                  <a:lnTo>
                    <a:pt x="6599" y="7774"/>
                  </a:lnTo>
                  <a:lnTo>
                    <a:pt x="6608" y="7801"/>
                  </a:lnTo>
                  <a:lnTo>
                    <a:pt x="6626" y="7819"/>
                  </a:lnTo>
                  <a:lnTo>
                    <a:pt x="6634" y="7819"/>
                  </a:lnTo>
                  <a:lnTo>
                    <a:pt x="6634" y="7827"/>
                  </a:lnTo>
                  <a:lnTo>
                    <a:pt x="6643" y="7845"/>
                  </a:lnTo>
                  <a:lnTo>
                    <a:pt x="6652" y="7845"/>
                  </a:lnTo>
                  <a:lnTo>
                    <a:pt x="6652" y="7854"/>
                  </a:lnTo>
                  <a:lnTo>
                    <a:pt x="6661" y="7863"/>
                  </a:lnTo>
                  <a:lnTo>
                    <a:pt x="6670" y="7871"/>
                  </a:lnTo>
                  <a:lnTo>
                    <a:pt x="6670" y="7889"/>
                  </a:lnTo>
                  <a:lnTo>
                    <a:pt x="6661" y="7889"/>
                  </a:lnTo>
                  <a:lnTo>
                    <a:pt x="6661" y="7898"/>
                  </a:lnTo>
                  <a:lnTo>
                    <a:pt x="6670" y="7916"/>
                  </a:lnTo>
                  <a:lnTo>
                    <a:pt x="6679" y="7924"/>
                  </a:lnTo>
                  <a:lnTo>
                    <a:pt x="6670" y="7933"/>
                  </a:lnTo>
                  <a:lnTo>
                    <a:pt x="6661" y="7942"/>
                  </a:lnTo>
                  <a:lnTo>
                    <a:pt x="6670" y="7951"/>
                  </a:lnTo>
                  <a:lnTo>
                    <a:pt x="6670" y="7960"/>
                  </a:lnTo>
                  <a:lnTo>
                    <a:pt x="6670" y="7969"/>
                  </a:lnTo>
                  <a:lnTo>
                    <a:pt x="6670" y="7977"/>
                  </a:lnTo>
                  <a:lnTo>
                    <a:pt x="6670" y="7995"/>
                  </a:lnTo>
                  <a:lnTo>
                    <a:pt x="6679" y="8004"/>
                  </a:lnTo>
                  <a:lnTo>
                    <a:pt x="6679" y="8013"/>
                  </a:lnTo>
                  <a:lnTo>
                    <a:pt x="6670" y="8022"/>
                  </a:lnTo>
                  <a:lnTo>
                    <a:pt x="6670" y="8030"/>
                  </a:lnTo>
                  <a:lnTo>
                    <a:pt x="6661" y="8039"/>
                  </a:lnTo>
                  <a:lnTo>
                    <a:pt x="6670" y="8039"/>
                  </a:lnTo>
                  <a:lnTo>
                    <a:pt x="6670" y="8048"/>
                  </a:lnTo>
                  <a:lnTo>
                    <a:pt x="6670" y="8057"/>
                  </a:lnTo>
                  <a:lnTo>
                    <a:pt x="6670" y="8066"/>
                  </a:lnTo>
                  <a:lnTo>
                    <a:pt x="6679" y="8057"/>
                  </a:lnTo>
                  <a:lnTo>
                    <a:pt x="6679" y="8066"/>
                  </a:lnTo>
                  <a:lnTo>
                    <a:pt x="6687" y="8066"/>
                  </a:lnTo>
                  <a:lnTo>
                    <a:pt x="6696" y="8066"/>
                  </a:lnTo>
                  <a:lnTo>
                    <a:pt x="6679" y="8092"/>
                  </a:lnTo>
                  <a:lnTo>
                    <a:pt x="6670" y="8101"/>
                  </a:lnTo>
                  <a:lnTo>
                    <a:pt x="6670" y="8110"/>
                  </a:lnTo>
                  <a:lnTo>
                    <a:pt x="6661" y="8119"/>
                  </a:lnTo>
                  <a:lnTo>
                    <a:pt x="6652" y="8127"/>
                  </a:lnTo>
                  <a:lnTo>
                    <a:pt x="6643" y="8127"/>
                  </a:lnTo>
                  <a:lnTo>
                    <a:pt x="6652" y="8136"/>
                  </a:lnTo>
                  <a:lnTo>
                    <a:pt x="6652" y="8145"/>
                  </a:lnTo>
                  <a:lnTo>
                    <a:pt x="6643" y="8145"/>
                  </a:lnTo>
                  <a:lnTo>
                    <a:pt x="6634" y="8154"/>
                  </a:lnTo>
                  <a:lnTo>
                    <a:pt x="6626" y="8163"/>
                  </a:lnTo>
                  <a:lnTo>
                    <a:pt x="6617" y="8172"/>
                  </a:lnTo>
                  <a:lnTo>
                    <a:pt x="6599" y="8172"/>
                  </a:lnTo>
                  <a:lnTo>
                    <a:pt x="6590" y="8172"/>
                  </a:lnTo>
                  <a:lnTo>
                    <a:pt x="6581" y="8172"/>
                  </a:lnTo>
                  <a:lnTo>
                    <a:pt x="6581" y="8180"/>
                  </a:lnTo>
                  <a:lnTo>
                    <a:pt x="6581" y="8198"/>
                  </a:lnTo>
                  <a:lnTo>
                    <a:pt x="6581" y="8207"/>
                  </a:lnTo>
                  <a:lnTo>
                    <a:pt x="6581" y="8225"/>
                  </a:lnTo>
                  <a:lnTo>
                    <a:pt x="6564" y="8216"/>
                  </a:lnTo>
                  <a:lnTo>
                    <a:pt x="6555" y="8225"/>
                  </a:lnTo>
                  <a:lnTo>
                    <a:pt x="6546" y="8233"/>
                  </a:lnTo>
                  <a:lnTo>
                    <a:pt x="6555" y="8242"/>
                  </a:lnTo>
                  <a:lnTo>
                    <a:pt x="6564" y="8242"/>
                  </a:lnTo>
                  <a:lnTo>
                    <a:pt x="6564" y="8260"/>
                  </a:lnTo>
                  <a:lnTo>
                    <a:pt x="6555" y="8260"/>
                  </a:lnTo>
                  <a:lnTo>
                    <a:pt x="6537" y="8269"/>
                  </a:lnTo>
                  <a:lnTo>
                    <a:pt x="6520" y="8277"/>
                  </a:lnTo>
                  <a:lnTo>
                    <a:pt x="6502" y="8277"/>
                  </a:lnTo>
                  <a:lnTo>
                    <a:pt x="6493" y="8277"/>
                  </a:lnTo>
                  <a:lnTo>
                    <a:pt x="6493" y="8286"/>
                  </a:lnTo>
                  <a:lnTo>
                    <a:pt x="6484" y="8286"/>
                  </a:lnTo>
                  <a:lnTo>
                    <a:pt x="6476" y="8286"/>
                  </a:lnTo>
                  <a:lnTo>
                    <a:pt x="6467" y="8295"/>
                  </a:lnTo>
                  <a:lnTo>
                    <a:pt x="6476" y="8304"/>
                  </a:lnTo>
                  <a:lnTo>
                    <a:pt x="6476" y="8322"/>
                  </a:lnTo>
                  <a:lnTo>
                    <a:pt x="6476" y="8339"/>
                  </a:lnTo>
                  <a:lnTo>
                    <a:pt x="6467" y="8348"/>
                  </a:lnTo>
                  <a:lnTo>
                    <a:pt x="6458" y="8357"/>
                  </a:lnTo>
                  <a:lnTo>
                    <a:pt x="6449" y="8366"/>
                  </a:lnTo>
                  <a:lnTo>
                    <a:pt x="6440" y="8375"/>
                  </a:lnTo>
                  <a:lnTo>
                    <a:pt x="6440" y="8383"/>
                  </a:lnTo>
                  <a:lnTo>
                    <a:pt x="6449" y="8392"/>
                  </a:lnTo>
                  <a:lnTo>
                    <a:pt x="6458" y="8392"/>
                  </a:lnTo>
                  <a:lnTo>
                    <a:pt x="6449" y="8401"/>
                  </a:lnTo>
                  <a:lnTo>
                    <a:pt x="6440" y="8392"/>
                  </a:lnTo>
                  <a:lnTo>
                    <a:pt x="6440" y="8401"/>
                  </a:lnTo>
                  <a:lnTo>
                    <a:pt x="6440" y="8410"/>
                  </a:lnTo>
                  <a:lnTo>
                    <a:pt x="6432" y="8419"/>
                  </a:lnTo>
                  <a:lnTo>
                    <a:pt x="6414" y="8419"/>
                  </a:lnTo>
                  <a:lnTo>
                    <a:pt x="6414" y="8427"/>
                  </a:lnTo>
                  <a:lnTo>
                    <a:pt x="6414" y="8445"/>
                  </a:lnTo>
                  <a:lnTo>
                    <a:pt x="6414" y="8454"/>
                  </a:lnTo>
                  <a:lnTo>
                    <a:pt x="6414" y="8472"/>
                  </a:lnTo>
                  <a:lnTo>
                    <a:pt x="6423" y="8480"/>
                  </a:lnTo>
                  <a:lnTo>
                    <a:pt x="6423" y="8489"/>
                  </a:lnTo>
                  <a:lnTo>
                    <a:pt x="6423" y="8507"/>
                  </a:lnTo>
                  <a:lnTo>
                    <a:pt x="6414" y="8507"/>
                  </a:lnTo>
                  <a:lnTo>
                    <a:pt x="6405" y="8507"/>
                  </a:lnTo>
                  <a:lnTo>
                    <a:pt x="6405" y="8516"/>
                  </a:lnTo>
                  <a:lnTo>
                    <a:pt x="6414" y="8525"/>
                  </a:lnTo>
                  <a:lnTo>
                    <a:pt x="6423" y="8525"/>
                  </a:lnTo>
                  <a:lnTo>
                    <a:pt x="6440" y="8542"/>
                  </a:lnTo>
                  <a:lnTo>
                    <a:pt x="6449" y="8542"/>
                  </a:lnTo>
                  <a:lnTo>
                    <a:pt x="6458" y="8551"/>
                  </a:lnTo>
                  <a:lnTo>
                    <a:pt x="6458" y="8542"/>
                  </a:lnTo>
                  <a:lnTo>
                    <a:pt x="6467" y="8533"/>
                  </a:lnTo>
                  <a:lnTo>
                    <a:pt x="6476" y="8525"/>
                  </a:lnTo>
                  <a:lnTo>
                    <a:pt x="6476" y="8542"/>
                  </a:lnTo>
                  <a:lnTo>
                    <a:pt x="6484" y="8533"/>
                  </a:lnTo>
                  <a:lnTo>
                    <a:pt x="6484" y="8525"/>
                  </a:lnTo>
                  <a:lnTo>
                    <a:pt x="6484" y="8507"/>
                  </a:lnTo>
                  <a:lnTo>
                    <a:pt x="6484" y="8498"/>
                  </a:lnTo>
                  <a:lnTo>
                    <a:pt x="6493" y="8507"/>
                  </a:lnTo>
                  <a:lnTo>
                    <a:pt x="6484" y="8507"/>
                  </a:lnTo>
                  <a:lnTo>
                    <a:pt x="6493" y="8525"/>
                  </a:lnTo>
                  <a:lnTo>
                    <a:pt x="6493" y="8533"/>
                  </a:lnTo>
                  <a:lnTo>
                    <a:pt x="6493" y="8542"/>
                  </a:lnTo>
                  <a:lnTo>
                    <a:pt x="6493" y="8551"/>
                  </a:lnTo>
                  <a:lnTo>
                    <a:pt x="6484" y="8578"/>
                  </a:lnTo>
                  <a:lnTo>
                    <a:pt x="6476" y="8578"/>
                  </a:lnTo>
                  <a:lnTo>
                    <a:pt x="6476" y="8586"/>
                  </a:lnTo>
                  <a:lnTo>
                    <a:pt x="6467" y="8586"/>
                  </a:lnTo>
                  <a:lnTo>
                    <a:pt x="6467" y="8595"/>
                  </a:lnTo>
                  <a:lnTo>
                    <a:pt x="6458" y="8595"/>
                  </a:lnTo>
                  <a:lnTo>
                    <a:pt x="6449" y="8595"/>
                  </a:lnTo>
                  <a:lnTo>
                    <a:pt x="6440" y="8604"/>
                  </a:lnTo>
                  <a:lnTo>
                    <a:pt x="6432" y="8613"/>
                  </a:lnTo>
                  <a:lnTo>
                    <a:pt x="6423" y="8622"/>
                  </a:lnTo>
                  <a:lnTo>
                    <a:pt x="6414" y="8630"/>
                  </a:lnTo>
                  <a:lnTo>
                    <a:pt x="6387" y="8657"/>
                  </a:lnTo>
                  <a:lnTo>
                    <a:pt x="6379" y="8666"/>
                  </a:lnTo>
                  <a:lnTo>
                    <a:pt x="6379" y="8692"/>
                  </a:lnTo>
                  <a:lnTo>
                    <a:pt x="6379" y="8701"/>
                  </a:lnTo>
                  <a:lnTo>
                    <a:pt x="6387" y="8710"/>
                  </a:lnTo>
                  <a:lnTo>
                    <a:pt x="6396" y="8719"/>
                  </a:lnTo>
                  <a:lnTo>
                    <a:pt x="6396" y="8728"/>
                  </a:lnTo>
                  <a:lnTo>
                    <a:pt x="6387" y="8728"/>
                  </a:lnTo>
                  <a:lnTo>
                    <a:pt x="6405" y="8754"/>
                  </a:lnTo>
                  <a:lnTo>
                    <a:pt x="6414" y="8763"/>
                  </a:lnTo>
                  <a:lnTo>
                    <a:pt x="6414" y="8772"/>
                  </a:lnTo>
                  <a:lnTo>
                    <a:pt x="6405" y="8781"/>
                  </a:lnTo>
                  <a:lnTo>
                    <a:pt x="6396" y="8781"/>
                  </a:lnTo>
                  <a:lnTo>
                    <a:pt x="6387" y="8781"/>
                  </a:lnTo>
                  <a:lnTo>
                    <a:pt x="6387" y="8789"/>
                  </a:lnTo>
                  <a:lnTo>
                    <a:pt x="6396" y="8798"/>
                  </a:lnTo>
                  <a:lnTo>
                    <a:pt x="6414" y="8807"/>
                  </a:lnTo>
                  <a:lnTo>
                    <a:pt x="6467" y="8833"/>
                  </a:lnTo>
                  <a:lnTo>
                    <a:pt x="6476" y="8842"/>
                  </a:lnTo>
                  <a:lnTo>
                    <a:pt x="6484" y="8860"/>
                  </a:lnTo>
                  <a:lnTo>
                    <a:pt x="6493" y="8869"/>
                  </a:lnTo>
                  <a:lnTo>
                    <a:pt x="6502" y="8886"/>
                  </a:lnTo>
                  <a:lnTo>
                    <a:pt x="6511" y="8895"/>
                  </a:lnTo>
                  <a:lnTo>
                    <a:pt x="6520" y="8922"/>
                  </a:lnTo>
                  <a:lnTo>
                    <a:pt x="6529" y="8931"/>
                  </a:lnTo>
                  <a:lnTo>
                    <a:pt x="6537" y="8939"/>
                  </a:lnTo>
                  <a:lnTo>
                    <a:pt x="6546" y="8948"/>
                  </a:lnTo>
                  <a:lnTo>
                    <a:pt x="6555" y="8966"/>
                  </a:lnTo>
                  <a:lnTo>
                    <a:pt x="6564" y="8984"/>
                  </a:lnTo>
                  <a:lnTo>
                    <a:pt x="6573" y="8992"/>
                  </a:lnTo>
                  <a:lnTo>
                    <a:pt x="6573" y="9010"/>
                  </a:lnTo>
                  <a:lnTo>
                    <a:pt x="6581" y="9019"/>
                  </a:lnTo>
                  <a:lnTo>
                    <a:pt x="6590" y="9036"/>
                  </a:lnTo>
                  <a:lnTo>
                    <a:pt x="6599" y="9054"/>
                  </a:lnTo>
                  <a:lnTo>
                    <a:pt x="6608" y="9072"/>
                  </a:lnTo>
                  <a:lnTo>
                    <a:pt x="6608" y="9089"/>
                  </a:lnTo>
                  <a:lnTo>
                    <a:pt x="6617" y="9107"/>
                  </a:lnTo>
                  <a:lnTo>
                    <a:pt x="6643" y="9142"/>
                  </a:lnTo>
                  <a:lnTo>
                    <a:pt x="6652" y="9160"/>
                  </a:lnTo>
                  <a:lnTo>
                    <a:pt x="6652" y="9169"/>
                  </a:lnTo>
                  <a:lnTo>
                    <a:pt x="6652" y="9178"/>
                  </a:lnTo>
                  <a:lnTo>
                    <a:pt x="6679" y="9195"/>
                  </a:lnTo>
                  <a:lnTo>
                    <a:pt x="6679" y="9204"/>
                  </a:lnTo>
                  <a:lnTo>
                    <a:pt x="6687" y="9231"/>
                  </a:lnTo>
                  <a:lnTo>
                    <a:pt x="6687" y="9239"/>
                  </a:lnTo>
                  <a:lnTo>
                    <a:pt x="6696" y="9239"/>
                  </a:lnTo>
                  <a:lnTo>
                    <a:pt x="6696" y="9248"/>
                  </a:lnTo>
                  <a:lnTo>
                    <a:pt x="6714" y="9257"/>
                  </a:lnTo>
                  <a:lnTo>
                    <a:pt x="6714" y="9275"/>
                  </a:lnTo>
                  <a:lnTo>
                    <a:pt x="6723" y="9284"/>
                  </a:lnTo>
                  <a:lnTo>
                    <a:pt x="6731" y="9292"/>
                  </a:lnTo>
                  <a:lnTo>
                    <a:pt x="6731" y="9301"/>
                  </a:lnTo>
                  <a:lnTo>
                    <a:pt x="6740" y="9310"/>
                  </a:lnTo>
                  <a:lnTo>
                    <a:pt x="6758" y="9337"/>
                  </a:lnTo>
                  <a:lnTo>
                    <a:pt x="6758" y="9345"/>
                  </a:lnTo>
                  <a:lnTo>
                    <a:pt x="6749" y="9363"/>
                  </a:lnTo>
                  <a:lnTo>
                    <a:pt x="6740" y="9372"/>
                  </a:lnTo>
                  <a:lnTo>
                    <a:pt x="6749" y="9381"/>
                  </a:lnTo>
                  <a:lnTo>
                    <a:pt x="6749" y="9389"/>
                  </a:lnTo>
                  <a:lnTo>
                    <a:pt x="6758" y="9398"/>
                  </a:lnTo>
                  <a:lnTo>
                    <a:pt x="6758" y="9407"/>
                  </a:lnTo>
                  <a:lnTo>
                    <a:pt x="6767" y="9416"/>
                  </a:lnTo>
                  <a:lnTo>
                    <a:pt x="6776" y="9425"/>
                  </a:lnTo>
                  <a:lnTo>
                    <a:pt x="6793" y="9442"/>
                  </a:lnTo>
                  <a:lnTo>
                    <a:pt x="6802" y="9451"/>
                  </a:lnTo>
                  <a:lnTo>
                    <a:pt x="6820" y="9460"/>
                  </a:lnTo>
                  <a:lnTo>
                    <a:pt x="6829" y="9469"/>
                  </a:lnTo>
                  <a:lnTo>
                    <a:pt x="6829" y="9478"/>
                  </a:lnTo>
                  <a:lnTo>
                    <a:pt x="6837" y="9487"/>
                  </a:lnTo>
                  <a:lnTo>
                    <a:pt x="6881" y="9504"/>
                  </a:lnTo>
                  <a:lnTo>
                    <a:pt x="6890" y="9522"/>
                  </a:lnTo>
                  <a:lnTo>
                    <a:pt x="6908" y="9522"/>
                  </a:lnTo>
                  <a:lnTo>
                    <a:pt x="6934" y="9540"/>
                  </a:lnTo>
                  <a:lnTo>
                    <a:pt x="6934" y="9548"/>
                  </a:lnTo>
                  <a:lnTo>
                    <a:pt x="6961" y="9557"/>
                  </a:lnTo>
                  <a:lnTo>
                    <a:pt x="6970" y="9557"/>
                  </a:lnTo>
                  <a:lnTo>
                    <a:pt x="6996" y="9566"/>
                  </a:lnTo>
                  <a:lnTo>
                    <a:pt x="7005" y="9575"/>
                  </a:lnTo>
                  <a:lnTo>
                    <a:pt x="7031" y="9584"/>
                  </a:lnTo>
                  <a:lnTo>
                    <a:pt x="7040" y="9592"/>
                  </a:lnTo>
                  <a:lnTo>
                    <a:pt x="7049" y="9592"/>
                  </a:lnTo>
                  <a:lnTo>
                    <a:pt x="7058" y="9601"/>
                  </a:lnTo>
                  <a:lnTo>
                    <a:pt x="7067" y="9610"/>
                  </a:lnTo>
                  <a:lnTo>
                    <a:pt x="7076" y="9619"/>
                  </a:lnTo>
                  <a:lnTo>
                    <a:pt x="7084" y="9619"/>
                  </a:lnTo>
                  <a:lnTo>
                    <a:pt x="7102" y="9628"/>
                  </a:lnTo>
                  <a:lnTo>
                    <a:pt x="7111" y="9637"/>
                  </a:lnTo>
                  <a:lnTo>
                    <a:pt x="7111" y="9654"/>
                  </a:lnTo>
                  <a:lnTo>
                    <a:pt x="7137" y="9672"/>
                  </a:lnTo>
                  <a:lnTo>
                    <a:pt x="7146" y="9672"/>
                  </a:lnTo>
                  <a:lnTo>
                    <a:pt x="7155" y="9681"/>
                  </a:lnTo>
                  <a:lnTo>
                    <a:pt x="7173" y="9698"/>
                  </a:lnTo>
                  <a:lnTo>
                    <a:pt x="7181" y="9707"/>
                  </a:lnTo>
                  <a:lnTo>
                    <a:pt x="7190" y="9725"/>
                  </a:lnTo>
                  <a:lnTo>
                    <a:pt x="7190" y="9743"/>
                  </a:lnTo>
                  <a:lnTo>
                    <a:pt x="7190" y="9778"/>
                  </a:lnTo>
                  <a:lnTo>
                    <a:pt x="7199" y="9795"/>
                  </a:lnTo>
                  <a:lnTo>
                    <a:pt x="7199" y="9804"/>
                  </a:lnTo>
                  <a:lnTo>
                    <a:pt x="7199" y="9813"/>
                  </a:lnTo>
                  <a:lnTo>
                    <a:pt x="7199" y="9848"/>
                  </a:lnTo>
                  <a:lnTo>
                    <a:pt x="7199" y="9875"/>
                  </a:lnTo>
                  <a:lnTo>
                    <a:pt x="7199" y="9884"/>
                  </a:lnTo>
                  <a:lnTo>
                    <a:pt x="7208" y="9928"/>
                  </a:lnTo>
                  <a:lnTo>
                    <a:pt x="7208" y="9937"/>
                  </a:lnTo>
                  <a:lnTo>
                    <a:pt x="7208" y="9946"/>
                  </a:lnTo>
                  <a:lnTo>
                    <a:pt x="7199" y="9954"/>
                  </a:lnTo>
                  <a:lnTo>
                    <a:pt x="7199" y="9972"/>
                  </a:lnTo>
                  <a:lnTo>
                    <a:pt x="7199" y="9981"/>
                  </a:lnTo>
                  <a:lnTo>
                    <a:pt x="7199" y="9998"/>
                  </a:lnTo>
                  <a:lnTo>
                    <a:pt x="7190" y="10025"/>
                  </a:lnTo>
                  <a:lnTo>
                    <a:pt x="7190" y="10051"/>
                  </a:lnTo>
                  <a:lnTo>
                    <a:pt x="7181" y="10060"/>
                  </a:lnTo>
                  <a:lnTo>
                    <a:pt x="7173" y="10069"/>
                  </a:lnTo>
                  <a:lnTo>
                    <a:pt x="7173" y="10078"/>
                  </a:lnTo>
                  <a:lnTo>
                    <a:pt x="7173" y="10087"/>
                  </a:lnTo>
                  <a:lnTo>
                    <a:pt x="7173" y="10096"/>
                  </a:lnTo>
                  <a:lnTo>
                    <a:pt x="7181" y="10104"/>
                  </a:lnTo>
                  <a:lnTo>
                    <a:pt x="7181" y="10113"/>
                  </a:lnTo>
                  <a:lnTo>
                    <a:pt x="7173" y="10122"/>
                  </a:lnTo>
                  <a:lnTo>
                    <a:pt x="7173" y="10131"/>
                  </a:lnTo>
                  <a:lnTo>
                    <a:pt x="7173" y="10140"/>
                  </a:lnTo>
                  <a:lnTo>
                    <a:pt x="7173" y="10148"/>
                  </a:lnTo>
                  <a:lnTo>
                    <a:pt x="7173" y="10166"/>
                  </a:lnTo>
                  <a:lnTo>
                    <a:pt x="7173" y="10193"/>
                  </a:lnTo>
                  <a:lnTo>
                    <a:pt x="7173" y="10201"/>
                  </a:lnTo>
                  <a:lnTo>
                    <a:pt x="7181" y="10228"/>
                  </a:lnTo>
                  <a:lnTo>
                    <a:pt x="7181" y="10237"/>
                  </a:lnTo>
                  <a:lnTo>
                    <a:pt x="7173" y="10246"/>
                  </a:lnTo>
                  <a:lnTo>
                    <a:pt x="7173" y="10254"/>
                  </a:lnTo>
                  <a:lnTo>
                    <a:pt x="7164" y="10263"/>
                  </a:lnTo>
                  <a:lnTo>
                    <a:pt x="7164" y="10281"/>
                  </a:lnTo>
                  <a:lnTo>
                    <a:pt x="7164" y="10290"/>
                  </a:lnTo>
                  <a:lnTo>
                    <a:pt x="7164" y="10316"/>
                  </a:lnTo>
                  <a:lnTo>
                    <a:pt x="7164" y="10325"/>
                  </a:lnTo>
                  <a:lnTo>
                    <a:pt x="7164" y="10343"/>
                  </a:lnTo>
                  <a:lnTo>
                    <a:pt x="7155" y="10360"/>
                  </a:lnTo>
                  <a:lnTo>
                    <a:pt x="7155" y="10369"/>
                  </a:lnTo>
                  <a:lnTo>
                    <a:pt x="7146" y="10387"/>
                  </a:lnTo>
                  <a:lnTo>
                    <a:pt x="7146" y="10396"/>
                  </a:lnTo>
                  <a:lnTo>
                    <a:pt x="7146" y="10413"/>
                  </a:lnTo>
                  <a:lnTo>
                    <a:pt x="7146" y="10422"/>
                  </a:lnTo>
                  <a:lnTo>
                    <a:pt x="7137" y="10431"/>
                  </a:lnTo>
                  <a:lnTo>
                    <a:pt x="7128" y="10440"/>
                  </a:lnTo>
                  <a:lnTo>
                    <a:pt x="7128" y="10457"/>
                  </a:lnTo>
                  <a:lnTo>
                    <a:pt x="7128" y="10484"/>
                  </a:lnTo>
                  <a:lnTo>
                    <a:pt x="7120" y="10493"/>
                  </a:lnTo>
                  <a:lnTo>
                    <a:pt x="7120" y="10502"/>
                  </a:lnTo>
                  <a:lnTo>
                    <a:pt x="7111" y="10510"/>
                  </a:lnTo>
                  <a:lnTo>
                    <a:pt x="7102" y="10519"/>
                  </a:lnTo>
                  <a:lnTo>
                    <a:pt x="7102" y="10528"/>
                  </a:lnTo>
                  <a:lnTo>
                    <a:pt x="7102" y="10546"/>
                  </a:lnTo>
                  <a:lnTo>
                    <a:pt x="7111" y="10563"/>
                  </a:lnTo>
                  <a:lnTo>
                    <a:pt x="7120" y="10581"/>
                  </a:lnTo>
                  <a:lnTo>
                    <a:pt x="7111" y="10607"/>
                  </a:lnTo>
                  <a:lnTo>
                    <a:pt x="7111" y="10625"/>
                  </a:lnTo>
                  <a:lnTo>
                    <a:pt x="7093" y="10634"/>
                  </a:lnTo>
                  <a:lnTo>
                    <a:pt x="7084" y="10660"/>
                  </a:lnTo>
                  <a:lnTo>
                    <a:pt x="7084" y="10669"/>
                  </a:lnTo>
                  <a:lnTo>
                    <a:pt x="7093" y="10687"/>
                  </a:lnTo>
                  <a:lnTo>
                    <a:pt x="7093" y="10705"/>
                  </a:lnTo>
                  <a:lnTo>
                    <a:pt x="7093" y="10731"/>
                  </a:lnTo>
                  <a:lnTo>
                    <a:pt x="7102" y="10757"/>
                  </a:lnTo>
                  <a:lnTo>
                    <a:pt x="7102" y="10793"/>
                  </a:lnTo>
                  <a:lnTo>
                    <a:pt x="7111" y="10802"/>
                  </a:lnTo>
                  <a:lnTo>
                    <a:pt x="7102" y="10819"/>
                  </a:lnTo>
                  <a:lnTo>
                    <a:pt x="7102" y="10828"/>
                  </a:lnTo>
                  <a:lnTo>
                    <a:pt x="7093" y="10855"/>
                  </a:lnTo>
                  <a:lnTo>
                    <a:pt x="7084" y="10863"/>
                  </a:lnTo>
                  <a:lnTo>
                    <a:pt x="7084" y="10881"/>
                  </a:lnTo>
                  <a:lnTo>
                    <a:pt x="7084" y="10890"/>
                  </a:lnTo>
                  <a:lnTo>
                    <a:pt x="7093" y="10899"/>
                  </a:lnTo>
                  <a:lnTo>
                    <a:pt x="7093" y="10908"/>
                  </a:lnTo>
                  <a:lnTo>
                    <a:pt x="7076" y="10925"/>
                  </a:lnTo>
                  <a:lnTo>
                    <a:pt x="7067" y="10934"/>
                  </a:lnTo>
                  <a:lnTo>
                    <a:pt x="7067" y="10952"/>
                  </a:lnTo>
                  <a:lnTo>
                    <a:pt x="7067" y="10960"/>
                  </a:lnTo>
                  <a:lnTo>
                    <a:pt x="7067" y="10969"/>
                  </a:lnTo>
                  <a:lnTo>
                    <a:pt x="7058" y="10987"/>
                  </a:lnTo>
                  <a:lnTo>
                    <a:pt x="7049" y="11013"/>
                  </a:lnTo>
                  <a:lnTo>
                    <a:pt x="7049" y="11031"/>
                  </a:lnTo>
                  <a:lnTo>
                    <a:pt x="7040" y="11040"/>
                  </a:lnTo>
                  <a:lnTo>
                    <a:pt x="7031" y="11049"/>
                  </a:lnTo>
                  <a:lnTo>
                    <a:pt x="7031" y="11058"/>
                  </a:lnTo>
                  <a:lnTo>
                    <a:pt x="7023" y="11058"/>
                  </a:lnTo>
                  <a:lnTo>
                    <a:pt x="7023" y="11066"/>
                  </a:lnTo>
                  <a:lnTo>
                    <a:pt x="7023" y="11084"/>
                  </a:lnTo>
                  <a:lnTo>
                    <a:pt x="7014" y="11093"/>
                  </a:lnTo>
                  <a:lnTo>
                    <a:pt x="7005" y="11102"/>
                  </a:lnTo>
                  <a:lnTo>
                    <a:pt x="7005" y="11137"/>
                  </a:lnTo>
                  <a:lnTo>
                    <a:pt x="6996" y="11146"/>
                  </a:lnTo>
                  <a:lnTo>
                    <a:pt x="6987" y="11155"/>
                  </a:lnTo>
                  <a:lnTo>
                    <a:pt x="6987" y="11163"/>
                  </a:lnTo>
                  <a:lnTo>
                    <a:pt x="6978" y="11172"/>
                  </a:lnTo>
                  <a:lnTo>
                    <a:pt x="6978" y="11190"/>
                  </a:lnTo>
                  <a:lnTo>
                    <a:pt x="6978" y="11199"/>
                  </a:lnTo>
                  <a:lnTo>
                    <a:pt x="6970" y="11208"/>
                  </a:lnTo>
                  <a:lnTo>
                    <a:pt x="6961" y="11208"/>
                  </a:lnTo>
                  <a:lnTo>
                    <a:pt x="6943" y="11199"/>
                  </a:lnTo>
                  <a:lnTo>
                    <a:pt x="6943" y="11208"/>
                  </a:lnTo>
                  <a:lnTo>
                    <a:pt x="6943" y="11216"/>
                  </a:lnTo>
                  <a:lnTo>
                    <a:pt x="6943" y="11225"/>
                  </a:lnTo>
                  <a:lnTo>
                    <a:pt x="6943" y="11234"/>
                  </a:lnTo>
                  <a:lnTo>
                    <a:pt x="6943" y="11243"/>
                  </a:lnTo>
                  <a:lnTo>
                    <a:pt x="6952" y="11261"/>
                  </a:lnTo>
                  <a:lnTo>
                    <a:pt x="6961" y="11278"/>
                  </a:lnTo>
                  <a:lnTo>
                    <a:pt x="6952" y="11305"/>
                  </a:lnTo>
                  <a:lnTo>
                    <a:pt x="6952" y="11313"/>
                  </a:lnTo>
                  <a:lnTo>
                    <a:pt x="6952" y="11322"/>
                  </a:lnTo>
                  <a:lnTo>
                    <a:pt x="6978" y="11375"/>
                  </a:lnTo>
                  <a:lnTo>
                    <a:pt x="6970" y="11393"/>
                  </a:lnTo>
                  <a:lnTo>
                    <a:pt x="6961" y="11428"/>
                  </a:lnTo>
                  <a:lnTo>
                    <a:pt x="6952" y="11428"/>
                  </a:lnTo>
                  <a:lnTo>
                    <a:pt x="6943" y="11437"/>
                  </a:lnTo>
                  <a:lnTo>
                    <a:pt x="6943" y="11446"/>
                  </a:lnTo>
                  <a:lnTo>
                    <a:pt x="6934" y="11464"/>
                  </a:lnTo>
                  <a:lnTo>
                    <a:pt x="6934" y="11481"/>
                  </a:lnTo>
                  <a:lnTo>
                    <a:pt x="6926" y="11516"/>
                  </a:lnTo>
                  <a:lnTo>
                    <a:pt x="6917" y="11525"/>
                  </a:lnTo>
                  <a:lnTo>
                    <a:pt x="6917" y="11543"/>
                  </a:lnTo>
                  <a:lnTo>
                    <a:pt x="6926" y="11561"/>
                  </a:lnTo>
                  <a:lnTo>
                    <a:pt x="6926" y="11569"/>
                  </a:lnTo>
                  <a:lnTo>
                    <a:pt x="6934" y="11578"/>
                  </a:lnTo>
                  <a:lnTo>
                    <a:pt x="6943" y="11578"/>
                  </a:lnTo>
                  <a:lnTo>
                    <a:pt x="6943" y="11587"/>
                  </a:lnTo>
                  <a:lnTo>
                    <a:pt x="6934" y="11587"/>
                  </a:lnTo>
                  <a:lnTo>
                    <a:pt x="6934" y="11596"/>
                  </a:lnTo>
                  <a:lnTo>
                    <a:pt x="6943" y="11596"/>
                  </a:lnTo>
                  <a:lnTo>
                    <a:pt x="6952" y="11596"/>
                  </a:lnTo>
                  <a:lnTo>
                    <a:pt x="6970" y="11596"/>
                  </a:lnTo>
                  <a:lnTo>
                    <a:pt x="6978" y="11596"/>
                  </a:lnTo>
                  <a:lnTo>
                    <a:pt x="6987" y="11578"/>
                  </a:lnTo>
                  <a:lnTo>
                    <a:pt x="6996" y="11578"/>
                  </a:lnTo>
                  <a:lnTo>
                    <a:pt x="7005" y="11578"/>
                  </a:lnTo>
                  <a:lnTo>
                    <a:pt x="7014" y="11587"/>
                  </a:lnTo>
                  <a:lnTo>
                    <a:pt x="7023" y="11587"/>
                  </a:lnTo>
                  <a:lnTo>
                    <a:pt x="7031" y="11587"/>
                  </a:lnTo>
                  <a:lnTo>
                    <a:pt x="7040" y="11578"/>
                  </a:lnTo>
                  <a:lnTo>
                    <a:pt x="7040" y="11569"/>
                  </a:lnTo>
                  <a:lnTo>
                    <a:pt x="7040" y="11587"/>
                  </a:lnTo>
                  <a:lnTo>
                    <a:pt x="7031" y="11596"/>
                  </a:lnTo>
                  <a:lnTo>
                    <a:pt x="7014" y="11596"/>
                  </a:lnTo>
                  <a:lnTo>
                    <a:pt x="7005" y="11605"/>
                  </a:lnTo>
                  <a:lnTo>
                    <a:pt x="7005" y="11614"/>
                  </a:lnTo>
                  <a:lnTo>
                    <a:pt x="7014" y="11614"/>
                  </a:lnTo>
                  <a:lnTo>
                    <a:pt x="7023" y="11614"/>
                  </a:lnTo>
                  <a:lnTo>
                    <a:pt x="7031" y="11614"/>
                  </a:lnTo>
                  <a:lnTo>
                    <a:pt x="7031" y="11631"/>
                  </a:lnTo>
                  <a:lnTo>
                    <a:pt x="7031" y="11649"/>
                  </a:lnTo>
                  <a:lnTo>
                    <a:pt x="7031" y="11658"/>
                  </a:lnTo>
                  <a:lnTo>
                    <a:pt x="7023" y="11640"/>
                  </a:lnTo>
                  <a:lnTo>
                    <a:pt x="7023" y="11631"/>
                  </a:lnTo>
                  <a:lnTo>
                    <a:pt x="7014" y="11640"/>
                  </a:lnTo>
                  <a:lnTo>
                    <a:pt x="7005" y="11640"/>
                  </a:lnTo>
                  <a:lnTo>
                    <a:pt x="7014" y="11649"/>
                  </a:lnTo>
                  <a:lnTo>
                    <a:pt x="7023" y="11658"/>
                  </a:lnTo>
                  <a:lnTo>
                    <a:pt x="7014" y="11667"/>
                  </a:lnTo>
                  <a:lnTo>
                    <a:pt x="7005" y="11658"/>
                  </a:lnTo>
                  <a:lnTo>
                    <a:pt x="7005" y="11675"/>
                  </a:lnTo>
                  <a:lnTo>
                    <a:pt x="7005" y="11684"/>
                  </a:lnTo>
                  <a:lnTo>
                    <a:pt x="7005" y="11693"/>
                  </a:lnTo>
                  <a:lnTo>
                    <a:pt x="7014" y="11702"/>
                  </a:lnTo>
                  <a:lnTo>
                    <a:pt x="7014" y="11711"/>
                  </a:lnTo>
                  <a:lnTo>
                    <a:pt x="7005" y="11711"/>
                  </a:lnTo>
                  <a:lnTo>
                    <a:pt x="6996" y="11719"/>
                  </a:lnTo>
                  <a:lnTo>
                    <a:pt x="6996" y="11728"/>
                  </a:lnTo>
                  <a:lnTo>
                    <a:pt x="6987" y="11737"/>
                  </a:lnTo>
                  <a:lnTo>
                    <a:pt x="6987" y="11746"/>
                  </a:lnTo>
                  <a:lnTo>
                    <a:pt x="6996" y="11764"/>
                  </a:lnTo>
                  <a:lnTo>
                    <a:pt x="6987" y="11781"/>
                  </a:lnTo>
                  <a:lnTo>
                    <a:pt x="6978" y="11781"/>
                  </a:lnTo>
                  <a:lnTo>
                    <a:pt x="6970" y="11799"/>
                  </a:lnTo>
                  <a:lnTo>
                    <a:pt x="6970" y="11808"/>
                  </a:lnTo>
                  <a:lnTo>
                    <a:pt x="6978" y="11817"/>
                  </a:lnTo>
                  <a:lnTo>
                    <a:pt x="6987" y="11825"/>
                  </a:lnTo>
                  <a:lnTo>
                    <a:pt x="7005" y="11834"/>
                  </a:lnTo>
                  <a:lnTo>
                    <a:pt x="7014" y="11834"/>
                  </a:lnTo>
                  <a:lnTo>
                    <a:pt x="7014" y="11852"/>
                  </a:lnTo>
                  <a:lnTo>
                    <a:pt x="7014" y="11861"/>
                  </a:lnTo>
                  <a:lnTo>
                    <a:pt x="6987" y="11878"/>
                  </a:lnTo>
                  <a:lnTo>
                    <a:pt x="6970" y="11878"/>
                  </a:lnTo>
                  <a:lnTo>
                    <a:pt x="6961" y="11887"/>
                  </a:lnTo>
                  <a:lnTo>
                    <a:pt x="6961" y="11896"/>
                  </a:lnTo>
                  <a:lnTo>
                    <a:pt x="6961" y="11905"/>
                  </a:lnTo>
                  <a:lnTo>
                    <a:pt x="6978" y="11905"/>
                  </a:lnTo>
                  <a:lnTo>
                    <a:pt x="6987" y="11914"/>
                  </a:lnTo>
                  <a:lnTo>
                    <a:pt x="6996" y="11922"/>
                  </a:lnTo>
                  <a:lnTo>
                    <a:pt x="6978" y="11914"/>
                  </a:lnTo>
                  <a:lnTo>
                    <a:pt x="6970" y="11914"/>
                  </a:lnTo>
                  <a:lnTo>
                    <a:pt x="6961" y="11922"/>
                  </a:lnTo>
                  <a:lnTo>
                    <a:pt x="6952" y="11931"/>
                  </a:lnTo>
                  <a:lnTo>
                    <a:pt x="6934" y="11931"/>
                  </a:lnTo>
                  <a:lnTo>
                    <a:pt x="6934" y="11940"/>
                  </a:lnTo>
                  <a:lnTo>
                    <a:pt x="6934" y="11949"/>
                  </a:lnTo>
                  <a:lnTo>
                    <a:pt x="6943" y="11949"/>
                  </a:lnTo>
                  <a:lnTo>
                    <a:pt x="6952" y="11958"/>
                  </a:lnTo>
                  <a:lnTo>
                    <a:pt x="6952" y="11967"/>
                  </a:lnTo>
                  <a:lnTo>
                    <a:pt x="6943" y="11975"/>
                  </a:lnTo>
                  <a:lnTo>
                    <a:pt x="6943" y="11993"/>
                  </a:lnTo>
                  <a:lnTo>
                    <a:pt x="6943" y="12002"/>
                  </a:lnTo>
                  <a:lnTo>
                    <a:pt x="6943" y="12011"/>
                  </a:lnTo>
                  <a:lnTo>
                    <a:pt x="6934" y="12020"/>
                  </a:lnTo>
                  <a:lnTo>
                    <a:pt x="6926" y="12028"/>
                  </a:lnTo>
                  <a:lnTo>
                    <a:pt x="6926" y="12020"/>
                  </a:lnTo>
                  <a:lnTo>
                    <a:pt x="6934" y="12011"/>
                  </a:lnTo>
                  <a:lnTo>
                    <a:pt x="6943" y="11984"/>
                  </a:lnTo>
                  <a:lnTo>
                    <a:pt x="6943" y="11975"/>
                  </a:lnTo>
                  <a:lnTo>
                    <a:pt x="6943" y="11967"/>
                  </a:lnTo>
                  <a:lnTo>
                    <a:pt x="6934" y="11958"/>
                  </a:lnTo>
                  <a:lnTo>
                    <a:pt x="6926" y="11958"/>
                  </a:lnTo>
                  <a:lnTo>
                    <a:pt x="6926" y="11984"/>
                  </a:lnTo>
                  <a:lnTo>
                    <a:pt x="6917" y="11993"/>
                  </a:lnTo>
                  <a:lnTo>
                    <a:pt x="6908" y="11993"/>
                  </a:lnTo>
                  <a:lnTo>
                    <a:pt x="6899" y="12002"/>
                  </a:lnTo>
                  <a:lnTo>
                    <a:pt x="6890" y="12002"/>
                  </a:lnTo>
                  <a:lnTo>
                    <a:pt x="6890" y="11993"/>
                  </a:lnTo>
                  <a:lnTo>
                    <a:pt x="6908" y="11984"/>
                  </a:lnTo>
                  <a:lnTo>
                    <a:pt x="6917" y="11984"/>
                  </a:lnTo>
                  <a:lnTo>
                    <a:pt x="6917" y="11975"/>
                  </a:lnTo>
                  <a:lnTo>
                    <a:pt x="6917" y="11967"/>
                  </a:lnTo>
                  <a:lnTo>
                    <a:pt x="6917" y="11958"/>
                  </a:lnTo>
                  <a:lnTo>
                    <a:pt x="6926" y="11940"/>
                  </a:lnTo>
                  <a:lnTo>
                    <a:pt x="6926" y="11931"/>
                  </a:lnTo>
                  <a:lnTo>
                    <a:pt x="6934" y="11922"/>
                  </a:lnTo>
                  <a:lnTo>
                    <a:pt x="6926" y="11922"/>
                  </a:lnTo>
                  <a:lnTo>
                    <a:pt x="6917" y="11922"/>
                  </a:lnTo>
                  <a:lnTo>
                    <a:pt x="6908" y="11922"/>
                  </a:lnTo>
                  <a:lnTo>
                    <a:pt x="6908" y="11931"/>
                  </a:lnTo>
                  <a:lnTo>
                    <a:pt x="6908" y="11940"/>
                  </a:lnTo>
                  <a:lnTo>
                    <a:pt x="6908" y="11949"/>
                  </a:lnTo>
                  <a:lnTo>
                    <a:pt x="6908" y="11958"/>
                  </a:lnTo>
                  <a:lnTo>
                    <a:pt x="6899" y="11958"/>
                  </a:lnTo>
                  <a:lnTo>
                    <a:pt x="6890" y="11958"/>
                  </a:lnTo>
                  <a:lnTo>
                    <a:pt x="6881" y="11958"/>
                  </a:lnTo>
                  <a:lnTo>
                    <a:pt x="6873" y="11958"/>
                  </a:lnTo>
                  <a:lnTo>
                    <a:pt x="6864" y="11958"/>
                  </a:lnTo>
                  <a:lnTo>
                    <a:pt x="6837" y="11967"/>
                  </a:lnTo>
                  <a:lnTo>
                    <a:pt x="6837" y="11975"/>
                  </a:lnTo>
                  <a:lnTo>
                    <a:pt x="6846" y="11984"/>
                  </a:lnTo>
                  <a:lnTo>
                    <a:pt x="6846" y="11993"/>
                  </a:lnTo>
                  <a:lnTo>
                    <a:pt x="6837" y="12002"/>
                  </a:lnTo>
                  <a:lnTo>
                    <a:pt x="6829" y="12011"/>
                  </a:lnTo>
                  <a:lnTo>
                    <a:pt x="6820" y="12020"/>
                  </a:lnTo>
                  <a:lnTo>
                    <a:pt x="6811" y="12020"/>
                  </a:lnTo>
                  <a:lnTo>
                    <a:pt x="6793" y="12028"/>
                  </a:lnTo>
                  <a:lnTo>
                    <a:pt x="6793" y="12037"/>
                  </a:lnTo>
                  <a:lnTo>
                    <a:pt x="6793" y="12046"/>
                  </a:lnTo>
                  <a:lnTo>
                    <a:pt x="6802" y="12055"/>
                  </a:lnTo>
                  <a:lnTo>
                    <a:pt x="6811" y="12064"/>
                  </a:lnTo>
                  <a:lnTo>
                    <a:pt x="6820" y="12055"/>
                  </a:lnTo>
                  <a:lnTo>
                    <a:pt x="6811" y="12046"/>
                  </a:lnTo>
                  <a:lnTo>
                    <a:pt x="6802" y="12046"/>
                  </a:lnTo>
                  <a:lnTo>
                    <a:pt x="6802" y="12037"/>
                  </a:lnTo>
                  <a:lnTo>
                    <a:pt x="6811" y="12037"/>
                  </a:lnTo>
                  <a:lnTo>
                    <a:pt x="6820" y="12037"/>
                  </a:lnTo>
                  <a:lnTo>
                    <a:pt x="6837" y="12028"/>
                  </a:lnTo>
                  <a:lnTo>
                    <a:pt x="6846" y="12020"/>
                  </a:lnTo>
                  <a:lnTo>
                    <a:pt x="6837" y="12037"/>
                  </a:lnTo>
                  <a:lnTo>
                    <a:pt x="6846" y="12037"/>
                  </a:lnTo>
                  <a:lnTo>
                    <a:pt x="6846" y="12046"/>
                  </a:lnTo>
                  <a:lnTo>
                    <a:pt x="6855" y="12046"/>
                  </a:lnTo>
                  <a:lnTo>
                    <a:pt x="6864" y="12055"/>
                  </a:lnTo>
                  <a:lnTo>
                    <a:pt x="6881" y="12055"/>
                  </a:lnTo>
                  <a:lnTo>
                    <a:pt x="6881" y="12046"/>
                  </a:lnTo>
                  <a:lnTo>
                    <a:pt x="6899" y="12046"/>
                  </a:lnTo>
                  <a:lnTo>
                    <a:pt x="6899" y="12055"/>
                  </a:lnTo>
                  <a:lnTo>
                    <a:pt x="6908" y="12064"/>
                  </a:lnTo>
                  <a:lnTo>
                    <a:pt x="6899" y="12072"/>
                  </a:lnTo>
                  <a:lnTo>
                    <a:pt x="6908" y="12081"/>
                  </a:lnTo>
                  <a:lnTo>
                    <a:pt x="6899" y="12090"/>
                  </a:lnTo>
                  <a:lnTo>
                    <a:pt x="6890" y="12099"/>
                  </a:lnTo>
                  <a:lnTo>
                    <a:pt x="6881" y="12108"/>
                  </a:lnTo>
                  <a:lnTo>
                    <a:pt x="6890" y="12117"/>
                  </a:lnTo>
                  <a:lnTo>
                    <a:pt x="6899" y="12117"/>
                  </a:lnTo>
                  <a:lnTo>
                    <a:pt x="6908" y="12125"/>
                  </a:lnTo>
                  <a:lnTo>
                    <a:pt x="6899" y="12134"/>
                  </a:lnTo>
                  <a:lnTo>
                    <a:pt x="6890" y="12134"/>
                  </a:lnTo>
                  <a:lnTo>
                    <a:pt x="6890" y="12125"/>
                  </a:lnTo>
                  <a:lnTo>
                    <a:pt x="6881" y="12125"/>
                  </a:lnTo>
                  <a:lnTo>
                    <a:pt x="6873" y="12125"/>
                  </a:lnTo>
                  <a:lnTo>
                    <a:pt x="6873" y="12134"/>
                  </a:lnTo>
                  <a:lnTo>
                    <a:pt x="6873" y="12143"/>
                  </a:lnTo>
                  <a:lnTo>
                    <a:pt x="6890" y="12143"/>
                  </a:lnTo>
                  <a:lnTo>
                    <a:pt x="6890" y="12152"/>
                  </a:lnTo>
                  <a:lnTo>
                    <a:pt x="6899" y="12161"/>
                  </a:lnTo>
                  <a:lnTo>
                    <a:pt x="6908" y="12161"/>
                  </a:lnTo>
                  <a:lnTo>
                    <a:pt x="6926" y="12152"/>
                  </a:lnTo>
                  <a:lnTo>
                    <a:pt x="6934" y="12134"/>
                  </a:lnTo>
                  <a:lnTo>
                    <a:pt x="6934" y="12125"/>
                  </a:lnTo>
                  <a:lnTo>
                    <a:pt x="6943" y="12125"/>
                  </a:lnTo>
                  <a:lnTo>
                    <a:pt x="6943" y="12152"/>
                  </a:lnTo>
                  <a:lnTo>
                    <a:pt x="6943" y="12161"/>
                  </a:lnTo>
                  <a:lnTo>
                    <a:pt x="6952" y="12161"/>
                  </a:lnTo>
                  <a:lnTo>
                    <a:pt x="6952" y="12170"/>
                  </a:lnTo>
                  <a:lnTo>
                    <a:pt x="6961" y="12178"/>
                  </a:lnTo>
                  <a:lnTo>
                    <a:pt x="6952" y="12178"/>
                  </a:lnTo>
                  <a:lnTo>
                    <a:pt x="6926" y="12170"/>
                  </a:lnTo>
                  <a:lnTo>
                    <a:pt x="6899" y="12170"/>
                  </a:lnTo>
                  <a:lnTo>
                    <a:pt x="6890" y="12161"/>
                  </a:lnTo>
                  <a:lnTo>
                    <a:pt x="6873" y="12161"/>
                  </a:lnTo>
                  <a:lnTo>
                    <a:pt x="6873" y="12178"/>
                  </a:lnTo>
                  <a:lnTo>
                    <a:pt x="6873" y="12187"/>
                  </a:lnTo>
                  <a:lnTo>
                    <a:pt x="6881" y="12196"/>
                  </a:lnTo>
                  <a:lnTo>
                    <a:pt x="6881" y="12205"/>
                  </a:lnTo>
                  <a:lnTo>
                    <a:pt x="6890" y="12205"/>
                  </a:lnTo>
                  <a:lnTo>
                    <a:pt x="6899" y="12205"/>
                  </a:lnTo>
                  <a:lnTo>
                    <a:pt x="6908" y="12205"/>
                  </a:lnTo>
                  <a:lnTo>
                    <a:pt x="6917" y="12205"/>
                  </a:lnTo>
                  <a:lnTo>
                    <a:pt x="6908" y="12205"/>
                  </a:lnTo>
                  <a:lnTo>
                    <a:pt x="6899" y="12214"/>
                  </a:lnTo>
                  <a:lnTo>
                    <a:pt x="6890" y="12214"/>
                  </a:lnTo>
                  <a:lnTo>
                    <a:pt x="6890" y="12240"/>
                  </a:lnTo>
                  <a:lnTo>
                    <a:pt x="6890" y="12258"/>
                  </a:lnTo>
                  <a:lnTo>
                    <a:pt x="6890" y="12293"/>
                  </a:lnTo>
                  <a:lnTo>
                    <a:pt x="6899" y="12302"/>
                  </a:lnTo>
                  <a:lnTo>
                    <a:pt x="6908" y="12293"/>
                  </a:lnTo>
                  <a:lnTo>
                    <a:pt x="6908" y="12284"/>
                  </a:lnTo>
                  <a:lnTo>
                    <a:pt x="6908" y="12275"/>
                  </a:lnTo>
                  <a:lnTo>
                    <a:pt x="6917" y="12275"/>
                  </a:lnTo>
                  <a:lnTo>
                    <a:pt x="6917" y="12267"/>
                  </a:lnTo>
                  <a:lnTo>
                    <a:pt x="6917" y="12258"/>
                  </a:lnTo>
                  <a:lnTo>
                    <a:pt x="6926" y="12258"/>
                  </a:lnTo>
                  <a:lnTo>
                    <a:pt x="6917" y="12258"/>
                  </a:lnTo>
                  <a:lnTo>
                    <a:pt x="6917" y="12267"/>
                  </a:lnTo>
                  <a:lnTo>
                    <a:pt x="6917" y="12275"/>
                  </a:lnTo>
                  <a:lnTo>
                    <a:pt x="6917" y="12284"/>
                  </a:lnTo>
                  <a:lnTo>
                    <a:pt x="6908" y="12293"/>
                  </a:lnTo>
                  <a:lnTo>
                    <a:pt x="6917" y="12302"/>
                  </a:lnTo>
                  <a:lnTo>
                    <a:pt x="6926" y="12302"/>
                  </a:lnTo>
                  <a:lnTo>
                    <a:pt x="6934" y="12311"/>
                  </a:lnTo>
                  <a:lnTo>
                    <a:pt x="6926" y="12311"/>
                  </a:lnTo>
                  <a:lnTo>
                    <a:pt x="6908" y="12311"/>
                  </a:lnTo>
                  <a:lnTo>
                    <a:pt x="6899" y="12311"/>
                  </a:lnTo>
                  <a:lnTo>
                    <a:pt x="6890" y="12328"/>
                  </a:lnTo>
                  <a:lnTo>
                    <a:pt x="6908" y="12346"/>
                  </a:lnTo>
                  <a:lnTo>
                    <a:pt x="6917" y="12346"/>
                  </a:lnTo>
                  <a:lnTo>
                    <a:pt x="6917" y="12355"/>
                  </a:lnTo>
                  <a:lnTo>
                    <a:pt x="6890" y="12346"/>
                  </a:lnTo>
                  <a:lnTo>
                    <a:pt x="6890" y="12355"/>
                  </a:lnTo>
                  <a:lnTo>
                    <a:pt x="6873" y="12373"/>
                  </a:lnTo>
                  <a:lnTo>
                    <a:pt x="6881" y="12373"/>
                  </a:lnTo>
                  <a:lnTo>
                    <a:pt x="6890" y="12381"/>
                  </a:lnTo>
                  <a:lnTo>
                    <a:pt x="6890" y="12390"/>
                  </a:lnTo>
                  <a:lnTo>
                    <a:pt x="6899" y="12390"/>
                  </a:lnTo>
                  <a:lnTo>
                    <a:pt x="6917" y="12399"/>
                  </a:lnTo>
                  <a:lnTo>
                    <a:pt x="6926" y="12399"/>
                  </a:lnTo>
                  <a:lnTo>
                    <a:pt x="6908" y="12399"/>
                  </a:lnTo>
                  <a:lnTo>
                    <a:pt x="6908" y="12408"/>
                  </a:lnTo>
                  <a:lnTo>
                    <a:pt x="6908" y="12417"/>
                  </a:lnTo>
                  <a:lnTo>
                    <a:pt x="6917" y="12434"/>
                  </a:lnTo>
                  <a:lnTo>
                    <a:pt x="6926" y="12426"/>
                  </a:lnTo>
                  <a:lnTo>
                    <a:pt x="6934" y="12399"/>
                  </a:lnTo>
                  <a:lnTo>
                    <a:pt x="6943" y="12399"/>
                  </a:lnTo>
                  <a:lnTo>
                    <a:pt x="6943" y="12408"/>
                  </a:lnTo>
                  <a:lnTo>
                    <a:pt x="6943" y="12417"/>
                  </a:lnTo>
                  <a:lnTo>
                    <a:pt x="6934" y="12417"/>
                  </a:lnTo>
                  <a:lnTo>
                    <a:pt x="6934" y="12434"/>
                  </a:lnTo>
                  <a:lnTo>
                    <a:pt x="6934" y="12443"/>
                  </a:lnTo>
                  <a:lnTo>
                    <a:pt x="6926" y="12443"/>
                  </a:lnTo>
                  <a:lnTo>
                    <a:pt x="6908" y="12426"/>
                  </a:lnTo>
                  <a:lnTo>
                    <a:pt x="6890" y="12408"/>
                  </a:lnTo>
                  <a:lnTo>
                    <a:pt x="6890" y="12399"/>
                  </a:lnTo>
                  <a:lnTo>
                    <a:pt x="6873" y="12390"/>
                  </a:lnTo>
                  <a:lnTo>
                    <a:pt x="6873" y="12381"/>
                  </a:lnTo>
                  <a:lnTo>
                    <a:pt x="6864" y="12390"/>
                  </a:lnTo>
                  <a:lnTo>
                    <a:pt x="6864" y="12399"/>
                  </a:lnTo>
                  <a:lnTo>
                    <a:pt x="6873" y="12408"/>
                  </a:lnTo>
                  <a:lnTo>
                    <a:pt x="6864" y="12417"/>
                  </a:lnTo>
                  <a:lnTo>
                    <a:pt x="6855" y="12417"/>
                  </a:lnTo>
                  <a:lnTo>
                    <a:pt x="6837" y="12417"/>
                  </a:lnTo>
                  <a:lnTo>
                    <a:pt x="6837" y="12426"/>
                  </a:lnTo>
                  <a:lnTo>
                    <a:pt x="6846" y="12434"/>
                  </a:lnTo>
                  <a:lnTo>
                    <a:pt x="6855" y="12452"/>
                  </a:lnTo>
                  <a:lnTo>
                    <a:pt x="6864" y="12452"/>
                  </a:lnTo>
                  <a:lnTo>
                    <a:pt x="6873" y="12461"/>
                  </a:lnTo>
                  <a:lnTo>
                    <a:pt x="6881" y="12461"/>
                  </a:lnTo>
                  <a:lnTo>
                    <a:pt x="6890" y="12461"/>
                  </a:lnTo>
                  <a:lnTo>
                    <a:pt x="6890" y="12470"/>
                  </a:lnTo>
                  <a:lnTo>
                    <a:pt x="6899" y="12470"/>
                  </a:lnTo>
                  <a:lnTo>
                    <a:pt x="6908" y="12470"/>
                  </a:lnTo>
                  <a:lnTo>
                    <a:pt x="6926" y="12470"/>
                  </a:lnTo>
                  <a:lnTo>
                    <a:pt x="6926" y="12478"/>
                  </a:lnTo>
                  <a:lnTo>
                    <a:pt x="6926" y="12505"/>
                  </a:lnTo>
                  <a:lnTo>
                    <a:pt x="6917" y="12505"/>
                  </a:lnTo>
                  <a:lnTo>
                    <a:pt x="6908" y="12514"/>
                  </a:lnTo>
                  <a:lnTo>
                    <a:pt x="6917" y="12523"/>
                  </a:lnTo>
                  <a:lnTo>
                    <a:pt x="6926" y="12523"/>
                  </a:lnTo>
                  <a:lnTo>
                    <a:pt x="6934" y="12523"/>
                  </a:lnTo>
                  <a:lnTo>
                    <a:pt x="6943" y="12531"/>
                  </a:lnTo>
                  <a:lnTo>
                    <a:pt x="6952" y="12540"/>
                  </a:lnTo>
                  <a:lnTo>
                    <a:pt x="6952" y="12549"/>
                  </a:lnTo>
                  <a:lnTo>
                    <a:pt x="6961" y="12549"/>
                  </a:lnTo>
                  <a:lnTo>
                    <a:pt x="6978" y="12540"/>
                  </a:lnTo>
                  <a:lnTo>
                    <a:pt x="6996" y="12531"/>
                  </a:lnTo>
                  <a:lnTo>
                    <a:pt x="7023" y="12523"/>
                  </a:lnTo>
                  <a:lnTo>
                    <a:pt x="7014" y="12514"/>
                  </a:lnTo>
                  <a:lnTo>
                    <a:pt x="7005" y="12505"/>
                  </a:lnTo>
                  <a:lnTo>
                    <a:pt x="6987" y="12496"/>
                  </a:lnTo>
                  <a:lnTo>
                    <a:pt x="6978" y="12496"/>
                  </a:lnTo>
                  <a:lnTo>
                    <a:pt x="6978" y="12487"/>
                  </a:lnTo>
                  <a:lnTo>
                    <a:pt x="7005" y="12505"/>
                  </a:lnTo>
                  <a:lnTo>
                    <a:pt x="7023" y="12514"/>
                  </a:lnTo>
                  <a:lnTo>
                    <a:pt x="7031" y="12523"/>
                  </a:lnTo>
                  <a:lnTo>
                    <a:pt x="7031" y="12531"/>
                  </a:lnTo>
                  <a:lnTo>
                    <a:pt x="7023" y="12531"/>
                  </a:lnTo>
                  <a:lnTo>
                    <a:pt x="7023" y="12540"/>
                  </a:lnTo>
                  <a:lnTo>
                    <a:pt x="7023" y="12549"/>
                  </a:lnTo>
                  <a:lnTo>
                    <a:pt x="7023" y="12558"/>
                  </a:lnTo>
                  <a:lnTo>
                    <a:pt x="7023" y="12567"/>
                  </a:lnTo>
                  <a:lnTo>
                    <a:pt x="7023" y="12576"/>
                  </a:lnTo>
                  <a:lnTo>
                    <a:pt x="7023" y="12584"/>
                  </a:lnTo>
                  <a:lnTo>
                    <a:pt x="7014" y="12584"/>
                  </a:lnTo>
                  <a:lnTo>
                    <a:pt x="7014" y="12576"/>
                  </a:lnTo>
                  <a:lnTo>
                    <a:pt x="7023" y="12567"/>
                  </a:lnTo>
                  <a:lnTo>
                    <a:pt x="7023" y="12558"/>
                  </a:lnTo>
                  <a:lnTo>
                    <a:pt x="7014" y="12558"/>
                  </a:lnTo>
                  <a:lnTo>
                    <a:pt x="7014" y="12549"/>
                  </a:lnTo>
                  <a:lnTo>
                    <a:pt x="7014" y="12540"/>
                  </a:lnTo>
                  <a:lnTo>
                    <a:pt x="7005" y="12540"/>
                  </a:lnTo>
                  <a:lnTo>
                    <a:pt x="6996" y="12549"/>
                  </a:lnTo>
                  <a:lnTo>
                    <a:pt x="6978" y="12558"/>
                  </a:lnTo>
                  <a:lnTo>
                    <a:pt x="6970" y="12558"/>
                  </a:lnTo>
                  <a:lnTo>
                    <a:pt x="6961" y="12558"/>
                  </a:lnTo>
                  <a:lnTo>
                    <a:pt x="6952" y="12558"/>
                  </a:lnTo>
                  <a:lnTo>
                    <a:pt x="6943" y="12549"/>
                  </a:lnTo>
                  <a:lnTo>
                    <a:pt x="6943" y="12558"/>
                  </a:lnTo>
                  <a:lnTo>
                    <a:pt x="6943" y="12567"/>
                  </a:lnTo>
                  <a:lnTo>
                    <a:pt x="6934" y="12567"/>
                  </a:lnTo>
                  <a:lnTo>
                    <a:pt x="6917" y="12558"/>
                  </a:lnTo>
                  <a:lnTo>
                    <a:pt x="6908" y="12558"/>
                  </a:lnTo>
                  <a:lnTo>
                    <a:pt x="6899" y="12558"/>
                  </a:lnTo>
                  <a:lnTo>
                    <a:pt x="6899" y="12567"/>
                  </a:lnTo>
                  <a:lnTo>
                    <a:pt x="6908" y="12576"/>
                  </a:lnTo>
                  <a:lnTo>
                    <a:pt x="6908" y="12584"/>
                  </a:lnTo>
                  <a:lnTo>
                    <a:pt x="6917" y="12584"/>
                  </a:lnTo>
                  <a:lnTo>
                    <a:pt x="6917" y="12593"/>
                  </a:lnTo>
                  <a:lnTo>
                    <a:pt x="6917" y="12602"/>
                  </a:lnTo>
                  <a:lnTo>
                    <a:pt x="6917" y="12611"/>
                  </a:lnTo>
                  <a:lnTo>
                    <a:pt x="6926" y="12611"/>
                  </a:lnTo>
                  <a:lnTo>
                    <a:pt x="6943" y="12611"/>
                  </a:lnTo>
                  <a:lnTo>
                    <a:pt x="6952" y="12611"/>
                  </a:lnTo>
                  <a:lnTo>
                    <a:pt x="6961" y="12602"/>
                  </a:lnTo>
                  <a:lnTo>
                    <a:pt x="6970" y="12611"/>
                  </a:lnTo>
                  <a:lnTo>
                    <a:pt x="6978" y="12602"/>
                  </a:lnTo>
                  <a:lnTo>
                    <a:pt x="6978" y="12593"/>
                  </a:lnTo>
                  <a:lnTo>
                    <a:pt x="6987" y="12602"/>
                  </a:lnTo>
                  <a:lnTo>
                    <a:pt x="6978" y="12602"/>
                  </a:lnTo>
                  <a:lnTo>
                    <a:pt x="6970" y="12611"/>
                  </a:lnTo>
                  <a:lnTo>
                    <a:pt x="6970" y="12620"/>
                  </a:lnTo>
                  <a:lnTo>
                    <a:pt x="6943" y="12629"/>
                  </a:lnTo>
                  <a:lnTo>
                    <a:pt x="6952" y="12637"/>
                  </a:lnTo>
                  <a:lnTo>
                    <a:pt x="6961" y="12637"/>
                  </a:lnTo>
                  <a:lnTo>
                    <a:pt x="6970" y="12646"/>
                  </a:lnTo>
                  <a:lnTo>
                    <a:pt x="6978" y="12655"/>
                  </a:lnTo>
                  <a:lnTo>
                    <a:pt x="6987" y="12646"/>
                  </a:lnTo>
                  <a:lnTo>
                    <a:pt x="6987" y="12637"/>
                  </a:lnTo>
                  <a:lnTo>
                    <a:pt x="6996" y="12620"/>
                  </a:lnTo>
                  <a:lnTo>
                    <a:pt x="7005" y="12620"/>
                  </a:lnTo>
                  <a:lnTo>
                    <a:pt x="7005" y="12611"/>
                  </a:lnTo>
                  <a:lnTo>
                    <a:pt x="7005" y="12602"/>
                  </a:lnTo>
                  <a:lnTo>
                    <a:pt x="7014" y="12602"/>
                  </a:lnTo>
                  <a:lnTo>
                    <a:pt x="7014" y="12593"/>
                  </a:lnTo>
                  <a:lnTo>
                    <a:pt x="7031" y="12602"/>
                  </a:lnTo>
                  <a:lnTo>
                    <a:pt x="7031" y="12611"/>
                  </a:lnTo>
                  <a:lnTo>
                    <a:pt x="7040" y="12602"/>
                  </a:lnTo>
                  <a:lnTo>
                    <a:pt x="7049" y="12593"/>
                  </a:lnTo>
                  <a:lnTo>
                    <a:pt x="7076" y="12602"/>
                  </a:lnTo>
                  <a:lnTo>
                    <a:pt x="7093" y="12602"/>
                  </a:lnTo>
                  <a:lnTo>
                    <a:pt x="7102" y="12602"/>
                  </a:lnTo>
                  <a:lnTo>
                    <a:pt x="7102" y="12611"/>
                  </a:lnTo>
                  <a:lnTo>
                    <a:pt x="7093" y="12611"/>
                  </a:lnTo>
                  <a:lnTo>
                    <a:pt x="7084" y="12611"/>
                  </a:lnTo>
                  <a:lnTo>
                    <a:pt x="7067" y="12611"/>
                  </a:lnTo>
                  <a:lnTo>
                    <a:pt x="7058" y="12611"/>
                  </a:lnTo>
                  <a:lnTo>
                    <a:pt x="7031" y="12629"/>
                  </a:lnTo>
                  <a:lnTo>
                    <a:pt x="7023" y="12629"/>
                  </a:lnTo>
                  <a:lnTo>
                    <a:pt x="7023" y="12620"/>
                  </a:lnTo>
                  <a:lnTo>
                    <a:pt x="7014" y="12620"/>
                  </a:lnTo>
                  <a:lnTo>
                    <a:pt x="7005" y="12629"/>
                  </a:lnTo>
                  <a:lnTo>
                    <a:pt x="6996" y="12629"/>
                  </a:lnTo>
                  <a:lnTo>
                    <a:pt x="6996" y="12637"/>
                  </a:lnTo>
                  <a:lnTo>
                    <a:pt x="6996" y="12655"/>
                  </a:lnTo>
                  <a:lnTo>
                    <a:pt x="6987" y="12664"/>
                  </a:lnTo>
                  <a:lnTo>
                    <a:pt x="6987" y="12673"/>
                  </a:lnTo>
                  <a:lnTo>
                    <a:pt x="7014" y="12690"/>
                  </a:lnTo>
                  <a:lnTo>
                    <a:pt x="7023" y="12690"/>
                  </a:lnTo>
                  <a:lnTo>
                    <a:pt x="7023" y="12681"/>
                  </a:lnTo>
                  <a:lnTo>
                    <a:pt x="7031" y="12673"/>
                  </a:lnTo>
                  <a:lnTo>
                    <a:pt x="7040" y="12655"/>
                  </a:lnTo>
                  <a:lnTo>
                    <a:pt x="7058" y="12646"/>
                  </a:lnTo>
                  <a:lnTo>
                    <a:pt x="7076" y="12646"/>
                  </a:lnTo>
                  <a:lnTo>
                    <a:pt x="7111" y="12620"/>
                  </a:lnTo>
                  <a:lnTo>
                    <a:pt x="7120" y="12629"/>
                  </a:lnTo>
                  <a:lnTo>
                    <a:pt x="7128" y="12629"/>
                  </a:lnTo>
                  <a:lnTo>
                    <a:pt x="7128" y="12637"/>
                  </a:lnTo>
                  <a:lnTo>
                    <a:pt x="7120" y="12646"/>
                  </a:lnTo>
                  <a:lnTo>
                    <a:pt x="7111" y="12655"/>
                  </a:lnTo>
                  <a:lnTo>
                    <a:pt x="7084" y="12664"/>
                  </a:lnTo>
                  <a:lnTo>
                    <a:pt x="7084" y="12690"/>
                  </a:lnTo>
                  <a:lnTo>
                    <a:pt x="7076" y="12699"/>
                  </a:lnTo>
                  <a:lnTo>
                    <a:pt x="7076" y="12690"/>
                  </a:lnTo>
                  <a:lnTo>
                    <a:pt x="7076" y="12681"/>
                  </a:lnTo>
                  <a:lnTo>
                    <a:pt x="7076" y="12673"/>
                  </a:lnTo>
                  <a:lnTo>
                    <a:pt x="7067" y="12664"/>
                  </a:lnTo>
                  <a:lnTo>
                    <a:pt x="7058" y="12673"/>
                  </a:lnTo>
                  <a:lnTo>
                    <a:pt x="7049" y="12673"/>
                  </a:lnTo>
                  <a:lnTo>
                    <a:pt x="7040" y="12673"/>
                  </a:lnTo>
                  <a:lnTo>
                    <a:pt x="7031" y="12681"/>
                  </a:lnTo>
                  <a:lnTo>
                    <a:pt x="7040" y="12690"/>
                  </a:lnTo>
                  <a:lnTo>
                    <a:pt x="7049" y="12708"/>
                  </a:lnTo>
                  <a:lnTo>
                    <a:pt x="7058" y="12708"/>
                  </a:lnTo>
                  <a:lnTo>
                    <a:pt x="7076" y="12717"/>
                  </a:lnTo>
                  <a:lnTo>
                    <a:pt x="7084" y="12726"/>
                  </a:lnTo>
                  <a:lnTo>
                    <a:pt x="7102" y="12726"/>
                  </a:lnTo>
                  <a:lnTo>
                    <a:pt x="7120" y="12734"/>
                  </a:lnTo>
                  <a:lnTo>
                    <a:pt x="7128" y="12726"/>
                  </a:lnTo>
                  <a:lnTo>
                    <a:pt x="7137" y="12726"/>
                  </a:lnTo>
                  <a:lnTo>
                    <a:pt x="7146" y="12699"/>
                  </a:lnTo>
                  <a:lnTo>
                    <a:pt x="7137" y="12690"/>
                  </a:lnTo>
                  <a:lnTo>
                    <a:pt x="7137" y="12681"/>
                  </a:lnTo>
                  <a:lnTo>
                    <a:pt x="7146" y="12664"/>
                  </a:lnTo>
                  <a:lnTo>
                    <a:pt x="7155" y="12637"/>
                  </a:lnTo>
                  <a:lnTo>
                    <a:pt x="7146" y="12637"/>
                  </a:lnTo>
                  <a:lnTo>
                    <a:pt x="7155" y="12620"/>
                  </a:lnTo>
                  <a:lnTo>
                    <a:pt x="7164" y="12620"/>
                  </a:lnTo>
                  <a:lnTo>
                    <a:pt x="7173" y="12611"/>
                  </a:lnTo>
                  <a:lnTo>
                    <a:pt x="7181" y="12611"/>
                  </a:lnTo>
                  <a:lnTo>
                    <a:pt x="7217" y="12593"/>
                  </a:lnTo>
                  <a:lnTo>
                    <a:pt x="7226" y="12593"/>
                  </a:lnTo>
                  <a:lnTo>
                    <a:pt x="7243" y="12593"/>
                  </a:lnTo>
                  <a:lnTo>
                    <a:pt x="7243" y="12584"/>
                  </a:lnTo>
                  <a:lnTo>
                    <a:pt x="7252" y="12576"/>
                  </a:lnTo>
                  <a:lnTo>
                    <a:pt x="7270" y="12567"/>
                  </a:lnTo>
                  <a:lnTo>
                    <a:pt x="7278" y="12567"/>
                  </a:lnTo>
                  <a:lnTo>
                    <a:pt x="7287" y="12567"/>
                  </a:lnTo>
                  <a:lnTo>
                    <a:pt x="7323" y="12584"/>
                  </a:lnTo>
                  <a:lnTo>
                    <a:pt x="7331" y="12576"/>
                  </a:lnTo>
                  <a:lnTo>
                    <a:pt x="7323" y="12567"/>
                  </a:lnTo>
                  <a:lnTo>
                    <a:pt x="7305" y="12549"/>
                  </a:lnTo>
                  <a:lnTo>
                    <a:pt x="7296" y="12514"/>
                  </a:lnTo>
                  <a:lnTo>
                    <a:pt x="7287" y="12514"/>
                  </a:lnTo>
                  <a:lnTo>
                    <a:pt x="7270" y="12514"/>
                  </a:lnTo>
                  <a:lnTo>
                    <a:pt x="7261" y="12505"/>
                  </a:lnTo>
                  <a:lnTo>
                    <a:pt x="7252" y="12505"/>
                  </a:lnTo>
                  <a:lnTo>
                    <a:pt x="7261" y="12505"/>
                  </a:lnTo>
                  <a:lnTo>
                    <a:pt x="7270" y="12505"/>
                  </a:lnTo>
                  <a:lnTo>
                    <a:pt x="7278" y="12505"/>
                  </a:lnTo>
                  <a:lnTo>
                    <a:pt x="7287" y="12496"/>
                  </a:lnTo>
                  <a:lnTo>
                    <a:pt x="7287" y="12487"/>
                  </a:lnTo>
                  <a:lnTo>
                    <a:pt x="7278" y="12478"/>
                  </a:lnTo>
                  <a:lnTo>
                    <a:pt x="7278" y="12461"/>
                  </a:lnTo>
                  <a:lnTo>
                    <a:pt x="7270" y="12443"/>
                  </a:lnTo>
                  <a:lnTo>
                    <a:pt x="7270" y="12452"/>
                  </a:lnTo>
                  <a:lnTo>
                    <a:pt x="7261" y="12452"/>
                  </a:lnTo>
                  <a:lnTo>
                    <a:pt x="7270" y="12443"/>
                  </a:lnTo>
                  <a:lnTo>
                    <a:pt x="7278" y="12434"/>
                  </a:lnTo>
                  <a:lnTo>
                    <a:pt x="7278" y="12426"/>
                  </a:lnTo>
                  <a:lnTo>
                    <a:pt x="7278" y="12408"/>
                  </a:lnTo>
                  <a:lnTo>
                    <a:pt x="7278" y="12399"/>
                  </a:lnTo>
                  <a:lnTo>
                    <a:pt x="7287" y="12390"/>
                  </a:lnTo>
                  <a:lnTo>
                    <a:pt x="7305" y="12381"/>
                  </a:lnTo>
                  <a:lnTo>
                    <a:pt x="7314" y="12373"/>
                  </a:lnTo>
                  <a:lnTo>
                    <a:pt x="7323" y="12373"/>
                  </a:lnTo>
                  <a:lnTo>
                    <a:pt x="7331" y="12364"/>
                  </a:lnTo>
                  <a:lnTo>
                    <a:pt x="7323" y="12364"/>
                  </a:lnTo>
                  <a:lnTo>
                    <a:pt x="7323" y="12355"/>
                  </a:lnTo>
                  <a:lnTo>
                    <a:pt x="7314" y="12355"/>
                  </a:lnTo>
                  <a:lnTo>
                    <a:pt x="7305" y="12346"/>
                  </a:lnTo>
                  <a:lnTo>
                    <a:pt x="7287" y="12355"/>
                  </a:lnTo>
                  <a:lnTo>
                    <a:pt x="7296" y="12346"/>
                  </a:lnTo>
                  <a:lnTo>
                    <a:pt x="7314" y="12346"/>
                  </a:lnTo>
                  <a:lnTo>
                    <a:pt x="7314" y="12337"/>
                  </a:lnTo>
                  <a:lnTo>
                    <a:pt x="7314" y="12328"/>
                  </a:lnTo>
                  <a:lnTo>
                    <a:pt x="7314" y="12337"/>
                  </a:lnTo>
                  <a:lnTo>
                    <a:pt x="7323" y="12346"/>
                  </a:lnTo>
                  <a:lnTo>
                    <a:pt x="7331" y="12355"/>
                  </a:lnTo>
                  <a:lnTo>
                    <a:pt x="7340" y="12364"/>
                  </a:lnTo>
                  <a:lnTo>
                    <a:pt x="7349" y="12364"/>
                  </a:lnTo>
                  <a:lnTo>
                    <a:pt x="7367" y="12346"/>
                  </a:lnTo>
                  <a:lnTo>
                    <a:pt x="7376" y="12346"/>
                  </a:lnTo>
                  <a:lnTo>
                    <a:pt x="7376" y="12337"/>
                  </a:lnTo>
                  <a:lnTo>
                    <a:pt x="7384" y="12284"/>
                  </a:lnTo>
                  <a:lnTo>
                    <a:pt x="7384" y="12275"/>
                  </a:lnTo>
                  <a:lnTo>
                    <a:pt x="7402" y="12249"/>
                  </a:lnTo>
                  <a:lnTo>
                    <a:pt x="7411" y="12240"/>
                  </a:lnTo>
                  <a:lnTo>
                    <a:pt x="7420" y="12223"/>
                  </a:lnTo>
                  <a:lnTo>
                    <a:pt x="7428" y="12223"/>
                  </a:lnTo>
                  <a:lnTo>
                    <a:pt x="7446" y="12214"/>
                  </a:lnTo>
                  <a:lnTo>
                    <a:pt x="7464" y="12205"/>
                  </a:lnTo>
                  <a:lnTo>
                    <a:pt x="7481" y="12196"/>
                  </a:lnTo>
                  <a:lnTo>
                    <a:pt x="7508" y="12170"/>
                  </a:lnTo>
                  <a:lnTo>
                    <a:pt x="7508" y="12161"/>
                  </a:lnTo>
                  <a:lnTo>
                    <a:pt x="7517" y="12161"/>
                  </a:lnTo>
                  <a:lnTo>
                    <a:pt x="7517" y="12152"/>
                  </a:lnTo>
                  <a:lnTo>
                    <a:pt x="7508" y="12143"/>
                  </a:lnTo>
                  <a:lnTo>
                    <a:pt x="7499" y="12152"/>
                  </a:lnTo>
                  <a:lnTo>
                    <a:pt x="7490" y="12152"/>
                  </a:lnTo>
                  <a:lnTo>
                    <a:pt x="7490" y="12143"/>
                  </a:lnTo>
                  <a:lnTo>
                    <a:pt x="7499" y="12143"/>
                  </a:lnTo>
                  <a:lnTo>
                    <a:pt x="7517" y="12134"/>
                  </a:lnTo>
                  <a:lnTo>
                    <a:pt x="7517" y="12125"/>
                  </a:lnTo>
                  <a:lnTo>
                    <a:pt x="7525" y="12125"/>
                  </a:lnTo>
                  <a:lnTo>
                    <a:pt x="7525" y="12099"/>
                  </a:lnTo>
                  <a:lnTo>
                    <a:pt x="7525" y="12090"/>
                  </a:lnTo>
                  <a:lnTo>
                    <a:pt x="7517" y="12081"/>
                  </a:lnTo>
                  <a:lnTo>
                    <a:pt x="7508" y="12081"/>
                  </a:lnTo>
                  <a:lnTo>
                    <a:pt x="7455" y="12072"/>
                  </a:lnTo>
                  <a:lnTo>
                    <a:pt x="7446" y="12072"/>
                  </a:lnTo>
                  <a:lnTo>
                    <a:pt x="7402" y="12028"/>
                  </a:lnTo>
                  <a:lnTo>
                    <a:pt x="7393" y="12020"/>
                  </a:lnTo>
                  <a:lnTo>
                    <a:pt x="7393" y="12011"/>
                  </a:lnTo>
                  <a:lnTo>
                    <a:pt x="7393" y="12002"/>
                  </a:lnTo>
                  <a:lnTo>
                    <a:pt x="7384" y="11993"/>
                  </a:lnTo>
                  <a:lnTo>
                    <a:pt x="7384" y="11984"/>
                  </a:lnTo>
                  <a:lnTo>
                    <a:pt x="7393" y="11975"/>
                  </a:lnTo>
                  <a:lnTo>
                    <a:pt x="7402" y="11958"/>
                  </a:lnTo>
                  <a:lnTo>
                    <a:pt x="7411" y="11940"/>
                  </a:lnTo>
                  <a:lnTo>
                    <a:pt x="7437" y="11905"/>
                  </a:lnTo>
                  <a:lnTo>
                    <a:pt x="7464" y="11905"/>
                  </a:lnTo>
                  <a:lnTo>
                    <a:pt x="7464" y="11896"/>
                  </a:lnTo>
                  <a:lnTo>
                    <a:pt x="7473" y="11896"/>
                  </a:lnTo>
                  <a:lnTo>
                    <a:pt x="7481" y="11887"/>
                  </a:lnTo>
                  <a:lnTo>
                    <a:pt x="7490" y="11878"/>
                  </a:lnTo>
                  <a:lnTo>
                    <a:pt x="7525" y="11887"/>
                  </a:lnTo>
                  <a:lnTo>
                    <a:pt x="7534" y="11887"/>
                  </a:lnTo>
                  <a:lnTo>
                    <a:pt x="7534" y="11878"/>
                  </a:lnTo>
                  <a:lnTo>
                    <a:pt x="7534" y="11870"/>
                  </a:lnTo>
                  <a:lnTo>
                    <a:pt x="7525" y="11870"/>
                  </a:lnTo>
                  <a:lnTo>
                    <a:pt x="7534" y="11852"/>
                  </a:lnTo>
                  <a:lnTo>
                    <a:pt x="7552" y="11834"/>
                  </a:lnTo>
                  <a:lnTo>
                    <a:pt x="7561" y="11825"/>
                  </a:lnTo>
                  <a:lnTo>
                    <a:pt x="7561" y="11817"/>
                  </a:lnTo>
                  <a:lnTo>
                    <a:pt x="7561" y="11808"/>
                  </a:lnTo>
                  <a:lnTo>
                    <a:pt x="7561" y="11799"/>
                  </a:lnTo>
                  <a:lnTo>
                    <a:pt x="7561" y="11772"/>
                  </a:lnTo>
                  <a:lnTo>
                    <a:pt x="7561" y="11764"/>
                  </a:lnTo>
                  <a:lnTo>
                    <a:pt x="7561" y="11755"/>
                  </a:lnTo>
                  <a:lnTo>
                    <a:pt x="7570" y="11755"/>
                  </a:lnTo>
                  <a:lnTo>
                    <a:pt x="7578" y="11728"/>
                  </a:lnTo>
                  <a:lnTo>
                    <a:pt x="7587" y="11719"/>
                  </a:lnTo>
                  <a:lnTo>
                    <a:pt x="7605" y="11719"/>
                  </a:lnTo>
                  <a:lnTo>
                    <a:pt x="7623" y="11711"/>
                  </a:lnTo>
                  <a:lnTo>
                    <a:pt x="7631" y="11702"/>
                  </a:lnTo>
                  <a:lnTo>
                    <a:pt x="7623" y="11702"/>
                  </a:lnTo>
                  <a:lnTo>
                    <a:pt x="7605" y="11693"/>
                  </a:lnTo>
                  <a:lnTo>
                    <a:pt x="7578" y="11684"/>
                  </a:lnTo>
                  <a:lnTo>
                    <a:pt x="7578" y="11675"/>
                  </a:lnTo>
                  <a:lnTo>
                    <a:pt x="7596" y="11675"/>
                  </a:lnTo>
                  <a:lnTo>
                    <a:pt x="7605" y="11667"/>
                  </a:lnTo>
                  <a:lnTo>
                    <a:pt x="7614" y="11667"/>
                  </a:lnTo>
                  <a:lnTo>
                    <a:pt x="7631" y="11667"/>
                  </a:lnTo>
                  <a:lnTo>
                    <a:pt x="7631" y="11675"/>
                  </a:lnTo>
                  <a:lnTo>
                    <a:pt x="7640" y="11684"/>
                  </a:lnTo>
                  <a:lnTo>
                    <a:pt x="7640" y="11693"/>
                  </a:lnTo>
                  <a:lnTo>
                    <a:pt x="7649" y="11693"/>
                  </a:lnTo>
                  <a:lnTo>
                    <a:pt x="7675" y="11684"/>
                  </a:lnTo>
                  <a:lnTo>
                    <a:pt x="7684" y="11675"/>
                  </a:lnTo>
                  <a:lnTo>
                    <a:pt x="7684" y="11667"/>
                  </a:lnTo>
                  <a:lnTo>
                    <a:pt x="7684" y="11649"/>
                  </a:lnTo>
                  <a:lnTo>
                    <a:pt x="7684" y="11640"/>
                  </a:lnTo>
                  <a:lnTo>
                    <a:pt x="7675" y="11631"/>
                  </a:lnTo>
                  <a:lnTo>
                    <a:pt x="7667" y="11631"/>
                  </a:lnTo>
                  <a:lnTo>
                    <a:pt x="7658" y="11631"/>
                  </a:lnTo>
                  <a:lnTo>
                    <a:pt x="7649" y="11631"/>
                  </a:lnTo>
                  <a:lnTo>
                    <a:pt x="7640" y="11640"/>
                  </a:lnTo>
                  <a:lnTo>
                    <a:pt x="7631" y="11640"/>
                  </a:lnTo>
                  <a:lnTo>
                    <a:pt x="7649" y="11640"/>
                  </a:lnTo>
                  <a:lnTo>
                    <a:pt x="7649" y="11649"/>
                  </a:lnTo>
                  <a:lnTo>
                    <a:pt x="7631" y="11658"/>
                  </a:lnTo>
                  <a:lnTo>
                    <a:pt x="7623" y="11658"/>
                  </a:lnTo>
                  <a:lnTo>
                    <a:pt x="7614" y="11658"/>
                  </a:lnTo>
                  <a:lnTo>
                    <a:pt x="7614" y="11649"/>
                  </a:lnTo>
                  <a:lnTo>
                    <a:pt x="7614" y="11640"/>
                  </a:lnTo>
                  <a:lnTo>
                    <a:pt x="7605" y="11640"/>
                  </a:lnTo>
                  <a:lnTo>
                    <a:pt x="7587" y="11631"/>
                  </a:lnTo>
                  <a:lnTo>
                    <a:pt x="7578" y="11622"/>
                  </a:lnTo>
                  <a:lnTo>
                    <a:pt x="7578" y="11614"/>
                  </a:lnTo>
                  <a:lnTo>
                    <a:pt x="7578" y="11596"/>
                  </a:lnTo>
                  <a:lnTo>
                    <a:pt x="7578" y="11578"/>
                  </a:lnTo>
                  <a:lnTo>
                    <a:pt x="7570" y="11552"/>
                  </a:lnTo>
                  <a:lnTo>
                    <a:pt x="7570" y="11534"/>
                  </a:lnTo>
                  <a:lnTo>
                    <a:pt x="7570" y="11525"/>
                  </a:lnTo>
                  <a:lnTo>
                    <a:pt x="7570" y="11516"/>
                  </a:lnTo>
                  <a:lnTo>
                    <a:pt x="7578" y="11516"/>
                  </a:lnTo>
                  <a:lnTo>
                    <a:pt x="7587" y="11508"/>
                  </a:lnTo>
                  <a:lnTo>
                    <a:pt x="7596" y="11508"/>
                  </a:lnTo>
                  <a:lnTo>
                    <a:pt x="7587" y="11516"/>
                  </a:lnTo>
                  <a:lnTo>
                    <a:pt x="7605" y="11516"/>
                  </a:lnTo>
                  <a:lnTo>
                    <a:pt x="7623" y="11525"/>
                  </a:lnTo>
                  <a:lnTo>
                    <a:pt x="7640" y="11534"/>
                  </a:lnTo>
                  <a:lnTo>
                    <a:pt x="7667" y="11543"/>
                  </a:lnTo>
                  <a:lnTo>
                    <a:pt x="7684" y="11543"/>
                  </a:lnTo>
                  <a:lnTo>
                    <a:pt x="7711" y="11543"/>
                  </a:lnTo>
                  <a:lnTo>
                    <a:pt x="7728" y="11543"/>
                  </a:lnTo>
                  <a:lnTo>
                    <a:pt x="7737" y="11534"/>
                  </a:lnTo>
                  <a:lnTo>
                    <a:pt x="7773" y="11516"/>
                  </a:lnTo>
                  <a:lnTo>
                    <a:pt x="7781" y="11516"/>
                  </a:lnTo>
                  <a:lnTo>
                    <a:pt x="7781" y="11499"/>
                  </a:lnTo>
                  <a:lnTo>
                    <a:pt x="7773" y="11481"/>
                  </a:lnTo>
                  <a:lnTo>
                    <a:pt x="7773" y="11472"/>
                  </a:lnTo>
                  <a:lnTo>
                    <a:pt x="7773" y="11464"/>
                  </a:lnTo>
                  <a:lnTo>
                    <a:pt x="7773" y="11437"/>
                  </a:lnTo>
                  <a:lnTo>
                    <a:pt x="7781" y="11437"/>
                  </a:lnTo>
                  <a:lnTo>
                    <a:pt x="7781" y="11428"/>
                  </a:lnTo>
                  <a:lnTo>
                    <a:pt x="7790" y="11428"/>
                  </a:lnTo>
                  <a:lnTo>
                    <a:pt x="7790" y="11402"/>
                  </a:lnTo>
                  <a:lnTo>
                    <a:pt x="7790" y="11393"/>
                  </a:lnTo>
                  <a:lnTo>
                    <a:pt x="7799" y="11384"/>
                  </a:lnTo>
                  <a:lnTo>
                    <a:pt x="7790" y="11384"/>
                  </a:lnTo>
                  <a:lnTo>
                    <a:pt x="7781" y="11375"/>
                  </a:lnTo>
                  <a:lnTo>
                    <a:pt x="7773" y="11366"/>
                  </a:lnTo>
                  <a:lnTo>
                    <a:pt x="7781" y="11358"/>
                  </a:lnTo>
                  <a:lnTo>
                    <a:pt x="7773" y="11340"/>
                  </a:lnTo>
                  <a:lnTo>
                    <a:pt x="7790" y="11340"/>
                  </a:lnTo>
                  <a:lnTo>
                    <a:pt x="7799" y="11349"/>
                  </a:lnTo>
                  <a:lnTo>
                    <a:pt x="7808" y="11349"/>
                  </a:lnTo>
                  <a:lnTo>
                    <a:pt x="7825" y="11358"/>
                  </a:lnTo>
                  <a:lnTo>
                    <a:pt x="7843" y="11358"/>
                  </a:lnTo>
                  <a:lnTo>
                    <a:pt x="7870" y="11358"/>
                  </a:lnTo>
                  <a:lnTo>
                    <a:pt x="7878" y="11358"/>
                  </a:lnTo>
                  <a:lnTo>
                    <a:pt x="7958" y="11340"/>
                  </a:lnTo>
                  <a:lnTo>
                    <a:pt x="7967" y="11340"/>
                  </a:lnTo>
                  <a:lnTo>
                    <a:pt x="8020" y="11331"/>
                  </a:lnTo>
                  <a:lnTo>
                    <a:pt x="8081" y="11305"/>
                  </a:lnTo>
                  <a:lnTo>
                    <a:pt x="8117" y="11287"/>
                  </a:lnTo>
                  <a:lnTo>
                    <a:pt x="8125" y="11278"/>
                  </a:lnTo>
                  <a:lnTo>
                    <a:pt x="8134" y="11261"/>
                  </a:lnTo>
                  <a:lnTo>
                    <a:pt x="8143" y="11252"/>
                  </a:lnTo>
                  <a:lnTo>
                    <a:pt x="8161" y="11225"/>
                  </a:lnTo>
                  <a:lnTo>
                    <a:pt x="8187" y="11181"/>
                  </a:lnTo>
                  <a:lnTo>
                    <a:pt x="8196" y="11172"/>
                  </a:lnTo>
                  <a:lnTo>
                    <a:pt x="8196" y="11163"/>
                  </a:lnTo>
                  <a:lnTo>
                    <a:pt x="8187" y="11137"/>
                  </a:lnTo>
                  <a:lnTo>
                    <a:pt x="8187" y="11128"/>
                  </a:lnTo>
                  <a:lnTo>
                    <a:pt x="8170" y="11128"/>
                  </a:lnTo>
                  <a:lnTo>
                    <a:pt x="8161" y="11128"/>
                  </a:lnTo>
                  <a:lnTo>
                    <a:pt x="8152" y="11110"/>
                  </a:lnTo>
                  <a:lnTo>
                    <a:pt x="8143" y="11102"/>
                  </a:lnTo>
                  <a:lnTo>
                    <a:pt x="8143" y="11093"/>
                  </a:lnTo>
                  <a:lnTo>
                    <a:pt x="8143" y="11075"/>
                  </a:lnTo>
                  <a:lnTo>
                    <a:pt x="8152" y="11058"/>
                  </a:lnTo>
                  <a:lnTo>
                    <a:pt x="8152" y="11049"/>
                  </a:lnTo>
                  <a:lnTo>
                    <a:pt x="8143" y="11031"/>
                  </a:lnTo>
                  <a:lnTo>
                    <a:pt x="8125" y="11022"/>
                  </a:lnTo>
                  <a:lnTo>
                    <a:pt x="8108" y="11013"/>
                  </a:lnTo>
                  <a:lnTo>
                    <a:pt x="8072" y="10996"/>
                  </a:lnTo>
                  <a:lnTo>
                    <a:pt x="8064" y="10978"/>
                  </a:lnTo>
                  <a:lnTo>
                    <a:pt x="8055" y="10960"/>
                  </a:lnTo>
                  <a:lnTo>
                    <a:pt x="8064" y="10960"/>
                  </a:lnTo>
                  <a:lnTo>
                    <a:pt x="8064" y="10952"/>
                  </a:lnTo>
                  <a:lnTo>
                    <a:pt x="8064" y="10943"/>
                  </a:lnTo>
                  <a:lnTo>
                    <a:pt x="8064" y="10934"/>
                  </a:lnTo>
                  <a:lnTo>
                    <a:pt x="8064" y="10925"/>
                  </a:lnTo>
                  <a:lnTo>
                    <a:pt x="8055" y="10916"/>
                  </a:lnTo>
                  <a:lnTo>
                    <a:pt x="8055" y="10908"/>
                  </a:lnTo>
                  <a:lnTo>
                    <a:pt x="8064" y="10881"/>
                  </a:lnTo>
                  <a:lnTo>
                    <a:pt x="8064" y="10863"/>
                  </a:lnTo>
                  <a:lnTo>
                    <a:pt x="8072" y="10863"/>
                  </a:lnTo>
                  <a:lnTo>
                    <a:pt x="8081" y="10855"/>
                  </a:lnTo>
                  <a:lnTo>
                    <a:pt x="8081" y="10819"/>
                  </a:lnTo>
                  <a:lnTo>
                    <a:pt x="8081" y="10810"/>
                  </a:lnTo>
                  <a:lnTo>
                    <a:pt x="8081" y="10819"/>
                  </a:lnTo>
                  <a:lnTo>
                    <a:pt x="8081" y="10837"/>
                  </a:lnTo>
                  <a:lnTo>
                    <a:pt x="8090" y="10846"/>
                  </a:lnTo>
                  <a:lnTo>
                    <a:pt x="8090" y="10855"/>
                  </a:lnTo>
                  <a:lnTo>
                    <a:pt x="8081" y="10863"/>
                  </a:lnTo>
                  <a:lnTo>
                    <a:pt x="8072" y="10863"/>
                  </a:lnTo>
                  <a:lnTo>
                    <a:pt x="8064" y="10872"/>
                  </a:lnTo>
                  <a:lnTo>
                    <a:pt x="8072" y="10872"/>
                  </a:lnTo>
                  <a:lnTo>
                    <a:pt x="8064" y="10899"/>
                  </a:lnTo>
                  <a:lnTo>
                    <a:pt x="8064" y="10916"/>
                  </a:lnTo>
                  <a:lnTo>
                    <a:pt x="8064" y="10925"/>
                  </a:lnTo>
                  <a:lnTo>
                    <a:pt x="8081" y="10943"/>
                  </a:lnTo>
                  <a:lnTo>
                    <a:pt x="8099" y="10960"/>
                  </a:lnTo>
                  <a:lnTo>
                    <a:pt x="8099" y="10969"/>
                  </a:lnTo>
                  <a:lnTo>
                    <a:pt x="8108" y="10969"/>
                  </a:lnTo>
                  <a:lnTo>
                    <a:pt x="8108" y="10978"/>
                  </a:lnTo>
                  <a:lnTo>
                    <a:pt x="8125" y="10969"/>
                  </a:lnTo>
                  <a:lnTo>
                    <a:pt x="8152" y="10969"/>
                  </a:lnTo>
                  <a:lnTo>
                    <a:pt x="8178" y="10996"/>
                  </a:lnTo>
                  <a:lnTo>
                    <a:pt x="8205" y="11005"/>
                  </a:lnTo>
                  <a:lnTo>
                    <a:pt x="8214" y="11005"/>
                  </a:lnTo>
                  <a:lnTo>
                    <a:pt x="8222" y="11013"/>
                  </a:lnTo>
                  <a:lnTo>
                    <a:pt x="8231" y="11013"/>
                  </a:lnTo>
                  <a:lnTo>
                    <a:pt x="8249" y="11005"/>
                  </a:lnTo>
                  <a:lnTo>
                    <a:pt x="8267" y="11005"/>
                  </a:lnTo>
                  <a:lnTo>
                    <a:pt x="8284" y="11005"/>
                  </a:lnTo>
                  <a:lnTo>
                    <a:pt x="8293" y="11013"/>
                  </a:lnTo>
                  <a:lnTo>
                    <a:pt x="8311" y="11013"/>
                  </a:lnTo>
                  <a:lnTo>
                    <a:pt x="8319" y="11013"/>
                  </a:lnTo>
                  <a:lnTo>
                    <a:pt x="8364" y="10996"/>
                  </a:lnTo>
                  <a:lnTo>
                    <a:pt x="8372" y="10996"/>
                  </a:lnTo>
                  <a:lnTo>
                    <a:pt x="8390" y="10978"/>
                  </a:lnTo>
                  <a:lnTo>
                    <a:pt x="8408" y="10969"/>
                  </a:lnTo>
                  <a:lnTo>
                    <a:pt x="8408" y="10960"/>
                  </a:lnTo>
                  <a:lnTo>
                    <a:pt x="8425" y="10934"/>
                  </a:lnTo>
                  <a:lnTo>
                    <a:pt x="8425" y="10925"/>
                  </a:lnTo>
                  <a:lnTo>
                    <a:pt x="8434" y="10916"/>
                  </a:lnTo>
                  <a:lnTo>
                    <a:pt x="8469" y="10890"/>
                  </a:lnTo>
                  <a:lnTo>
                    <a:pt x="8478" y="10872"/>
                  </a:lnTo>
                  <a:lnTo>
                    <a:pt x="8487" y="10863"/>
                  </a:lnTo>
                  <a:lnTo>
                    <a:pt x="8496" y="10846"/>
                  </a:lnTo>
                  <a:lnTo>
                    <a:pt x="8514" y="10810"/>
                  </a:lnTo>
                  <a:lnTo>
                    <a:pt x="8514" y="10802"/>
                  </a:lnTo>
                  <a:lnTo>
                    <a:pt x="8522" y="10793"/>
                  </a:lnTo>
                  <a:lnTo>
                    <a:pt x="8522" y="10784"/>
                  </a:lnTo>
                  <a:lnTo>
                    <a:pt x="8522" y="10766"/>
                  </a:lnTo>
                  <a:lnTo>
                    <a:pt x="8522" y="10749"/>
                  </a:lnTo>
                  <a:lnTo>
                    <a:pt x="8531" y="10740"/>
                  </a:lnTo>
                  <a:lnTo>
                    <a:pt x="8540" y="10731"/>
                  </a:lnTo>
                  <a:lnTo>
                    <a:pt x="8540" y="10722"/>
                  </a:lnTo>
                  <a:lnTo>
                    <a:pt x="8558" y="10713"/>
                  </a:lnTo>
                  <a:lnTo>
                    <a:pt x="8575" y="10705"/>
                  </a:lnTo>
                  <a:lnTo>
                    <a:pt x="8575" y="10696"/>
                  </a:lnTo>
                  <a:lnTo>
                    <a:pt x="8575" y="10687"/>
                  </a:lnTo>
                  <a:lnTo>
                    <a:pt x="8584" y="10678"/>
                  </a:lnTo>
                  <a:lnTo>
                    <a:pt x="8584" y="10669"/>
                  </a:lnTo>
                  <a:lnTo>
                    <a:pt x="8584" y="10660"/>
                  </a:lnTo>
                  <a:lnTo>
                    <a:pt x="8593" y="10652"/>
                  </a:lnTo>
                  <a:lnTo>
                    <a:pt x="8593" y="10643"/>
                  </a:lnTo>
                  <a:lnTo>
                    <a:pt x="8584" y="10634"/>
                  </a:lnTo>
                  <a:lnTo>
                    <a:pt x="8584" y="10625"/>
                  </a:lnTo>
                  <a:lnTo>
                    <a:pt x="8584" y="10616"/>
                  </a:lnTo>
                  <a:lnTo>
                    <a:pt x="8593" y="10616"/>
                  </a:lnTo>
                  <a:lnTo>
                    <a:pt x="8593" y="10625"/>
                  </a:lnTo>
                  <a:lnTo>
                    <a:pt x="8602" y="10634"/>
                  </a:lnTo>
                  <a:lnTo>
                    <a:pt x="8611" y="10643"/>
                  </a:lnTo>
                  <a:lnTo>
                    <a:pt x="8637" y="10634"/>
                  </a:lnTo>
                  <a:lnTo>
                    <a:pt x="8646" y="10634"/>
                  </a:lnTo>
                  <a:lnTo>
                    <a:pt x="8637" y="10643"/>
                  </a:lnTo>
                  <a:lnTo>
                    <a:pt x="8637" y="10652"/>
                  </a:lnTo>
                  <a:lnTo>
                    <a:pt x="8628" y="10643"/>
                  </a:lnTo>
                  <a:lnTo>
                    <a:pt x="8628" y="10669"/>
                  </a:lnTo>
                  <a:lnTo>
                    <a:pt x="8628" y="10678"/>
                  </a:lnTo>
                  <a:lnTo>
                    <a:pt x="8611" y="10687"/>
                  </a:lnTo>
                  <a:lnTo>
                    <a:pt x="8611" y="10696"/>
                  </a:lnTo>
                  <a:lnTo>
                    <a:pt x="8602" y="10696"/>
                  </a:lnTo>
                  <a:lnTo>
                    <a:pt x="8593" y="10705"/>
                  </a:lnTo>
                  <a:lnTo>
                    <a:pt x="8593" y="10713"/>
                  </a:lnTo>
                  <a:lnTo>
                    <a:pt x="8593" y="10722"/>
                  </a:lnTo>
                  <a:lnTo>
                    <a:pt x="8593" y="10731"/>
                  </a:lnTo>
                  <a:lnTo>
                    <a:pt x="8575" y="10740"/>
                  </a:lnTo>
                  <a:lnTo>
                    <a:pt x="8558" y="10757"/>
                  </a:lnTo>
                  <a:lnTo>
                    <a:pt x="8549" y="10757"/>
                  </a:lnTo>
                  <a:lnTo>
                    <a:pt x="8540" y="10766"/>
                  </a:lnTo>
                  <a:lnTo>
                    <a:pt x="8540" y="10757"/>
                  </a:lnTo>
                  <a:lnTo>
                    <a:pt x="8531" y="10757"/>
                  </a:lnTo>
                  <a:lnTo>
                    <a:pt x="8531" y="10766"/>
                  </a:lnTo>
                  <a:lnTo>
                    <a:pt x="8531" y="10775"/>
                  </a:lnTo>
                  <a:lnTo>
                    <a:pt x="8531" y="10784"/>
                  </a:lnTo>
                  <a:lnTo>
                    <a:pt x="8540" y="10775"/>
                  </a:lnTo>
                  <a:lnTo>
                    <a:pt x="8549" y="10766"/>
                  </a:lnTo>
                  <a:lnTo>
                    <a:pt x="8575" y="10749"/>
                  </a:lnTo>
                  <a:lnTo>
                    <a:pt x="8602" y="10731"/>
                  </a:lnTo>
                  <a:lnTo>
                    <a:pt x="8611" y="10713"/>
                  </a:lnTo>
                  <a:lnTo>
                    <a:pt x="8628" y="10696"/>
                  </a:lnTo>
                  <a:lnTo>
                    <a:pt x="8637" y="10687"/>
                  </a:lnTo>
                  <a:lnTo>
                    <a:pt x="8664" y="10643"/>
                  </a:lnTo>
                  <a:lnTo>
                    <a:pt x="8681" y="10599"/>
                  </a:lnTo>
                  <a:lnTo>
                    <a:pt x="8699" y="10563"/>
                  </a:lnTo>
                  <a:lnTo>
                    <a:pt x="8717" y="10537"/>
                  </a:lnTo>
                  <a:lnTo>
                    <a:pt x="8734" y="10519"/>
                  </a:lnTo>
                  <a:lnTo>
                    <a:pt x="8752" y="10510"/>
                  </a:lnTo>
                  <a:lnTo>
                    <a:pt x="8769" y="10502"/>
                  </a:lnTo>
                  <a:lnTo>
                    <a:pt x="8769" y="10484"/>
                  </a:lnTo>
                  <a:lnTo>
                    <a:pt x="8778" y="10475"/>
                  </a:lnTo>
                  <a:lnTo>
                    <a:pt x="8778" y="10466"/>
                  </a:lnTo>
                  <a:lnTo>
                    <a:pt x="8787" y="10457"/>
                  </a:lnTo>
                  <a:lnTo>
                    <a:pt x="8787" y="10440"/>
                  </a:lnTo>
                  <a:lnTo>
                    <a:pt x="8778" y="10413"/>
                  </a:lnTo>
                  <a:lnTo>
                    <a:pt x="8787" y="10404"/>
                  </a:lnTo>
                  <a:lnTo>
                    <a:pt x="8787" y="10396"/>
                  </a:lnTo>
                  <a:lnTo>
                    <a:pt x="8787" y="10387"/>
                  </a:lnTo>
                  <a:lnTo>
                    <a:pt x="8787" y="10378"/>
                  </a:lnTo>
                  <a:lnTo>
                    <a:pt x="8787" y="10360"/>
                  </a:lnTo>
                  <a:lnTo>
                    <a:pt x="8778" y="10351"/>
                  </a:lnTo>
                  <a:lnTo>
                    <a:pt x="8778" y="10343"/>
                  </a:lnTo>
                  <a:lnTo>
                    <a:pt x="8778" y="10334"/>
                  </a:lnTo>
                  <a:lnTo>
                    <a:pt x="8778" y="10325"/>
                  </a:lnTo>
                  <a:lnTo>
                    <a:pt x="8778" y="10316"/>
                  </a:lnTo>
                  <a:lnTo>
                    <a:pt x="8787" y="10307"/>
                  </a:lnTo>
                  <a:lnTo>
                    <a:pt x="8787" y="10290"/>
                  </a:lnTo>
                  <a:lnTo>
                    <a:pt x="8787" y="10281"/>
                  </a:lnTo>
                  <a:lnTo>
                    <a:pt x="8778" y="10281"/>
                  </a:lnTo>
                  <a:lnTo>
                    <a:pt x="8787" y="10281"/>
                  </a:lnTo>
                  <a:lnTo>
                    <a:pt x="8796" y="10263"/>
                  </a:lnTo>
                  <a:lnTo>
                    <a:pt x="8796" y="10254"/>
                  </a:lnTo>
                  <a:lnTo>
                    <a:pt x="8778" y="10254"/>
                  </a:lnTo>
                  <a:lnTo>
                    <a:pt x="8778" y="10246"/>
                  </a:lnTo>
                  <a:lnTo>
                    <a:pt x="8778" y="10254"/>
                  </a:lnTo>
                  <a:lnTo>
                    <a:pt x="8787" y="10254"/>
                  </a:lnTo>
                  <a:lnTo>
                    <a:pt x="8796" y="10254"/>
                  </a:lnTo>
                  <a:lnTo>
                    <a:pt x="8796" y="10246"/>
                  </a:lnTo>
                  <a:lnTo>
                    <a:pt x="8796" y="10237"/>
                  </a:lnTo>
                  <a:lnTo>
                    <a:pt x="8814" y="10237"/>
                  </a:lnTo>
                  <a:lnTo>
                    <a:pt x="8814" y="10246"/>
                  </a:lnTo>
                  <a:lnTo>
                    <a:pt x="8831" y="10237"/>
                  </a:lnTo>
                  <a:lnTo>
                    <a:pt x="8831" y="10228"/>
                  </a:lnTo>
                  <a:lnTo>
                    <a:pt x="8840" y="10219"/>
                  </a:lnTo>
                  <a:lnTo>
                    <a:pt x="8831" y="10219"/>
                  </a:lnTo>
                  <a:lnTo>
                    <a:pt x="8840" y="10219"/>
                  </a:lnTo>
                  <a:lnTo>
                    <a:pt x="8840" y="10210"/>
                  </a:lnTo>
                  <a:lnTo>
                    <a:pt x="8858" y="10201"/>
                  </a:lnTo>
                  <a:lnTo>
                    <a:pt x="8893" y="10175"/>
                  </a:lnTo>
                  <a:lnTo>
                    <a:pt x="8911" y="10157"/>
                  </a:lnTo>
                  <a:lnTo>
                    <a:pt x="8928" y="10148"/>
                  </a:lnTo>
                  <a:lnTo>
                    <a:pt x="8981" y="10122"/>
                  </a:lnTo>
                  <a:lnTo>
                    <a:pt x="8990" y="10122"/>
                  </a:lnTo>
                  <a:lnTo>
                    <a:pt x="8999" y="10122"/>
                  </a:lnTo>
                  <a:lnTo>
                    <a:pt x="9008" y="10122"/>
                  </a:lnTo>
                  <a:lnTo>
                    <a:pt x="9016" y="10122"/>
                  </a:lnTo>
                  <a:lnTo>
                    <a:pt x="9016" y="10113"/>
                  </a:lnTo>
                  <a:lnTo>
                    <a:pt x="9025" y="10104"/>
                  </a:lnTo>
                  <a:lnTo>
                    <a:pt x="9034" y="10104"/>
                  </a:lnTo>
                  <a:lnTo>
                    <a:pt x="9052" y="10087"/>
                  </a:lnTo>
                  <a:lnTo>
                    <a:pt x="9078" y="10087"/>
                  </a:lnTo>
                  <a:lnTo>
                    <a:pt x="9078" y="10078"/>
                  </a:lnTo>
                  <a:lnTo>
                    <a:pt x="9069" y="10069"/>
                  </a:lnTo>
                  <a:lnTo>
                    <a:pt x="9078" y="10069"/>
                  </a:lnTo>
                  <a:lnTo>
                    <a:pt x="9096" y="10060"/>
                  </a:lnTo>
                  <a:lnTo>
                    <a:pt x="9114" y="10060"/>
                  </a:lnTo>
                  <a:lnTo>
                    <a:pt x="9122" y="10060"/>
                  </a:lnTo>
                  <a:lnTo>
                    <a:pt x="9131" y="10051"/>
                  </a:lnTo>
                  <a:lnTo>
                    <a:pt x="9149" y="10060"/>
                  </a:lnTo>
                  <a:lnTo>
                    <a:pt x="9140" y="10069"/>
                  </a:lnTo>
                  <a:lnTo>
                    <a:pt x="9131" y="10060"/>
                  </a:lnTo>
                  <a:lnTo>
                    <a:pt x="9122" y="10069"/>
                  </a:lnTo>
                  <a:lnTo>
                    <a:pt x="9131" y="10069"/>
                  </a:lnTo>
                  <a:lnTo>
                    <a:pt x="9140" y="10069"/>
                  </a:lnTo>
                  <a:lnTo>
                    <a:pt x="9158" y="10069"/>
                  </a:lnTo>
                  <a:lnTo>
                    <a:pt x="9166" y="10060"/>
                  </a:lnTo>
                  <a:lnTo>
                    <a:pt x="9184" y="10060"/>
                  </a:lnTo>
                  <a:lnTo>
                    <a:pt x="9184" y="10051"/>
                  </a:lnTo>
                  <a:lnTo>
                    <a:pt x="9175" y="10051"/>
                  </a:lnTo>
                  <a:lnTo>
                    <a:pt x="9175" y="10043"/>
                  </a:lnTo>
                  <a:lnTo>
                    <a:pt x="9184" y="10043"/>
                  </a:lnTo>
                  <a:lnTo>
                    <a:pt x="9193" y="10043"/>
                  </a:lnTo>
                  <a:lnTo>
                    <a:pt x="9193" y="10051"/>
                  </a:lnTo>
                  <a:lnTo>
                    <a:pt x="9193" y="10060"/>
                  </a:lnTo>
                  <a:lnTo>
                    <a:pt x="9202" y="10060"/>
                  </a:lnTo>
                  <a:lnTo>
                    <a:pt x="9211" y="10060"/>
                  </a:lnTo>
                  <a:lnTo>
                    <a:pt x="9228" y="10060"/>
                  </a:lnTo>
                  <a:lnTo>
                    <a:pt x="9263" y="10060"/>
                  </a:lnTo>
                  <a:lnTo>
                    <a:pt x="9272" y="10051"/>
                  </a:lnTo>
                  <a:lnTo>
                    <a:pt x="9272" y="10043"/>
                  </a:lnTo>
                  <a:lnTo>
                    <a:pt x="9272" y="10034"/>
                  </a:lnTo>
                  <a:lnTo>
                    <a:pt x="9290" y="10007"/>
                  </a:lnTo>
                  <a:lnTo>
                    <a:pt x="9299" y="10007"/>
                  </a:lnTo>
                  <a:lnTo>
                    <a:pt x="9334" y="9990"/>
                  </a:lnTo>
                  <a:lnTo>
                    <a:pt x="9343" y="9981"/>
                  </a:lnTo>
                  <a:lnTo>
                    <a:pt x="9343" y="9954"/>
                  </a:lnTo>
                  <a:lnTo>
                    <a:pt x="9343" y="9946"/>
                  </a:lnTo>
                  <a:lnTo>
                    <a:pt x="9343" y="9928"/>
                  </a:lnTo>
                  <a:lnTo>
                    <a:pt x="9361" y="9910"/>
                  </a:lnTo>
                  <a:lnTo>
                    <a:pt x="9361" y="9901"/>
                  </a:lnTo>
                  <a:lnTo>
                    <a:pt x="9361" y="9893"/>
                  </a:lnTo>
                  <a:lnTo>
                    <a:pt x="9369" y="9893"/>
                  </a:lnTo>
                  <a:lnTo>
                    <a:pt x="9387" y="9875"/>
                  </a:lnTo>
                  <a:lnTo>
                    <a:pt x="9396" y="9866"/>
                  </a:lnTo>
                  <a:lnTo>
                    <a:pt x="9396" y="9857"/>
                  </a:lnTo>
                  <a:lnTo>
                    <a:pt x="9405" y="9848"/>
                  </a:lnTo>
                  <a:lnTo>
                    <a:pt x="9405" y="9831"/>
                  </a:lnTo>
                  <a:lnTo>
                    <a:pt x="9413" y="9813"/>
                  </a:lnTo>
                  <a:lnTo>
                    <a:pt x="9431" y="9804"/>
                  </a:lnTo>
                  <a:lnTo>
                    <a:pt x="9431" y="9795"/>
                  </a:lnTo>
                  <a:lnTo>
                    <a:pt x="9440" y="9787"/>
                  </a:lnTo>
                  <a:lnTo>
                    <a:pt x="9440" y="9778"/>
                  </a:lnTo>
                  <a:lnTo>
                    <a:pt x="9440" y="9743"/>
                  </a:lnTo>
                  <a:lnTo>
                    <a:pt x="9440" y="9725"/>
                  </a:lnTo>
                  <a:lnTo>
                    <a:pt x="9440" y="9698"/>
                  </a:lnTo>
                  <a:lnTo>
                    <a:pt x="9458" y="9681"/>
                  </a:lnTo>
                  <a:lnTo>
                    <a:pt x="9458" y="9672"/>
                  </a:lnTo>
                  <a:lnTo>
                    <a:pt x="9466" y="9672"/>
                  </a:lnTo>
                  <a:lnTo>
                    <a:pt x="9475" y="9654"/>
                  </a:lnTo>
                  <a:lnTo>
                    <a:pt x="9475" y="9628"/>
                  </a:lnTo>
                  <a:lnTo>
                    <a:pt x="9475" y="9619"/>
                  </a:lnTo>
                  <a:lnTo>
                    <a:pt x="9475" y="9610"/>
                  </a:lnTo>
                  <a:lnTo>
                    <a:pt x="9484" y="9584"/>
                  </a:lnTo>
                  <a:lnTo>
                    <a:pt x="9484" y="9566"/>
                  </a:lnTo>
                  <a:lnTo>
                    <a:pt x="9493" y="9548"/>
                  </a:lnTo>
                  <a:lnTo>
                    <a:pt x="9502" y="9522"/>
                  </a:lnTo>
                  <a:lnTo>
                    <a:pt x="9493" y="9495"/>
                  </a:lnTo>
                  <a:lnTo>
                    <a:pt x="9493" y="9478"/>
                  </a:lnTo>
                  <a:lnTo>
                    <a:pt x="9493" y="9451"/>
                  </a:lnTo>
                  <a:lnTo>
                    <a:pt x="9484" y="9434"/>
                  </a:lnTo>
                  <a:lnTo>
                    <a:pt x="9493" y="9381"/>
                  </a:lnTo>
                  <a:lnTo>
                    <a:pt x="9493" y="9389"/>
                  </a:lnTo>
                  <a:lnTo>
                    <a:pt x="9484" y="9381"/>
                  </a:lnTo>
                  <a:lnTo>
                    <a:pt x="9484" y="9363"/>
                  </a:lnTo>
                  <a:lnTo>
                    <a:pt x="9493" y="9354"/>
                  </a:lnTo>
                  <a:lnTo>
                    <a:pt x="9493" y="9345"/>
                  </a:lnTo>
                  <a:lnTo>
                    <a:pt x="9484" y="9345"/>
                  </a:lnTo>
                  <a:lnTo>
                    <a:pt x="9484" y="9354"/>
                  </a:lnTo>
                  <a:lnTo>
                    <a:pt x="9484" y="9345"/>
                  </a:lnTo>
                  <a:lnTo>
                    <a:pt x="9493" y="9337"/>
                  </a:lnTo>
                  <a:lnTo>
                    <a:pt x="9493" y="9328"/>
                  </a:lnTo>
                  <a:lnTo>
                    <a:pt x="9502" y="9319"/>
                  </a:lnTo>
                  <a:lnTo>
                    <a:pt x="9502" y="9310"/>
                  </a:lnTo>
                  <a:lnTo>
                    <a:pt x="9511" y="9301"/>
                  </a:lnTo>
                  <a:lnTo>
                    <a:pt x="9511" y="9292"/>
                  </a:lnTo>
                  <a:lnTo>
                    <a:pt x="9502" y="9292"/>
                  </a:lnTo>
                  <a:lnTo>
                    <a:pt x="9511" y="9292"/>
                  </a:lnTo>
                  <a:lnTo>
                    <a:pt x="9511" y="9284"/>
                  </a:lnTo>
                  <a:lnTo>
                    <a:pt x="9511" y="9275"/>
                  </a:lnTo>
                  <a:lnTo>
                    <a:pt x="9519" y="9284"/>
                  </a:lnTo>
                  <a:lnTo>
                    <a:pt x="9528" y="9292"/>
                  </a:lnTo>
                  <a:lnTo>
                    <a:pt x="9528" y="9301"/>
                  </a:lnTo>
                  <a:lnTo>
                    <a:pt x="9537" y="9301"/>
                  </a:lnTo>
                  <a:lnTo>
                    <a:pt x="9546" y="9292"/>
                  </a:lnTo>
                  <a:lnTo>
                    <a:pt x="9563" y="9275"/>
                  </a:lnTo>
                  <a:lnTo>
                    <a:pt x="9563" y="9266"/>
                  </a:lnTo>
                  <a:lnTo>
                    <a:pt x="9590" y="9239"/>
                  </a:lnTo>
                  <a:lnTo>
                    <a:pt x="9608" y="9204"/>
                  </a:lnTo>
                  <a:lnTo>
                    <a:pt x="9608" y="9195"/>
                  </a:lnTo>
                  <a:lnTo>
                    <a:pt x="9608" y="9187"/>
                  </a:lnTo>
                  <a:lnTo>
                    <a:pt x="9608" y="9178"/>
                  </a:lnTo>
                  <a:lnTo>
                    <a:pt x="9616" y="9178"/>
                  </a:lnTo>
                  <a:lnTo>
                    <a:pt x="9608" y="9187"/>
                  </a:lnTo>
                  <a:lnTo>
                    <a:pt x="9616" y="9187"/>
                  </a:lnTo>
                  <a:lnTo>
                    <a:pt x="9625" y="9169"/>
                  </a:lnTo>
                  <a:lnTo>
                    <a:pt x="9625" y="9160"/>
                  </a:lnTo>
                  <a:lnTo>
                    <a:pt x="9634" y="9160"/>
                  </a:lnTo>
                  <a:lnTo>
                    <a:pt x="9643" y="9142"/>
                  </a:lnTo>
                  <a:lnTo>
                    <a:pt x="9652" y="9134"/>
                  </a:lnTo>
                  <a:lnTo>
                    <a:pt x="9660" y="9125"/>
                  </a:lnTo>
                  <a:lnTo>
                    <a:pt x="9678" y="9116"/>
                  </a:lnTo>
                  <a:lnTo>
                    <a:pt x="9696" y="9098"/>
                  </a:lnTo>
                  <a:lnTo>
                    <a:pt x="9705" y="9089"/>
                  </a:lnTo>
                  <a:lnTo>
                    <a:pt x="9722" y="9072"/>
                  </a:lnTo>
                  <a:lnTo>
                    <a:pt x="9722" y="9063"/>
                  </a:lnTo>
                  <a:lnTo>
                    <a:pt x="9731" y="9063"/>
                  </a:lnTo>
                  <a:lnTo>
                    <a:pt x="9740" y="9054"/>
                  </a:lnTo>
                  <a:lnTo>
                    <a:pt x="9758" y="9028"/>
                  </a:lnTo>
                  <a:lnTo>
                    <a:pt x="9775" y="9001"/>
                  </a:lnTo>
                  <a:lnTo>
                    <a:pt x="9784" y="8966"/>
                  </a:lnTo>
                  <a:lnTo>
                    <a:pt x="9793" y="8939"/>
                  </a:lnTo>
                  <a:lnTo>
                    <a:pt x="9793" y="8931"/>
                  </a:lnTo>
                  <a:lnTo>
                    <a:pt x="9793" y="8922"/>
                  </a:lnTo>
                  <a:lnTo>
                    <a:pt x="9793" y="8913"/>
                  </a:lnTo>
                  <a:lnTo>
                    <a:pt x="9793" y="8904"/>
                  </a:lnTo>
                  <a:lnTo>
                    <a:pt x="9802" y="8895"/>
                  </a:lnTo>
                  <a:lnTo>
                    <a:pt x="9802" y="8886"/>
                  </a:lnTo>
                  <a:lnTo>
                    <a:pt x="9793" y="8869"/>
                  </a:lnTo>
                  <a:close/>
                  <a:moveTo>
                    <a:pt x="9493" y="9337"/>
                  </a:moveTo>
                  <a:lnTo>
                    <a:pt x="9493" y="9345"/>
                  </a:lnTo>
                  <a:lnTo>
                    <a:pt x="9502" y="9345"/>
                  </a:lnTo>
                  <a:lnTo>
                    <a:pt x="9502" y="9337"/>
                  </a:lnTo>
                  <a:close/>
                  <a:moveTo>
                    <a:pt x="6881" y="11861"/>
                  </a:moveTo>
                  <a:lnTo>
                    <a:pt x="6890" y="11870"/>
                  </a:lnTo>
                  <a:lnTo>
                    <a:pt x="6890" y="11878"/>
                  </a:lnTo>
                  <a:lnTo>
                    <a:pt x="6899" y="11887"/>
                  </a:lnTo>
                  <a:lnTo>
                    <a:pt x="6908" y="11896"/>
                  </a:lnTo>
                  <a:lnTo>
                    <a:pt x="6908" y="11905"/>
                  </a:lnTo>
                  <a:lnTo>
                    <a:pt x="6908" y="11914"/>
                  </a:lnTo>
                  <a:lnTo>
                    <a:pt x="6917" y="11914"/>
                  </a:lnTo>
                  <a:lnTo>
                    <a:pt x="6926" y="11914"/>
                  </a:lnTo>
                  <a:lnTo>
                    <a:pt x="6934" y="11914"/>
                  </a:lnTo>
                  <a:lnTo>
                    <a:pt x="6934" y="11905"/>
                  </a:lnTo>
                  <a:lnTo>
                    <a:pt x="6934" y="11896"/>
                  </a:lnTo>
                  <a:lnTo>
                    <a:pt x="6934" y="11887"/>
                  </a:lnTo>
                  <a:lnTo>
                    <a:pt x="6934" y="11878"/>
                  </a:lnTo>
                  <a:lnTo>
                    <a:pt x="6934" y="11870"/>
                  </a:lnTo>
                  <a:lnTo>
                    <a:pt x="6926" y="11861"/>
                  </a:lnTo>
                  <a:lnTo>
                    <a:pt x="6926" y="11852"/>
                  </a:lnTo>
                  <a:lnTo>
                    <a:pt x="6917" y="11852"/>
                  </a:lnTo>
                  <a:lnTo>
                    <a:pt x="6917" y="11843"/>
                  </a:lnTo>
                  <a:lnTo>
                    <a:pt x="6926" y="11834"/>
                  </a:lnTo>
                  <a:lnTo>
                    <a:pt x="6934" y="11834"/>
                  </a:lnTo>
                  <a:lnTo>
                    <a:pt x="6943" y="11825"/>
                  </a:lnTo>
                  <a:lnTo>
                    <a:pt x="6943" y="11817"/>
                  </a:lnTo>
                  <a:lnTo>
                    <a:pt x="6934" y="11817"/>
                  </a:lnTo>
                  <a:lnTo>
                    <a:pt x="6926" y="11808"/>
                  </a:lnTo>
                  <a:lnTo>
                    <a:pt x="6917" y="11808"/>
                  </a:lnTo>
                  <a:lnTo>
                    <a:pt x="6908" y="11808"/>
                  </a:lnTo>
                  <a:lnTo>
                    <a:pt x="6908" y="11817"/>
                  </a:lnTo>
                  <a:lnTo>
                    <a:pt x="6908" y="11825"/>
                  </a:lnTo>
                  <a:lnTo>
                    <a:pt x="6908" y="11834"/>
                  </a:lnTo>
                  <a:lnTo>
                    <a:pt x="6899" y="11834"/>
                  </a:lnTo>
                  <a:lnTo>
                    <a:pt x="6890" y="11834"/>
                  </a:lnTo>
                  <a:lnTo>
                    <a:pt x="6881" y="11834"/>
                  </a:lnTo>
                  <a:lnTo>
                    <a:pt x="6881" y="11843"/>
                  </a:lnTo>
                  <a:lnTo>
                    <a:pt x="6873" y="11852"/>
                  </a:lnTo>
                  <a:close/>
                  <a:moveTo>
                    <a:pt x="6837" y="11878"/>
                  </a:moveTo>
                  <a:lnTo>
                    <a:pt x="6846" y="11870"/>
                  </a:lnTo>
                  <a:lnTo>
                    <a:pt x="6837" y="11870"/>
                  </a:lnTo>
                  <a:close/>
                  <a:moveTo>
                    <a:pt x="9713" y="12805"/>
                  </a:moveTo>
                  <a:lnTo>
                    <a:pt x="9722" y="12796"/>
                  </a:lnTo>
                  <a:lnTo>
                    <a:pt x="9713" y="12805"/>
                  </a:lnTo>
                  <a:lnTo>
                    <a:pt x="9705" y="12805"/>
                  </a:lnTo>
                  <a:lnTo>
                    <a:pt x="9705" y="12796"/>
                  </a:lnTo>
                  <a:lnTo>
                    <a:pt x="9705" y="12787"/>
                  </a:lnTo>
                  <a:lnTo>
                    <a:pt x="9696" y="12779"/>
                  </a:lnTo>
                  <a:lnTo>
                    <a:pt x="9687" y="12770"/>
                  </a:lnTo>
                  <a:lnTo>
                    <a:pt x="9678" y="12779"/>
                  </a:lnTo>
                  <a:lnTo>
                    <a:pt x="9669" y="12770"/>
                  </a:lnTo>
                  <a:lnTo>
                    <a:pt x="9660" y="12770"/>
                  </a:lnTo>
                  <a:lnTo>
                    <a:pt x="9669" y="12761"/>
                  </a:lnTo>
                  <a:lnTo>
                    <a:pt x="9660" y="12752"/>
                  </a:lnTo>
                  <a:lnTo>
                    <a:pt x="9652" y="12752"/>
                  </a:lnTo>
                  <a:lnTo>
                    <a:pt x="9643" y="12752"/>
                  </a:lnTo>
                  <a:lnTo>
                    <a:pt x="9634" y="12752"/>
                  </a:lnTo>
                  <a:lnTo>
                    <a:pt x="9625" y="12752"/>
                  </a:lnTo>
                  <a:lnTo>
                    <a:pt x="9608" y="12743"/>
                  </a:lnTo>
                  <a:lnTo>
                    <a:pt x="9599" y="12743"/>
                  </a:lnTo>
                  <a:lnTo>
                    <a:pt x="9572" y="12743"/>
                  </a:lnTo>
                  <a:lnTo>
                    <a:pt x="9563" y="12743"/>
                  </a:lnTo>
                  <a:lnTo>
                    <a:pt x="9572" y="12743"/>
                  </a:lnTo>
                  <a:lnTo>
                    <a:pt x="9590" y="12752"/>
                  </a:lnTo>
                  <a:lnTo>
                    <a:pt x="9590" y="12761"/>
                  </a:lnTo>
                  <a:lnTo>
                    <a:pt x="9599" y="12761"/>
                  </a:lnTo>
                  <a:lnTo>
                    <a:pt x="9625" y="12770"/>
                  </a:lnTo>
                  <a:lnTo>
                    <a:pt x="9634" y="12779"/>
                  </a:lnTo>
                  <a:lnTo>
                    <a:pt x="9643" y="12779"/>
                  </a:lnTo>
                  <a:lnTo>
                    <a:pt x="9652" y="12779"/>
                  </a:lnTo>
                  <a:lnTo>
                    <a:pt x="9652" y="12787"/>
                  </a:lnTo>
                  <a:lnTo>
                    <a:pt x="9660" y="12787"/>
                  </a:lnTo>
                  <a:lnTo>
                    <a:pt x="9669" y="12796"/>
                  </a:lnTo>
                  <a:lnTo>
                    <a:pt x="9678" y="12796"/>
                  </a:lnTo>
                  <a:lnTo>
                    <a:pt x="9678" y="12805"/>
                  </a:lnTo>
                  <a:lnTo>
                    <a:pt x="9687" y="12814"/>
                  </a:lnTo>
                  <a:lnTo>
                    <a:pt x="9696" y="12823"/>
                  </a:lnTo>
                  <a:lnTo>
                    <a:pt x="9705" y="12831"/>
                  </a:lnTo>
                  <a:lnTo>
                    <a:pt x="9713" y="12831"/>
                  </a:lnTo>
                  <a:lnTo>
                    <a:pt x="9722" y="12823"/>
                  </a:lnTo>
                  <a:lnTo>
                    <a:pt x="9713" y="12814"/>
                  </a:lnTo>
                  <a:close/>
                  <a:moveTo>
                    <a:pt x="9114" y="10069"/>
                  </a:moveTo>
                  <a:lnTo>
                    <a:pt x="9105" y="10069"/>
                  </a:lnTo>
                  <a:lnTo>
                    <a:pt x="9096" y="10078"/>
                  </a:lnTo>
                  <a:lnTo>
                    <a:pt x="9105" y="10078"/>
                  </a:lnTo>
                  <a:lnTo>
                    <a:pt x="9114" y="10078"/>
                  </a:lnTo>
                  <a:close/>
                  <a:moveTo>
                    <a:pt x="9519" y="9301"/>
                  </a:moveTo>
                  <a:lnTo>
                    <a:pt x="9511" y="9301"/>
                  </a:lnTo>
                  <a:lnTo>
                    <a:pt x="9511" y="9310"/>
                  </a:lnTo>
                  <a:lnTo>
                    <a:pt x="9511" y="9319"/>
                  </a:lnTo>
                  <a:lnTo>
                    <a:pt x="9511" y="9310"/>
                  </a:lnTo>
                  <a:close/>
                  <a:moveTo>
                    <a:pt x="9034" y="10122"/>
                  </a:moveTo>
                  <a:lnTo>
                    <a:pt x="9025" y="10122"/>
                  </a:lnTo>
                  <a:lnTo>
                    <a:pt x="9016" y="10131"/>
                  </a:lnTo>
                  <a:lnTo>
                    <a:pt x="9025" y="10131"/>
                  </a:lnTo>
                  <a:lnTo>
                    <a:pt x="9034" y="10131"/>
                  </a:lnTo>
                  <a:close/>
                  <a:moveTo>
                    <a:pt x="4526" y="6742"/>
                  </a:moveTo>
                  <a:lnTo>
                    <a:pt x="4517" y="6742"/>
                  </a:lnTo>
                  <a:lnTo>
                    <a:pt x="4517" y="6751"/>
                  </a:lnTo>
                  <a:lnTo>
                    <a:pt x="4526" y="6751"/>
                  </a:lnTo>
                  <a:close/>
                  <a:moveTo>
                    <a:pt x="2100" y="9001"/>
                  </a:moveTo>
                  <a:lnTo>
                    <a:pt x="2091" y="9001"/>
                  </a:lnTo>
                  <a:lnTo>
                    <a:pt x="2091" y="9010"/>
                  </a:lnTo>
                  <a:lnTo>
                    <a:pt x="2100" y="9010"/>
                  </a:lnTo>
                  <a:close/>
                  <a:moveTo>
                    <a:pt x="2135" y="9081"/>
                  </a:moveTo>
                  <a:lnTo>
                    <a:pt x="2126" y="9081"/>
                  </a:lnTo>
                  <a:close/>
                  <a:moveTo>
                    <a:pt x="2135" y="9063"/>
                  </a:moveTo>
                  <a:lnTo>
                    <a:pt x="2126" y="9063"/>
                  </a:lnTo>
                  <a:lnTo>
                    <a:pt x="2126" y="9072"/>
                  </a:lnTo>
                  <a:lnTo>
                    <a:pt x="2135" y="9072"/>
                  </a:lnTo>
                  <a:lnTo>
                    <a:pt x="2153" y="9072"/>
                  </a:lnTo>
                  <a:lnTo>
                    <a:pt x="2153" y="9063"/>
                  </a:lnTo>
                  <a:close/>
                  <a:moveTo>
                    <a:pt x="2056" y="9036"/>
                  </a:moveTo>
                  <a:lnTo>
                    <a:pt x="2056" y="9045"/>
                  </a:lnTo>
                  <a:lnTo>
                    <a:pt x="2064" y="9045"/>
                  </a:lnTo>
                  <a:lnTo>
                    <a:pt x="2064" y="9036"/>
                  </a:lnTo>
                  <a:close/>
                  <a:moveTo>
                    <a:pt x="2020" y="9654"/>
                  </a:moveTo>
                  <a:lnTo>
                    <a:pt x="2012" y="9663"/>
                  </a:lnTo>
                  <a:lnTo>
                    <a:pt x="2003" y="9663"/>
                  </a:lnTo>
                  <a:lnTo>
                    <a:pt x="2003" y="9672"/>
                  </a:lnTo>
                  <a:lnTo>
                    <a:pt x="2012" y="9672"/>
                  </a:lnTo>
                  <a:lnTo>
                    <a:pt x="2003" y="9672"/>
                  </a:lnTo>
                  <a:lnTo>
                    <a:pt x="2003" y="9663"/>
                  </a:lnTo>
                  <a:lnTo>
                    <a:pt x="2012" y="9663"/>
                  </a:lnTo>
                  <a:close/>
                  <a:moveTo>
                    <a:pt x="2064" y="9001"/>
                  </a:moveTo>
                  <a:lnTo>
                    <a:pt x="2064" y="8992"/>
                  </a:lnTo>
                  <a:lnTo>
                    <a:pt x="2047" y="8992"/>
                  </a:lnTo>
                  <a:lnTo>
                    <a:pt x="2047" y="9001"/>
                  </a:lnTo>
                  <a:lnTo>
                    <a:pt x="2056" y="9001"/>
                  </a:lnTo>
                  <a:close/>
                  <a:moveTo>
                    <a:pt x="2603" y="3680"/>
                  </a:moveTo>
                  <a:lnTo>
                    <a:pt x="2594" y="3671"/>
                  </a:lnTo>
                  <a:lnTo>
                    <a:pt x="2594" y="3680"/>
                  </a:lnTo>
                  <a:lnTo>
                    <a:pt x="2585" y="3689"/>
                  </a:lnTo>
                  <a:lnTo>
                    <a:pt x="2585" y="3698"/>
                  </a:lnTo>
                  <a:lnTo>
                    <a:pt x="2594" y="3698"/>
                  </a:lnTo>
                  <a:lnTo>
                    <a:pt x="2603" y="3698"/>
                  </a:lnTo>
                  <a:lnTo>
                    <a:pt x="2611" y="3698"/>
                  </a:lnTo>
                  <a:lnTo>
                    <a:pt x="2611" y="3689"/>
                  </a:lnTo>
                  <a:close/>
                  <a:moveTo>
                    <a:pt x="2161" y="9116"/>
                  </a:moveTo>
                  <a:lnTo>
                    <a:pt x="2161" y="9125"/>
                  </a:lnTo>
                  <a:lnTo>
                    <a:pt x="2170" y="9125"/>
                  </a:lnTo>
                  <a:lnTo>
                    <a:pt x="2170" y="9116"/>
                  </a:lnTo>
                  <a:close/>
                  <a:moveTo>
                    <a:pt x="2285" y="9698"/>
                  </a:moveTo>
                  <a:lnTo>
                    <a:pt x="2285" y="9707"/>
                  </a:lnTo>
                  <a:close/>
                  <a:moveTo>
                    <a:pt x="2497" y="3619"/>
                  </a:moveTo>
                  <a:lnTo>
                    <a:pt x="2514" y="3619"/>
                  </a:lnTo>
                  <a:lnTo>
                    <a:pt x="2514" y="3610"/>
                  </a:lnTo>
                  <a:lnTo>
                    <a:pt x="2506" y="3601"/>
                  </a:lnTo>
                  <a:lnTo>
                    <a:pt x="2514" y="3601"/>
                  </a:lnTo>
                  <a:lnTo>
                    <a:pt x="2514" y="3592"/>
                  </a:lnTo>
                  <a:lnTo>
                    <a:pt x="2514" y="3583"/>
                  </a:lnTo>
                  <a:lnTo>
                    <a:pt x="2506" y="3574"/>
                  </a:lnTo>
                  <a:lnTo>
                    <a:pt x="2488" y="3557"/>
                  </a:lnTo>
                  <a:lnTo>
                    <a:pt x="2488" y="3548"/>
                  </a:lnTo>
                  <a:lnTo>
                    <a:pt x="2488" y="3539"/>
                  </a:lnTo>
                  <a:lnTo>
                    <a:pt x="2497" y="3539"/>
                  </a:lnTo>
                  <a:lnTo>
                    <a:pt x="2497" y="3548"/>
                  </a:lnTo>
                  <a:lnTo>
                    <a:pt x="2497" y="3557"/>
                  </a:lnTo>
                  <a:lnTo>
                    <a:pt x="2506" y="3566"/>
                  </a:lnTo>
                  <a:lnTo>
                    <a:pt x="2514" y="3583"/>
                  </a:lnTo>
                  <a:lnTo>
                    <a:pt x="2523" y="3583"/>
                  </a:lnTo>
                  <a:lnTo>
                    <a:pt x="2514" y="3574"/>
                  </a:lnTo>
                  <a:lnTo>
                    <a:pt x="2514" y="3566"/>
                  </a:lnTo>
                  <a:lnTo>
                    <a:pt x="2514" y="3557"/>
                  </a:lnTo>
                  <a:lnTo>
                    <a:pt x="2506" y="3548"/>
                  </a:lnTo>
                  <a:lnTo>
                    <a:pt x="2488" y="3530"/>
                  </a:lnTo>
                  <a:lnTo>
                    <a:pt x="2479" y="3530"/>
                  </a:lnTo>
                  <a:lnTo>
                    <a:pt x="2461" y="3530"/>
                  </a:lnTo>
                  <a:lnTo>
                    <a:pt x="2453" y="3521"/>
                  </a:lnTo>
                  <a:lnTo>
                    <a:pt x="2444" y="3513"/>
                  </a:lnTo>
                  <a:lnTo>
                    <a:pt x="2444" y="3504"/>
                  </a:lnTo>
                  <a:lnTo>
                    <a:pt x="2435" y="3513"/>
                  </a:lnTo>
                  <a:lnTo>
                    <a:pt x="2444" y="3513"/>
                  </a:lnTo>
                  <a:lnTo>
                    <a:pt x="2444" y="3521"/>
                  </a:lnTo>
                  <a:lnTo>
                    <a:pt x="2444" y="3530"/>
                  </a:lnTo>
                  <a:lnTo>
                    <a:pt x="2453" y="3539"/>
                  </a:lnTo>
                  <a:lnTo>
                    <a:pt x="2453" y="3548"/>
                  </a:lnTo>
                  <a:lnTo>
                    <a:pt x="2453" y="3574"/>
                  </a:lnTo>
                  <a:lnTo>
                    <a:pt x="2461" y="3583"/>
                  </a:lnTo>
                  <a:lnTo>
                    <a:pt x="2461" y="3592"/>
                  </a:lnTo>
                  <a:lnTo>
                    <a:pt x="2470" y="3601"/>
                  </a:lnTo>
                  <a:lnTo>
                    <a:pt x="2470" y="3610"/>
                  </a:lnTo>
                  <a:lnTo>
                    <a:pt x="2461" y="3627"/>
                  </a:lnTo>
                  <a:lnTo>
                    <a:pt x="2461" y="3636"/>
                  </a:lnTo>
                  <a:lnTo>
                    <a:pt x="2461" y="3645"/>
                  </a:lnTo>
                  <a:lnTo>
                    <a:pt x="2470" y="3645"/>
                  </a:lnTo>
                  <a:lnTo>
                    <a:pt x="2479" y="3645"/>
                  </a:lnTo>
                  <a:lnTo>
                    <a:pt x="2488" y="3636"/>
                  </a:lnTo>
                  <a:close/>
                  <a:moveTo>
                    <a:pt x="2461" y="3671"/>
                  </a:moveTo>
                  <a:lnTo>
                    <a:pt x="2461" y="3663"/>
                  </a:lnTo>
                  <a:lnTo>
                    <a:pt x="2453" y="3645"/>
                  </a:lnTo>
                  <a:lnTo>
                    <a:pt x="2444" y="3636"/>
                  </a:lnTo>
                  <a:lnTo>
                    <a:pt x="2444" y="3627"/>
                  </a:lnTo>
                  <a:lnTo>
                    <a:pt x="2435" y="3610"/>
                  </a:lnTo>
                  <a:lnTo>
                    <a:pt x="2426" y="3610"/>
                  </a:lnTo>
                  <a:lnTo>
                    <a:pt x="2426" y="3601"/>
                  </a:lnTo>
                  <a:lnTo>
                    <a:pt x="2409" y="3592"/>
                  </a:lnTo>
                  <a:lnTo>
                    <a:pt x="2400" y="3592"/>
                  </a:lnTo>
                  <a:lnTo>
                    <a:pt x="2391" y="3610"/>
                  </a:lnTo>
                  <a:lnTo>
                    <a:pt x="2382" y="3619"/>
                  </a:lnTo>
                  <a:lnTo>
                    <a:pt x="2373" y="3619"/>
                  </a:lnTo>
                  <a:lnTo>
                    <a:pt x="2373" y="3627"/>
                  </a:lnTo>
                  <a:lnTo>
                    <a:pt x="2373" y="3636"/>
                  </a:lnTo>
                  <a:lnTo>
                    <a:pt x="2373" y="3645"/>
                  </a:lnTo>
                  <a:lnTo>
                    <a:pt x="2382" y="3645"/>
                  </a:lnTo>
                  <a:lnTo>
                    <a:pt x="2391" y="3645"/>
                  </a:lnTo>
                  <a:lnTo>
                    <a:pt x="2400" y="3627"/>
                  </a:lnTo>
                  <a:lnTo>
                    <a:pt x="2409" y="3627"/>
                  </a:lnTo>
                  <a:lnTo>
                    <a:pt x="2409" y="3645"/>
                  </a:lnTo>
                  <a:lnTo>
                    <a:pt x="2417" y="3645"/>
                  </a:lnTo>
                  <a:lnTo>
                    <a:pt x="2409" y="3654"/>
                  </a:lnTo>
                  <a:lnTo>
                    <a:pt x="2409" y="3663"/>
                  </a:lnTo>
                  <a:lnTo>
                    <a:pt x="2409" y="3671"/>
                  </a:lnTo>
                  <a:lnTo>
                    <a:pt x="2417" y="3671"/>
                  </a:lnTo>
                  <a:lnTo>
                    <a:pt x="2426" y="3671"/>
                  </a:lnTo>
                  <a:lnTo>
                    <a:pt x="2426" y="3680"/>
                  </a:lnTo>
                  <a:lnTo>
                    <a:pt x="2435" y="3689"/>
                  </a:lnTo>
                  <a:lnTo>
                    <a:pt x="2444" y="3680"/>
                  </a:lnTo>
                  <a:lnTo>
                    <a:pt x="2444" y="3689"/>
                  </a:lnTo>
                  <a:lnTo>
                    <a:pt x="2435" y="3689"/>
                  </a:lnTo>
                  <a:lnTo>
                    <a:pt x="2435" y="3698"/>
                  </a:lnTo>
                  <a:lnTo>
                    <a:pt x="2435" y="3707"/>
                  </a:lnTo>
                  <a:lnTo>
                    <a:pt x="2444" y="3724"/>
                  </a:lnTo>
                  <a:lnTo>
                    <a:pt x="2453" y="3724"/>
                  </a:lnTo>
                  <a:lnTo>
                    <a:pt x="2453" y="3733"/>
                  </a:lnTo>
                  <a:lnTo>
                    <a:pt x="2461" y="3733"/>
                  </a:lnTo>
                  <a:lnTo>
                    <a:pt x="2461" y="3724"/>
                  </a:lnTo>
                  <a:lnTo>
                    <a:pt x="2461" y="3707"/>
                  </a:lnTo>
                  <a:lnTo>
                    <a:pt x="2461" y="3698"/>
                  </a:lnTo>
                  <a:lnTo>
                    <a:pt x="2461" y="3689"/>
                  </a:lnTo>
                  <a:lnTo>
                    <a:pt x="2461" y="3680"/>
                  </a:lnTo>
                  <a:close/>
                  <a:moveTo>
                    <a:pt x="2488" y="3521"/>
                  </a:moveTo>
                  <a:lnTo>
                    <a:pt x="2479" y="3513"/>
                  </a:lnTo>
                  <a:lnTo>
                    <a:pt x="2470" y="3513"/>
                  </a:lnTo>
                  <a:lnTo>
                    <a:pt x="2461" y="3513"/>
                  </a:lnTo>
                  <a:lnTo>
                    <a:pt x="2461" y="3521"/>
                  </a:lnTo>
                  <a:lnTo>
                    <a:pt x="2470" y="3521"/>
                  </a:lnTo>
                  <a:close/>
                  <a:moveTo>
                    <a:pt x="2620" y="3760"/>
                  </a:moveTo>
                  <a:lnTo>
                    <a:pt x="2629" y="3760"/>
                  </a:lnTo>
                  <a:lnTo>
                    <a:pt x="2638" y="3760"/>
                  </a:lnTo>
                  <a:lnTo>
                    <a:pt x="2647" y="3760"/>
                  </a:lnTo>
                  <a:lnTo>
                    <a:pt x="2647" y="3742"/>
                  </a:lnTo>
                  <a:lnTo>
                    <a:pt x="2647" y="3733"/>
                  </a:lnTo>
                  <a:lnTo>
                    <a:pt x="2638" y="3716"/>
                  </a:lnTo>
                  <a:lnTo>
                    <a:pt x="2629" y="3707"/>
                  </a:lnTo>
                  <a:lnTo>
                    <a:pt x="2620" y="3716"/>
                  </a:lnTo>
                  <a:lnTo>
                    <a:pt x="2611" y="3724"/>
                  </a:lnTo>
                  <a:lnTo>
                    <a:pt x="2611" y="3733"/>
                  </a:lnTo>
                  <a:lnTo>
                    <a:pt x="2603" y="3733"/>
                  </a:lnTo>
                  <a:lnTo>
                    <a:pt x="2603" y="3742"/>
                  </a:lnTo>
                  <a:lnTo>
                    <a:pt x="2603" y="3751"/>
                  </a:lnTo>
                  <a:lnTo>
                    <a:pt x="2611" y="3751"/>
                  </a:lnTo>
                  <a:lnTo>
                    <a:pt x="2620" y="3751"/>
                  </a:lnTo>
                  <a:lnTo>
                    <a:pt x="2629" y="3751"/>
                  </a:lnTo>
                  <a:close/>
                  <a:moveTo>
                    <a:pt x="2329" y="9716"/>
                  </a:moveTo>
                  <a:lnTo>
                    <a:pt x="2338" y="9725"/>
                  </a:lnTo>
                  <a:lnTo>
                    <a:pt x="2338" y="9716"/>
                  </a:lnTo>
                  <a:close/>
                  <a:moveTo>
                    <a:pt x="2003" y="9690"/>
                  </a:moveTo>
                  <a:lnTo>
                    <a:pt x="1994" y="9681"/>
                  </a:lnTo>
                  <a:lnTo>
                    <a:pt x="1994" y="9690"/>
                  </a:lnTo>
                  <a:lnTo>
                    <a:pt x="2003" y="9690"/>
                  </a:lnTo>
                  <a:lnTo>
                    <a:pt x="2003" y="9698"/>
                  </a:lnTo>
                  <a:close/>
                  <a:moveTo>
                    <a:pt x="2391" y="3601"/>
                  </a:moveTo>
                  <a:lnTo>
                    <a:pt x="2391" y="3583"/>
                  </a:lnTo>
                  <a:lnTo>
                    <a:pt x="2400" y="3583"/>
                  </a:lnTo>
                  <a:lnTo>
                    <a:pt x="2417" y="3592"/>
                  </a:lnTo>
                  <a:lnTo>
                    <a:pt x="2426" y="3592"/>
                  </a:lnTo>
                  <a:lnTo>
                    <a:pt x="2435" y="3601"/>
                  </a:lnTo>
                  <a:lnTo>
                    <a:pt x="2444" y="3592"/>
                  </a:lnTo>
                  <a:lnTo>
                    <a:pt x="2444" y="3583"/>
                  </a:lnTo>
                  <a:lnTo>
                    <a:pt x="2435" y="3574"/>
                  </a:lnTo>
                  <a:lnTo>
                    <a:pt x="2417" y="3574"/>
                  </a:lnTo>
                  <a:lnTo>
                    <a:pt x="2409" y="3566"/>
                  </a:lnTo>
                  <a:lnTo>
                    <a:pt x="2417" y="3566"/>
                  </a:lnTo>
                  <a:lnTo>
                    <a:pt x="2426" y="3566"/>
                  </a:lnTo>
                  <a:lnTo>
                    <a:pt x="2435" y="3566"/>
                  </a:lnTo>
                  <a:lnTo>
                    <a:pt x="2435" y="3548"/>
                  </a:lnTo>
                  <a:lnTo>
                    <a:pt x="2435" y="3539"/>
                  </a:lnTo>
                  <a:lnTo>
                    <a:pt x="2426" y="3530"/>
                  </a:lnTo>
                  <a:lnTo>
                    <a:pt x="2409" y="3530"/>
                  </a:lnTo>
                  <a:lnTo>
                    <a:pt x="2400" y="3530"/>
                  </a:lnTo>
                  <a:lnTo>
                    <a:pt x="2391" y="3548"/>
                  </a:lnTo>
                  <a:lnTo>
                    <a:pt x="2382" y="3539"/>
                  </a:lnTo>
                  <a:lnTo>
                    <a:pt x="2391" y="3539"/>
                  </a:lnTo>
                  <a:lnTo>
                    <a:pt x="2391" y="3530"/>
                  </a:lnTo>
                  <a:lnTo>
                    <a:pt x="2382" y="3521"/>
                  </a:lnTo>
                  <a:lnTo>
                    <a:pt x="2373" y="3513"/>
                  </a:lnTo>
                  <a:lnTo>
                    <a:pt x="2373" y="3521"/>
                  </a:lnTo>
                  <a:lnTo>
                    <a:pt x="2364" y="3521"/>
                  </a:lnTo>
                  <a:lnTo>
                    <a:pt x="2356" y="3521"/>
                  </a:lnTo>
                  <a:lnTo>
                    <a:pt x="2347" y="3530"/>
                  </a:lnTo>
                  <a:lnTo>
                    <a:pt x="2338" y="3521"/>
                  </a:lnTo>
                  <a:lnTo>
                    <a:pt x="2329" y="3530"/>
                  </a:lnTo>
                  <a:lnTo>
                    <a:pt x="2320" y="3530"/>
                  </a:lnTo>
                  <a:lnTo>
                    <a:pt x="2320" y="3539"/>
                  </a:lnTo>
                  <a:lnTo>
                    <a:pt x="2320" y="3548"/>
                  </a:lnTo>
                  <a:lnTo>
                    <a:pt x="2329" y="3557"/>
                  </a:lnTo>
                  <a:lnTo>
                    <a:pt x="2329" y="3566"/>
                  </a:lnTo>
                  <a:lnTo>
                    <a:pt x="2356" y="3583"/>
                  </a:lnTo>
                  <a:lnTo>
                    <a:pt x="2364" y="3592"/>
                  </a:lnTo>
                  <a:lnTo>
                    <a:pt x="2364" y="3601"/>
                  </a:lnTo>
                  <a:lnTo>
                    <a:pt x="2382" y="3610"/>
                  </a:lnTo>
                  <a:close/>
                  <a:moveTo>
                    <a:pt x="2170" y="9893"/>
                  </a:moveTo>
                  <a:lnTo>
                    <a:pt x="2179" y="9893"/>
                  </a:lnTo>
                  <a:lnTo>
                    <a:pt x="2170" y="9901"/>
                  </a:lnTo>
                  <a:lnTo>
                    <a:pt x="2179" y="9901"/>
                  </a:lnTo>
                  <a:lnTo>
                    <a:pt x="2179" y="9893"/>
                  </a:lnTo>
                  <a:close/>
                  <a:moveTo>
                    <a:pt x="2012" y="9707"/>
                  </a:moveTo>
                  <a:lnTo>
                    <a:pt x="2020" y="9716"/>
                  </a:lnTo>
                  <a:lnTo>
                    <a:pt x="2020" y="9707"/>
                  </a:lnTo>
                  <a:close/>
                  <a:moveTo>
                    <a:pt x="1473" y="3239"/>
                  </a:moveTo>
                  <a:lnTo>
                    <a:pt x="1482" y="3239"/>
                  </a:lnTo>
                  <a:lnTo>
                    <a:pt x="1482" y="3230"/>
                  </a:lnTo>
                  <a:lnTo>
                    <a:pt x="1473" y="3221"/>
                  </a:lnTo>
                  <a:lnTo>
                    <a:pt x="1473" y="3230"/>
                  </a:lnTo>
                  <a:close/>
                  <a:moveTo>
                    <a:pt x="1465" y="3318"/>
                  </a:moveTo>
                  <a:lnTo>
                    <a:pt x="1456" y="3318"/>
                  </a:lnTo>
                  <a:lnTo>
                    <a:pt x="1473" y="3327"/>
                  </a:lnTo>
                  <a:lnTo>
                    <a:pt x="1473" y="3318"/>
                  </a:lnTo>
                  <a:lnTo>
                    <a:pt x="1482" y="3318"/>
                  </a:lnTo>
                  <a:lnTo>
                    <a:pt x="1473" y="3310"/>
                  </a:lnTo>
                  <a:close/>
                  <a:moveTo>
                    <a:pt x="1385" y="9654"/>
                  </a:moveTo>
                  <a:lnTo>
                    <a:pt x="1376" y="9645"/>
                  </a:lnTo>
                  <a:lnTo>
                    <a:pt x="1367" y="9645"/>
                  </a:lnTo>
                  <a:lnTo>
                    <a:pt x="1359" y="9645"/>
                  </a:lnTo>
                  <a:lnTo>
                    <a:pt x="1359" y="9654"/>
                  </a:lnTo>
                  <a:lnTo>
                    <a:pt x="1359" y="9663"/>
                  </a:lnTo>
                  <a:lnTo>
                    <a:pt x="1367" y="9663"/>
                  </a:lnTo>
                  <a:lnTo>
                    <a:pt x="1376" y="9663"/>
                  </a:lnTo>
                  <a:lnTo>
                    <a:pt x="1385" y="9663"/>
                  </a:lnTo>
                  <a:lnTo>
                    <a:pt x="1385" y="9672"/>
                  </a:lnTo>
                  <a:lnTo>
                    <a:pt x="1394" y="9672"/>
                  </a:lnTo>
                  <a:lnTo>
                    <a:pt x="1394" y="9663"/>
                  </a:lnTo>
                  <a:close/>
                  <a:moveTo>
                    <a:pt x="1544" y="3292"/>
                  </a:moveTo>
                  <a:lnTo>
                    <a:pt x="1535" y="3292"/>
                  </a:lnTo>
                  <a:lnTo>
                    <a:pt x="1526" y="3310"/>
                  </a:lnTo>
                  <a:lnTo>
                    <a:pt x="1517" y="3318"/>
                  </a:lnTo>
                  <a:lnTo>
                    <a:pt x="1509" y="3327"/>
                  </a:lnTo>
                  <a:lnTo>
                    <a:pt x="1500" y="3336"/>
                  </a:lnTo>
                  <a:lnTo>
                    <a:pt x="1491" y="3336"/>
                  </a:lnTo>
                  <a:lnTo>
                    <a:pt x="1491" y="3345"/>
                  </a:lnTo>
                  <a:lnTo>
                    <a:pt x="1491" y="3354"/>
                  </a:lnTo>
                  <a:lnTo>
                    <a:pt x="1500" y="3345"/>
                  </a:lnTo>
                  <a:lnTo>
                    <a:pt x="1509" y="3345"/>
                  </a:lnTo>
                  <a:lnTo>
                    <a:pt x="1517" y="3336"/>
                  </a:lnTo>
                  <a:lnTo>
                    <a:pt x="1526" y="3327"/>
                  </a:lnTo>
                  <a:lnTo>
                    <a:pt x="1526" y="3318"/>
                  </a:lnTo>
                  <a:lnTo>
                    <a:pt x="1553" y="3301"/>
                  </a:lnTo>
                  <a:lnTo>
                    <a:pt x="1553" y="3292"/>
                  </a:lnTo>
                  <a:close/>
                  <a:moveTo>
                    <a:pt x="1500" y="3274"/>
                  </a:moveTo>
                  <a:lnTo>
                    <a:pt x="1500" y="3283"/>
                  </a:lnTo>
                  <a:lnTo>
                    <a:pt x="1491" y="3274"/>
                  </a:lnTo>
                  <a:lnTo>
                    <a:pt x="1491" y="3283"/>
                  </a:lnTo>
                  <a:lnTo>
                    <a:pt x="1491" y="3292"/>
                  </a:lnTo>
                  <a:lnTo>
                    <a:pt x="1482" y="3292"/>
                  </a:lnTo>
                  <a:lnTo>
                    <a:pt x="1491" y="3301"/>
                  </a:lnTo>
                  <a:lnTo>
                    <a:pt x="1491" y="3310"/>
                  </a:lnTo>
                  <a:lnTo>
                    <a:pt x="1500" y="3310"/>
                  </a:lnTo>
                  <a:lnTo>
                    <a:pt x="1500" y="3301"/>
                  </a:lnTo>
                  <a:lnTo>
                    <a:pt x="1500" y="3292"/>
                  </a:lnTo>
                  <a:lnTo>
                    <a:pt x="1500" y="3283"/>
                  </a:lnTo>
                  <a:close/>
                  <a:moveTo>
                    <a:pt x="1341" y="9637"/>
                  </a:moveTo>
                  <a:lnTo>
                    <a:pt x="1341" y="9645"/>
                  </a:lnTo>
                  <a:lnTo>
                    <a:pt x="1350" y="9645"/>
                  </a:lnTo>
                  <a:close/>
                  <a:moveTo>
                    <a:pt x="1226" y="9584"/>
                  </a:moveTo>
                  <a:lnTo>
                    <a:pt x="1226" y="9575"/>
                  </a:lnTo>
                  <a:lnTo>
                    <a:pt x="1217" y="9575"/>
                  </a:lnTo>
                  <a:close/>
                  <a:moveTo>
                    <a:pt x="1226" y="9584"/>
                  </a:moveTo>
                  <a:lnTo>
                    <a:pt x="1226" y="9592"/>
                  </a:lnTo>
                  <a:lnTo>
                    <a:pt x="1235" y="9592"/>
                  </a:lnTo>
                  <a:lnTo>
                    <a:pt x="1226" y="9592"/>
                  </a:lnTo>
                  <a:close/>
                  <a:moveTo>
                    <a:pt x="1738" y="3336"/>
                  </a:moveTo>
                  <a:lnTo>
                    <a:pt x="1729" y="3345"/>
                  </a:lnTo>
                  <a:lnTo>
                    <a:pt x="1747" y="3336"/>
                  </a:lnTo>
                  <a:lnTo>
                    <a:pt x="1756" y="3327"/>
                  </a:lnTo>
                  <a:lnTo>
                    <a:pt x="1747" y="3327"/>
                  </a:lnTo>
                  <a:close/>
                  <a:moveTo>
                    <a:pt x="1800" y="9575"/>
                  </a:moveTo>
                  <a:lnTo>
                    <a:pt x="1791" y="9575"/>
                  </a:lnTo>
                  <a:close/>
                  <a:moveTo>
                    <a:pt x="1614" y="3283"/>
                  </a:moveTo>
                  <a:lnTo>
                    <a:pt x="1597" y="3283"/>
                  </a:lnTo>
                  <a:lnTo>
                    <a:pt x="1597" y="3274"/>
                  </a:lnTo>
                  <a:lnTo>
                    <a:pt x="1588" y="3274"/>
                  </a:lnTo>
                  <a:lnTo>
                    <a:pt x="1579" y="3274"/>
                  </a:lnTo>
                  <a:lnTo>
                    <a:pt x="1579" y="3283"/>
                  </a:lnTo>
                  <a:lnTo>
                    <a:pt x="1570" y="3283"/>
                  </a:lnTo>
                  <a:lnTo>
                    <a:pt x="1579" y="3292"/>
                  </a:lnTo>
                  <a:lnTo>
                    <a:pt x="1579" y="3301"/>
                  </a:lnTo>
                  <a:lnTo>
                    <a:pt x="1597" y="3292"/>
                  </a:lnTo>
                  <a:close/>
                  <a:moveTo>
                    <a:pt x="1809" y="9575"/>
                  </a:moveTo>
                  <a:lnTo>
                    <a:pt x="1817" y="9584"/>
                  </a:lnTo>
                  <a:lnTo>
                    <a:pt x="1817" y="9575"/>
                  </a:lnTo>
                  <a:close/>
                  <a:moveTo>
                    <a:pt x="1879" y="9540"/>
                  </a:moveTo>
                  <a:lnTo>
                    <a:pt x="1888" y="9531"/>
                  </a:lnTo>
                  <a:lnTo>
                    <a:pt x="1879" y="9531"/>
                  </a:lnTo>
                  <a:close/>
                  <a:moveTo>
                    <a:pt x="1659" y="9548"/>
                  </a:moveTo>
                  <a:lnTo>
                    <a:pt x="1659" y="9540"/>
                  </a:lnTo>
                  <a:lnTo>
                    <a:pt x="1650" y="9540"/>
                  </a:lnTo>
                  <a:lnTo>
                    <a:pt x="1659" y="9548"/>
                  </a:lnTo>
                  <a:lnTo>
                    <a:pt x="1659" y="9557"/>
                  </a:lnTo>
                  <a:lnTo>
                    <a:pt x="1667" y="9557"/>
                  </a:lnTo>
                  <a:close/>
                  <a:moveTo>
                    <a:pt x="1685" y="9513"/>
                  </a:moveTo>
                  <a:lnTo>
                    <a:pt x="1694" y="9522"/>
                  </a:lnTo>
                  <a:close/>
                  <a:moveTo>
                    <a:pt x="1694" y="3292"/>
                  </a:moveTo>
                  <a:lnTo>
                    <a:pt x="1694" y="3283"/>
                  </a:lnTo>
                  <a:lnTo>
                    <a:pt x="1685" y="3283"/>
                  </a:lnTo>
                  <a:lnTo>
                    <a:pt x="1676" y="3292"/>
                  </a:lnTo>
                  <a:lnTo>
                    <a:pt x="1685" y="3292"/>
                  </a:lnTo>
                  <a:close/>
                  <a:moveTo>
                    <a:pt x="3291" y="4457"/>
                  </a:moveTo>
                  <a:lnTo>
                    <a:pt x="3282" y="4448"/>
                  </a:lnTo>
                  <a:lnTo>
                    <a:pt x="3264" y="4439"/>
                  </a:lnTo>
                  <a:lnTo>
                    <a:pt x="3264" y="4448"/>
                  </a:lnTo>
                  <a:lnTo>
                    <a:pt x="3273" y="4457"/>
                  </a:lnTo>
                  <a:close/>
                  <a:moveTo>
                    <a:pt x="3211" y="4492"/>
                  </a:moveTo>
                  <a:lnTo>
                    <a:pt x="3238" y="4501"/>
                  </a:lnTo>
                  <a:lnTo>
                    <a:pt x="3247" y="4510"/>
                  </a:lnTo>
                  <a:lnTo>
                    <a:pt x="3273" y="4510"/>
                  </a:lnTo>
                  <a:lnTo>
                    <a:pt x="3282" y="4501"/>
                  </a:lnTo>
                  <a:lnTo>
                    <a:pt x="3291" y="4501"/>
                  </a:lnTo>
                  <a:lnTo>
                    <a:pt x="3300" y="4501"/>
                  </a:lnTo>
                  <a:lnTo>
                    <a:pt x="3291" y="4483"/>
                  </a:lnTo>
                  <a:lnTo>
                    <a:pt x="3291" y="4475"/>
                  </a:lnTo>
                  <a:lnTo>
                    <a:pt x="3282" y="4475"/>
                  </a:lnTo>
                  <a:lnTo>
                    <a:pt x="3282" y="4483"/>
                  </a:lnTo>
                  <a:lnTo>
                    <a:pt x="3273" y="4466"/>
                  </a:lnTo>
                  <a:lnTo>
                    <a:pt x="3264" y="4448"/>
                  </a:lnTo>
                  <a:lnTo>
                    <a:pt x="3255" y="4439"/>
                  </a:lnTo>
                  <a:lnTo>
                    <a:pt x="3247" y="4430"/>
                  </a:lnTo>
                  <a:lnTo>
                    <a:pt x="3229" y="4422"/>
                  </a:lnTo>
                  <a:lnTo>
                    <a:pt x="3203" y="4413"/>
                  </a:lnTo>
                  <a:lnTo>
                    <a:pt x="3194" y="4404"/>
                  </a:lnTo>
                  <a:lnTo>
                    <a:pt x="3185" y="4395"/>
                  </a:lnTo>
                  <a:lnTo>
                    <a:pt x="3176" y="4386"/>
                  </a:lnTo>
                  <a:lnTo>
                    <a:pt x="3176" y="4378"/>
                  </a:lnTo>
                  <a:lnTo>
                    <a:pt x="3167" y="4369"/>
                  </a:lnTo>
                  <a:lnTo>
                    <a:pt x="3150" y="4351"/>
                  </a:lnTo>
                  <a:lnTo>
                    <a:pt x="3150" y="4342"/>
                  </a:lnTo>
                  <a:lnTo>
                    <a:pt x="3141" y="4325"/>
                  </a:lnTo>
                  <a:lnTo>
                    <a:pt x="3132" y="4325"/>
                  </a:lnTo>
                  <a:lnTo>
                    <a:pt x="3132" y="4316"/>
                  </a:lnTo>
                  <a:lnTo>
                    <a:pt x="3123" y="4316"/>
                  </a:lnTo>
                  <a:lnTo>
                    <a:pt x="3105" y="4316"/>
                  </a:lnTo>
                  <a:lnTo>
                    <a:pt x="3079" y="4307"/>
                  </a:lnTo>
                  <a:lnTo>
                    <a:pt x="3044" y="4307"/>
                  </a:lnTo>
                  <a:lnTo>
                    <a:pt x="3008" y="4289"/>
                  </a:lnTo>
                  <a:lnTo>
                    <a:pt x="2973" y="4272"/>
                  </a:lnTo>
                  <a:lnTo>
                    <a:pt x="2955" y="4272"/>
                  </a:lnTo>
                  <a:lnTo>
                    <a:pt x="2938" y="4272"/>
                  </a:lnTo>
                  <a:lnTo>
                    <a:pt x="2929" y="4272"/>
                  </a:lnTo>
                  <a:lnTo>
                    <a:pt x="2920" y="4280"/>
                  </a:lnTo>
                  <a:lnTo>
                    <a:pt x="2920" y="4289"/>
                  </a:lnTo>
                  <a:lnTo>
                    <a:pt x="2929" y="4298"/>
                  </a:lnTo>
                  <a:lnTo>
                    <a:pt x="2938" y="4298"/>
                  </a:lnTo>
                  <a:lnTo>
                    <a:pt x="2947" y="4307"/>
                  </a:lnTo>
                  <a:lnTo>
                    <a:pt x="2955" y="4307"/>
                  </a:lnTo>
                  <a:lnTo>
                    <a:pt x="2964" y="4298"/>
                  </a:lnTo>
                  <a:lnTo>
                    <a:pt x="2982" y="4298"/>
                  </a:lnTo>
                  <a:lnTo>
                    <a:pt x="2991" y="4298"/>
                  </a:lnTo>
                  <a:lnTo>
                    <a:pt x="2982" y="4298"/>
                  </a:lnTo>
                  <a:lnTo>
                    <a:pt x="2982" y="4307"/>
                  </a:lnTo>
                  <a:lnTo>
                    <a:pt x="2982" y="4316"/>
                  </a:lnTo>
                  <a:lnTo>
                    <a:pt x="2982" y="4307"/>
                  </a:lnTo>
                  <a:lnTo>
                    <a:pt x="2973" y="4307"/>
                  </a:lnTo>
                  <a:lnTo>
                    <a:pt x="2964" y="4307"/>
                  </a:lnTo>
                  <a:lnTo>
                    <a:pt x="2955" y="4307"/>
                  </a:lnTo>
                  <a:lnTo>
                    <a:pt x="2955" y="4316"/>
                  </a:lnTo>
                  <a:lnTo>
                    <a:pt x="2955" y="4325"/>
                  </a:lnTo>
                  <a:lnTo>
                    <a:pt x="2964" y="4325"/>
                  </a:lnTo>
                  <a:lnTo>
                    <a:pt x="2964" y="4333"/>
                  </a:lnTo>
                  <a:lnTo>
                    <a:pt x="2955" y="4342"/>
                  </a:lnTo>
                  <a:lnTo>
                    <a:pt x="2964" y="4342"/>
                  </a:lnTo>
                  <a:lnTo>
                    <a:pt x="2973" y="4333"/>
                  </a:lnTo>
                  <a:lnTo>
                    <a:pt x="2991" y="4333"/>
                  </a:lnTo>
                  <a:lnTo>
                    <a:pt x="2991" y="4342"/>
                  </a:lnTo>
                  <a:lnTo>
                    <a:pt x="3000" y="4351"/>
                  </a:lnTo>
                  <a:lnTo>
                    <a:pt x="3000" y="4342"/>
                  </a:lnTo>
                  <a:lnTo>
                    <a:pt x="3008" y="4342"/>
                  </a:lnTo>
                  <a:lnTo>
                    <a:pt x="3008" y="4351"/>
                  </a:lnTo>
                  <a:lnTo>
                    <a:pt x="3008" y="4360"/>
                  </a:lnTo>
                  <a:lnTo>
                    <a:pt x="3017" y="4360"/>
                  </a:lnTo>
                  <a:lnTo>
                    <a:pt x="3017" y="4369"/>
                  </a:lnTo>
                  <a:lnTo>
                    <a:pt x="3026" y="4360"/>
                  </a:lnTo>
                  <a:lnTo>
                    <a:pt x="3035" y="4360"/>
                  </a:lnTo>
                  <a:lnTo>
                    <a:pt x="3044" y="4360"/>
                  </a:lnTo>
                  <a:lnTo>
                    <a:pt x="3053" y="4378"/>
                  </a:lnTo>
                  <a:lnTo>
                    <a:pt x="3061" y="4378"/>
                  </a:lnTo>
                  <a:lnTo>
                    <a:pt x="3070" y="4386"/>
                  </a:lnTo>
                  <a:lnTo>
                    <a:pt x="3088" y="4386"/>
                  </a:lnTo>
                  <a:lnTo>
                    <a:pt x="3061" y="4386"/>
                  </a:lnTo>
                  <a:lnTo>
                    <a:pt x="3053" y="4395"/>
                  </a:lnTo>
                  <a:lnTo>
                    <a:pt x="3053" y="4404"/>
                  </a:lnTo>
                  <a:lnTo>
                    <a:pt x="3061" y="4413"/>
                  </a:lnTo>
                  <a:lnTo>
                    <a:pt x="3061" y="4404"/>
                  </a:lnTo>
                  <a:lnTo>
                    <a:pt x="3070" y="4413"/>
                  </a:lnTo>
                  <a:lnTo>
                    <a:pt x="3079" y="4413"/>
                  </a:lnTo>
                  <a:lnTo>
                    <a:pt x="3079" y="4404"/>
                  </a:lnTo>
                  <a:lnTo>
                    <a:pt x="3088" y="4404"/>
                  </a:lnTo>
                  <a:lnTo>
                    <a:pt x="3088" y="4413"/>
                  </a:lnTo>
                  <a:lnTo>
                    <a:pt x="3097" y="4413"/>
                  </a:lnTo>
                  <a:lnTo>
                    <a:pt x="3097" y="4422"/>
                  </a:lnTo>
                  <a:lnTo>
                    <a:pt x="3105" y="4422"/>
                  </a:lnTo>
                  <a:lnTo>
                    <a:pt x="3114" y="4422"/>
                  </a:lnTo>
                  <a:lnTo>
                    <a:pt x="3114" y="4430"/>
                  </a:lnTo>
                  <a:lnTo>
                    <a:pt x="3123" y="4430"/>
                  </a:lnTo>
                  <a:lnTo>
                    <a:pt x="3114" y="4430"/>
                  </a:lnTo>
                  <a:lnTo>
                    <a:pt x="3105" y="4439"/>
                  </a:lnTo>
                  <a:lnTo>
                    <a:pt x="3123" y="4448"/>
                  </a:lnTo>
                  <a:lnTo>
                    <a:pt x="3132" y="4448"/>
                  </a:lnTo>
                  <a:lnTo>
                    <a:pt x="3132" y="4457"/>
                  </a:lnTo>
                  <a:lnTo>
                    <a:pt x="3141" y="4448"/>
                  </a:lnTo>
                  <a:lnTo>
                    <a:pt x="3158" y="4448"/>
                  </a:lnTo>
                  <a:lnTo>
                    <a:pt x="3176" y="4448"/>
                  </a:lnTo>
                  <a:lnTo>
                    <a:pt x="3176" y="4439"/>
                  </a:lnTo>
                  <a:lnTo>
                    <a:pt x="3185" y="4430"/>
                  </a:lnTo>
                  <a:lnTo>
                    <a:pt x="3185" y="4439"/>
                  </a:lnTo>
                  <a:lnTo>
                    <a:pt x="3176" y="4448"/>
                  </a:lnTo>
                  <a:lnTo>
                    <a:pt x="3158" y="4466"/>
                  </a:lnTo>
                  <a:lnTo>
                    <a:pt x="3158" y="4475"/>
                  </a:lnTo>
                  <a:lnTo>
                    <a:pt x="3167" y="4475"/>
                  </a:lnTo>
                  <a:lnTo>
                    <a:pt x="3176" y="4483"/>
                  </a:lnTo>
                  <a:lnTo>
                    <a:pt x="3194" y="4483"/>
                  </a:lnTo>
                  <a:close/>
                  <a:moveTo>
                    <a:pt x="2947" y="4210"/>
                  </a:moveTo>
                  <a:lnTo>
                    <a:pt x="2955" y="4210"/>
                  </a:lnTo>
                  <a:lnTo>
                    <a:pt x="2955" y="4201"/>
                  </a:lnTo>
                  <a:lnTo>
                    <a:pt x="2947" y="4192"/>
                  </a:lnTo>
                  <a:lnTo>
                    <a:pt x="2947" y="4183"/>
                  </a:lnTo>
                  <a:lnTo>
                    <a:pt x="2938" y="4192"/>
                  </a:lnTo>
                  <a:lnTo>
                    <a:pt x="2938" y="4210"/>
                  </a:lnTo>
                  <a:close/>
                  <a:moveTo>
                    <a:pt x="3158" y="4351"/>
                  </a:moveTo>
                  <a:lnTo>
                    <a:pt x="3158" y="4342"/>
                  </a:lnTo>
                  <a:lnTo>
                    <a:pt x="3158" y="4333"/>
                  </a:lnTo>
                  <a:lnTo>
                    <a:pt x="3167" y="4333"/>
                  </a:lnTo>
                  <a:lnTo>
                    <a:pt x="3158" y="4325"/>
                  </a:lnTo>
                  <a:lnTo>
                    <a:pt x="3158" y="4316"/>
                  </a:lnTo>
                  <a:lnTo>
                    <a:pt x="3150" y="4316"/>
                  </a:lnTo>
                  <a:lnTo>
                    <a:pt x="3141" y="4316"/>
                  </a:lnTo>
                  <a:lnTo>
                    <a:pt x="3141" y="4325"/>
                  </a:lnTo>
                  <a:lnTo>
                    <a:pt x="3150" y="4342"/>
                  </a:lnTo>
                  <a:close/>
                  <a:moveTo>
                    <a:pt x="3088" y="4413"/>
                  </a:moveTo>
                  <a:lnTo>
                    <a:pt x="3079" y="4413"/>
                  </a:lnTo>
                  <a:lnTo>
                    <a:pt x="3079" y="4422"/>
                  </a:lnTo>
                  <a:lnTo>
                    <a:pt x="3088" y="4422"/>
                  </a:lnTo>
                  <a:close/>
                  <a:moveTo>
                    <a:pt x="2929" y="4113"/>
                  </a:moveTo>
                  <a:lnTo>
                    <a:pt x="2929" y="4104"/>
                  </a:lnTo>
                  <a:lnTo>
                    <a:pt x="2929" y="4086"/>
                  </a:lnTo>
                  <a:lnTo>
                    <a:pt x="2929" y="4077"/>
                  </a:lnTo>
                  <a:lnTo>
                    <a:pt x="2920" y="4077"/>
                  </a:lnTo>
                  <a:lnTo>
                    <a:pt x="2920" y="4086"/>
                  </a:lnTo>
                  <a:lnTo>
                    <a:pt x="2920" y="4104"/>
                  </a:lnTo>
                  <a:lnTo>
                    <a:pt x="2920" y="4113"/>
                  </a:lnTo>
                  <a:lnTo>
                    <a:pt x="2920" y="4122"/>
                  </a:lnTo>
                  <a:lnTo>
                    <a:pt x="2920" y="4113"/>
                  </a:lnTo>
                  <a:close/>
                  <a:moveTo>
                    <a:pt x="3167" y="4342"/>
                  </a:moveTo>
                  <a:lnTo>
                    <a:pt x="3167" y="4351"/>
                  </a:lnTo>
                  <a:lnTo>
                    <a:pt x="3176" y="4342"/>
                  </a:lnTo>
                  <a:lnTo>
                    <a:pt x="3176" y="4333"/>
                  </a:lnTo>
                  <a:lnTo>
                    <a:pt x="3167" y="4333"/>
                  </a:lnTo>
                  <a:close/>
                  <a:moveTo>
                    <a:pt x="3044" y="4378"/>
                  </a:moveTo>
                  <a:lnTo>
                    <a:pt x="3044" y="4369"/>
                  </a:lnTo>
                  <a:lnTo>
                    <a:pt x="3035" y="4369"/>
                  </a:lnTo>
                  <a:lnTo>
                    <a:pt x="3026" y="4369"/>
                  </a:lnTo>
                  <a:lnTo>
                    <a:pt x="3026" y="4378"/>
                  </a:lnTo>
                  <a:lnTo>
                    <a:pt x="3035" y="4386"/>
                  </a:lnTo>
                  <a:lnTo>
                    <a:pt x="3044" y="4386"/>
                  </a:lnTo>
                  <a:lnTo>
                    <a:pt x="3053" y="4386"/>
                  </a:lnTo>
                  <a:close/>
                  <a:moveTo>
                    <a:pt x="2929" y="10166"/>
                  </a:moveTo>
                  <a:lnTo>
                    <a:pt x="2920" y="10166"/>
                  </a:lnTo>
                  <a:lnTo>
                    <a:pt x="2929" y="10166"/>
                  </a:lnTo>
                  <a:lnTo>
                    <a:pt x="2929" y="10175"/>
                  </a:lnTo>
                  <a:close/>
                  <a:moveTo>
                    <a:pt x="3203" y="4386"/>
                  </a:moveTo>
                  <a:lnTo>
                    <a:pt x="3211" y="4386"/>
                  </a:lnTo>
                  <a:lnTo>
                    <a:pt x="3220" y="4395"/>
                  </a:lnTo>
                  <a:lnTo>
                    <a:pt x="3229" y="4395"/>
                  </a:lnTo>
                  <a:lnTo>
                    <a:pt x="3220" y="4386"/>
                  </a:lnTo>
                  <a:lnTo>
                    <a:pt x="3211" y="4378"/>
                  </a:lnTo>
                  <a:lnTo>
                    <a:pt x="3203" y="4378"/>
                  </a:lnTo>
                  <a:lnTo>
                    <a:pt x="3194" y="4378"/>
                  </a:lnTo>
                  <a:close/>
                  <a:moveTo>
                    <a:pt x="3529" y="5763"/>
                  </a:moveTo>
                  <a:lnTo>
                    <a:pt x="3520" y="5763"/>
                  </a:lnTo>
                  <a:lnTo>
                    <a:pt x="3520" y="5772"/>
                  </a:lnTo>
                  <a:lnTo>
                    <a:pt x="3529" y="5772"/>
                  </a:lnTo>
                  <a:lnTo>
                    <a:pt x="3538" y="5772"/>
                  </a:lnTo>
                  <a:close/>
                  <a:moveTo>
                    <a:pt x="2903" y="4051"/>
                  </a:moveTo>
                  <a:lnTo>
                    <a:pt x="2894" y="4042"/>
                  </a:lnTo>
                  <a:lnTo>
                    <a:pt x="2885" y="4033"/>
                  </a:lnTo>
                  <a:lnTo>
                    <a:pt x="2876" y="4033"/>
                  </a:lnTo>
                  <a:lnTo>
                    <a:pt x="2867" y="4033"/>
                  </a:lnTo>
                  <a:lnTo>
                    <a:pt x="2867" y="4042"/>
                  </a:lnTo>
                  <a:lnTo>
                    <a:pt x="2867" y="4051"/>
                  </a:lnTo>
                  <a:lnTo>
                    <a:pt x="2858" y="4060"/>
                  </a:lnTo>
                  <a:lnTo>
                    <a:pt x="2867" y="4069"/>
                  </a:lnTo>
                  <a:lnTo>
                    <a:pt x="2867" y="4077"/>
                  </a:lnTo>
                  <a:lnTo>
                    <a:pt x="2876" y="4086"/>
                  </a:lnTo>
                  <a:lnTo>
                    <a:pt x="2885" y="4095"/>
                  </a:lnTo>
                  <a:lnTo>
                    <a:pt x="2894" y="4086"/>
                  </a:lnTo>
                  <a:lnTo>
                    <a:pt x="2894" y="4095"/>
                  </a:lnTo>
                  <a:lnTo>
                    <a:pt x="2894" y="4104"/>
                  </a:lnTo>
                  <a:lnTo>
                    <a:pt x="2894" y="4113"/>
                  </a:lnTo>
                  <a:lnTo>
                    <a:pt x="2894" y="4122"/>
                  </a:lnTo>
                  <a:lnTo>
                    <a:pt x="2903" y="4130"/>
                  </a:lnTo>
                  <a:lnTo>
                    <a:pt x="2903" y="4122"/>
                  </a:lnTo>
                  <a:lnTo>
                    <a:pt x="2903" y="4113"/>
                  </a:lnTo>
                  <a:lnTo>
                    <a:pt x="2911" y="4104"/>
                  </a:lnTo>
                  <a:lnTo>
                    <a:pt x="2911" y="4095"/>
                  </a:lnTo>
                  <a:lnTo>
                    <a:pt x="2911" y="4069"/>
                  </a:lnTo>
                  <a:close/>
                  <a:moveTo>
                    <a:pt x="3573" y="5763"/>
                  </a:moveTo>
                  <a:lnTo>
                    <a:pt x="3564" y="5763"/>
                  </a:lnTo>
                  <a:lnTo>
                    <a:pt x="3547" y="5763"/>
                  </a:lnTo>
                  <a:lnTo>
                    <a:pt x="3547" y="5772"/>
                  </a:lnTo>
                  <a:close/>
                  <a:moveTo>
                    <a:pt x="3652" y="5860"/>
                  </a:moveTo>
                  <a:lnTo>
                    <a:pt x="3644" y="5851"/>
                  </a:lnTo>
                  <a:lnTo>
                    <a:pt x="3644" y="5843"/>
                  </a:lnTo>
                  <a:lnTo>
                    <a:pt x="3644" y="5851"/>
                  </a:lnTo>
                  <a:lnTo>
                    <a:pt x="3652" y="5860"/>
                  </a:lnTo>
                  <a:lnTo>
                    <a:pt x="3661" y="5860"/>
                  </a:lnTo>
                  <a:close/>
                  <a:moveTo>
                    <a:pt x="3573" y="5825"/>
                  </a:moveTo>
                  <a:lnTo>
                    <a:pt x="3564" y="5825"/>
                  </a:lnTo>
                  <a:lnTo>
                    <a:pt x="3573" y="5834"/>
                  </a:lnTo>
                  <a:lnTo>
                    <a:pt x="3582" y="5834"/>
                  </a:lnTo>
                  <a:close/>
                  <a:moveTo>
                    <a:pt x="3511" y="5763"/>
                  </a:moveTo>
                  <a:lnTo>
                    <a:pt x="3502" y="5763"/>
                  </a:lnTo>
                  <a:close/>
                  <a:moveTo>
                    <a:pt x="3273" y="4457"/>
                  </a:moveTo>
                  <a:lnTo>
                    <a:pt x="3282" y="4475"/>
                  </a:lnTo>
                  <a:lnTo>
                    <a:pt x="3282" y="4466"/>
                  </a:lnTo>
                  <a:lnTo>
                    <a:pt x="3282" y="4457"/>
                  </a:lnTo>
                  <a:close/>
                  <a:moveTo>
                    <a:pt x="3644" y="5816"/>
                  </a:moveTo>
                  <a:lnTo>
                    <a:pt x="3652" y="5816"/>
                  </a:lnTo>
                  <a:lnTo>
                    <a:pt x="3652" y="5825"/>
                  </a:lnTo>
                  <a:lnTo>
                    <a:pt x="3661" y="5825"/>
                  </a:lnTo>
                  <a:lnTo>
                    <a:pt x="3661" y="5816"/>
                  </a:lnTo>
                  <a:lnTo>
                    <a:pt x="3652" y="5816"/>
                  </a:lnTo>
                  <a:lnTo>
                    <a:pt x="3644" y="5807"/>
                  </a:lnTo>
                  <a:close/>
                  <a:moveTo>
                    <a:pt x="2585" y="3663"/>
                  </a:moveTo>
                  <a:lnTo>
                    <a:pt x="2585" y="3654"/>
                  </a:lnTo>
                  <a:lnTo>
                    <a:pt x="2576" y="3654"/>
                  </a:lnTo>
                  <a:lnTo>
                    <a:pt x="2567" y="3654"/>
                  </a:lnTo>
                  <a:lnTo>
                    <a:pt x="2558" y="3654"/>
                  </a:lnTo>
                  <a:lnTo>
                    <a:pt x="2532" y="3645"/>
                  </a:lnTo>
                  <a:lnTo>
                    <a:pt x="2514" y="3645"/>
                  </a:lnTo>
                  <a:lnTo>
                    <a:pt x="2506" y="3645"/>
                  </a:lnTo>
                  <a:lnTo>
                    <a:pt x="2514" y="3654"/>
                  </a:lnTo>
                  <a:lnTo>
                    <a:pt x="2523" y="3663"/>
                  </a:lnTo>
                  <a:lnTo>
                    <a:pt x="2532" y="3671"/>
                  </a:lnTo>
                  <a:lnTo>
                    <a:pt x="2532" y="3680"/>
                  </a:lnTo>
                  <a:lnTo>
                    <a:pt x="2532" y="3689"/>
                  </a:lnTo>
                  <a:lnTo>
                    <a:pt x="2532" y="3698"/>
                  </a:lnTo>
                  <a:lnTo>
                    <a:pt x="2532" y="3707"/>
                  </a:lnTo>
                  <a:lnTo>
                    <a:pt x="2541" y="3707"/>
                  </a:lnTo>
                  <a:lnTo>
                    <a:pt x="2550" y="3707"/>
                  </a:lnTo>
                  <a:lnTo>
                    <a:pt x="2567" y="3707"/>
                  </a:lnTo>
                  <a:lnTo>
                    <a:pt x="2567" y="3698"/>
                  </a:lnTo>
                  <a:lnTo>
                    <a:pt x="2567" y="3689"/>
                  </a:lnTo>
                  <a:lnTo>
                    <a:pt x="2567" y="3680"/>
                  </a:lnTo>
                  <a:lnTo>
                    <a:pt x="2558" y="3671"/>
                  </a:lnTo>
                  <a:lnTo>
                    <a:pt x="2567" y="3671"/>
                  </a:lnTo>
                  <a:lnTo>
                    <a:pt x="2567" y="3680"/>
                  </a:lnTo>
                  <a:lnTo>
                    <a:pt x="2576" y="3689"/>
                  </a:lnTo>
                  <a:lnTo>
                    <a:pt x="2585" y="3689"/>
                  </a:lnTo>
                  <a:lnTo>
                    <a:pt x="2585" y="3680"/>
                  </a:lnTo>
                  <a:lnTo>
                    <a:pt x="2585" y="3671"/>
                  </a:lnTo>
                  <a:close/>
                  <a:moveTo>
                    <a:pt x="2576" y="3866"/>
                  </a:moveTo>
                  <a:lnTo>
                    <a:pt x="2576" y="3874"/>
                  </a:lnTo>
                  <a:lnTo>
                    <a:pt x="2585" y="3883"/>
                  </a:lnTo>
                  <a:lnTo>
                    <a:pt x="2594" y="3883"/>
                  </a:lnTo>
                  <a:lnTo>
                    <a:pt x="2603" y="3892"/>
                  </a:lnTo>
                  <a:lnTo>
                    <a:pt x="2603" y="3883"/>
                  </a:lnTo>
                  <a:lnTo>
                    <a:pt x="2611" y="3874"/>
                  </a:lnTo>
                  <a:lnTo>
                    <a:pt x="2611" y="3866"/>
                  </a:lnTo>
                  <a:lnTo>
                    <a:pt x="2603" y="3866"/>
                  </a:lnTo>
                  <a:lnTo>
                    <a:pt x="2594" y="3866"/>
                  </a:lnTo>
                  <a:lnTo>
                    <a:pt x="2585" y="3857"/>
                  </a:lnTo>
                  <a:lnTo>
                    <a:pt x="2585" y="3848"/>
                  </a:lnTo>
                  <a:lnTo>
                    <a:pt x="2576" y="3839"/>
                  </a:lnTo>
                  <a:lnTo>
                    <a:pt x="2558" y="3822"/>
                  </a:lnTo>
                  <a:lnTo>
                    <a:pt x="2550" y="3830"/>
                  </a:lnTo>
                  <a:lnTo>
                    <a:pt x="2550" y="3839"/>
                  </a:lnTo>
                  <a:lnTo>
                    <a:pt x="2558" y="3839"/>
                  </a:lnTo>
                  <a:lnTo>
                    <a:pt x="2567" y="3848"/>
                  </a:lnTo>
                  <a:lnTo>
                    <a:pt x="2576" y="3857"/>
                  </a:lnTo>
                  <a:close/>
                  <a:moveTo>
                    <a:pt x="2726" y="3830"/>
                  </a:moveTo>
                  <a:lnTo>
                    <a:pt x="2726" y="3822"/>
                  </a:lnTo>
                  <a:lnTo>
                    <a:pt x="2726" y="3804"/>
                  </a:lnTo>
                  <a:lnTo>
                    <a:pt x="2735" y="3795"/>
                  </a:lnTo>
                  <a:lnTo>
                    <a:pt x="2735" y="3786"/>
                  </a:lnTo>
                  <a:lnTo>
                    <a:pt x="2726" y="3786"/>
                  </a:lnTo>
                  <a:lnTo>
                    <a:pt x="2717" y="3769"/>
                  </a:lnTo>
                  <a:lnTo>
                    <a:pt x="2708" y="3760"/>
                  </a:lnTo>
                  <a:lnTo>
                    <a:pt x="2682" y="3769"/>
                  </a:lnTo>
                  <a:lnTo>
                    <a:pt x="2682" y="3795"/>
                  </a:lnTo>
                  <a:lnTo>
                    <a:pt x="2673" y="3804"/>
                  </a:lnTo>
                  <a:lnTo>
                    <a:pt x="2664" y="3813"/>
                  </a:lnTo>
                  <a:lnTo>
                    <a:pt x="2664" y="3822"/>
                  </a:lnTo>
                  <a:lnTo>
                    <a:pt x="2664" y="3839"/>
                  </a:lnTo>
                  <a:lnTo>
                    <a:pt x="2673" y="3839"/>
                  </a:lnTo>
                  <a:lnTo>
                    <a:pt x="2682" y="3830"/>
                  </a:lnTo>
                  <a:lnTo>
                    <a:pt x="2691" y="3822"/>
                  </a:lnTo>
                  <a:lnTo>
                    <a:pt x="2691" y="3813"/>
                  </a:lnTo>
                  <a:lnTo>
                    <a:pt x="2700" y="3822"/>
                  </a:lnTo>
                  <a:lnTo>
                    <a:pt x="2691" y="3822"/>
                  </a:lnTo>
                  <a:lnTo>
                    <a:pt x="2700" y="3830"/>
                  </a:lnTo>
                  <a:lnTo>
                    <a:pt x="2708" y="3830"/>
                  </a:lnTo>
                  <a:lnTo>
                    <a:pt x="2708" y="3839"/>
                  </a:lnTo>
                  <a:lnTo>
                    <a:pt x="2717" y="3839"/>
                  </a:lnTo>
                  <a:close/>
                  <a:moveTo>
                    <a:pt x="2629" y="4042"/>
                  </a:moveTo>
                  <a:lnTo>
                    <a:pt x="2656" y="4033"/>
                  </a:lnTo>
                  <a:lnTo>
                    <a:pt x="2656" y="4024"/>
                  </a:lnTo>
                  <a:lnTo>
                    <a:pt x="2664" y="3998"/>
                  </a:lnTo>
                  <a:lnTo>
                    <a:pt x="2664" y="3989"/>
                  </a:lnTo>
                  <a:lnTo>
                    <a:pt x="2664" y="3972"/>
                  </a:lnTo>
                  <a:lnTo>
                    <a:pt x="2673" y="3963"/>
                  </a:lnTo>
                  <a:lnTo>
                    <a:pt x="2682" y="3954"/>
                  </a:lnTo>
                  <a:lnTo>
                    <a:pt x="2682" y="3945"/>
                  </a:lnTo>
                  <a:lnTo>
                    <a:pt x="2673" y="3945"/>
                  </a:lnTo>
                  <a:lnTo>
                    <a:pt x="2664" y="3954"/>
                  </a:lnTo>
                  <a:lnTo>
                    <a:pt x="2656" y="3954"/>
                  </a:lnTo>
                  <a:lnTo>
                    <a:pt x="2647" y="3954"/>
                  </a:lnTo>
                  <a:lnTo>
                    <a:pt x="2647" y="3963"/>
                  </a:lnTo>
                  <a:lnTo>
                    <a:pt x="2647" y="3972"/>
                  </a:lnTo>
                  <a:lnTo>
                    <a:pt x="2647" y="3980"/>
                  </a:lnTo>
                  <a:lnTo>
                    <a:pt x="2638" y="3989"/>
                  </a:lnTo>
                  <a:lnTo>
                    <a:pt x="2620" y="3998"/>
                  </a:lnTo>
                  <a:lnTo>
                    <a:pt x="2611" y="3998"/>
                  </a:lnTo>
                  <a:lnTo>
                    <a:pt x="2611" y="3989"/>
                  </a:lnTo>
                  <a:lnTo>
                    <a:pt x="2638" y="3980"/>
                  </a:lnTo>
                  <a:lnTo>
                    <a:pt x="2638" y="3972"/>
                  </a:lnTo>
                  <a:lnTo>
                    <a:pt x="2647" y="3972"/>
                  </a:lnTo>
                  <a:lnTo>
                    <a:pt x="2647" y="3963"/>
                  </a:lnTo>
                  <a:lnTo>
                    <a:pt x="2638" y="3954"/>
                  </a:lnTo>
                  <a:lnTo>
                    <a:pt x="2629" y="3945"/>
                  </a:lnTo>
                  <a:lnTo>
                    <a:pt x="2611" y="3954"/>
                  </a:lnTo>
                  <a:lnTo>
                    <a:pt x="2603" y="3945"/>
                  </a:lnTo>
                  <a:lnTo>
                    <a:pt x="2585" y="3945"/>
                  </a:lnTo>
                  <a:lnTo>
                    <a:pt x="2576" y="3945"/>
                  </a:lnTo>
                  <a:lnTo>
                    <a:pt x="2576" y="3963"/>
                  </a:lnTo>
                  <a:lnTo>
                    <a:pt x="2576" y="3972"/>
                  </a:lnTo>
                  <a:lnTo>
                    <a:pt x="2576" y="3980"/>
                  </a:lnTo>
                  <a:lnTo>
                    <a:pt x="2585" y="3998"/>
                  </a:lnTo>
                  <a:lnTo>
                    <a:pt x="2585" y="4007"/>
                  </a:lnTo>
                  <a:lnTo>
                    <a:pt x="2594" y="4007"/>
                  </a:lnTo>
                  <a:lnTo>
                    <a:pt x="2603" y="4016"/>
                  </a:lnTo>
                  <a:lnTo>
                    <a:pt x="2620" y="4024"/>
                  </a:lnTo>
                  <a:lnTo>
                    <a:pt x="2611" y="4024"/>
                  </a:lnTo>
                  <a:lnTo>
                    <a:pt x="2603" y="4024"/>
                  </a:lnTo>
                  <a:lnTo>
                    <a:pt x="2603" y="4033"/>
                  </a:lnTo>
                  <a:lnTo>
                    <a:pt x="2620" y="4042"/>
                  </a:lnTo>
                  <a:close/>
                  <a:moveTo>
                    <a:pt x="2700" y="3866"/>
                  </a:moveTo>
                  <a:lnTo>
                    <a:pt x="2708" y="3866"/>
                  </a:lnTo>
                  <a:lnTo>
                    <a:pt x="2700" y="3848"/>
                  </a:lnTo>
                  <a:lnTo>
                    <a:pt x="2700" y="3839"/>
                  </a:lnTo>
                  <a:lnTo>
                    <a:pt x="2691" y="3830"/>
                  </a:lnTo>
                  <a:lnTo>
                    <a:pt x="2682" y="3830"/>
                  </a:lnTo>
                  <a:lnTo>
                    <a:pt x="2682" y="3839"/>
                  </a:lnTo>
                  <a:lnTo>
                    <a:pt x="2691" y="3848"/>
                  </a:lnTo>
                  <a:lnTo>
                    <a:pt x="2682" y="3848"/>
                  </a:lnTo>
                  <a:lnTo>
                    <a:pt x="2682" y="3857"/>
                  </a:lnTo>
                  <a:lnTo>
                    <a:pt x="2691" y="3857"/>
                  </a:lnTo>
                  <a:lnTo>
                    <a:pt x="2700" y="3857"/>
                  </a:lnTo>
                  <a:lnTo>
                    <a:pt x="2691" y="3866"/>
                  </a:lnTo>
                  <a:close/>
                  <a:moveTo>
                    <a:pt x="2550" y="3813"/>
                  </a:moveTo>
                  <a:lnTo>
                    <a:pt x="2558" y="3804"/>
                  </a:lnTo>
                  <a:lnTo>
                    <a:pt x="2550" y="3804"/>
                  </a:lnTo>
                  <a:lnTo>
                    <a:pt x="2541" y="3804"/>
                  </a:lnTo>
                  <a:lnTo>
                    <a:pt x="2532" y="3804"/>
                  </a:lnTo>
                  <a:lnTo>
                    <a:pt x="2523" y="3804"/>
                  </a:lnTo>
                  <a:lnTo>
                    <a:pt x="2532" y="3813"/>
                  </a:lnTo>
                  <a:lnTo>
                    <a:pt x="2532" y="3830"/>
                  </a:lnTo>
                  <a:lnTo>
                    <a:pt x="2541" y="3822"/>
                  </a:lnTo>
                  <a:lnTo>
                    <a:pt x="2550" y="3822"/>
                  </a:lnTo>
                  <a:close/>
                  <a:moveTo>
                    <a:pt x="2576" y="3716"/>
                  </a:moveTo>
                  <a:lnTo>
                    <a:pt x="2585" y="3724"/>
                  </a:lnTo>
                  <a:lnTo>
                    <a:pt x="2594" y="3733"/>
                  </a:lnTo>
                  <a:lnTo>
                    <a:pt x="2603" y="3724"/>
                  </a:lnTo>
                  <a:lnTo>
                    <a:pt x="2603" y="3716"/>
                  </a:lnTo>
                  <a:lnTo>
                    <a:pt x="2611" y="3716"/>
                  </a:lnTo>
                  <a:lnTo>
                    <a:pt x="2611" y="3707"/>
                  </a:lnTo>
                  <a:lnTo>
                    <a:pt x="2603" y="3707"/>
                  </a:lnTo>
                  <a:lnTo>
                    <a:pt x="2585" y="3707"/>
                  </a:lnTo>
                  <a:close/>
                  <a:moveTo>
                    <a:pt x="2541" y="3751"/>
                  </a:moveTo>
                  <a:lnTo>
                    <a:pt x="2550" y="3751"/>
                  </a:lnTo>
                  <a:lnTo>
                    <a:pt x="2558" y="3751"/>
                  </a:lnTo>
                  <a:lnTo>
                    <a:pt x="2558" y="3760"/>
                  </a:lnTo>
                  <a:lnTo>
                    <a:pt x="2567" y="3760"/>
                  </a:lnTo>
                  <a:lnTo>
                    <a:pt x="2558" y="3769"/>
                  </a:lnTo>
                  <a:lnTo>
                    <a:pt x="2550" y="3777"/>
                  </a:lnTo>
                  <a:lnTo>
                    <a:pt x="2541" y="3769"/>
                  </a:lnTo>
                  <a:lnTo>
                    <a:pt x="2532" y="3777"/>
                  </a:lnTo>
                  <a:lnTo>
                    <a:pt x="2541" y="3786"/>
                  </a:lnTo>
                  <a:lnTo>
                    <a:pt x="2550" y="3786"/>
                  </a:lnTo>
                  <a:lnTo>
                    <a:pt x="2558" y="3795"/>
                  </a:lnTo>
                  <a:lnTo>
                    <a:pt x="2567" y="3795"/>
                  </a:lnTo>
                  <a:lnTo>
                    <a:pt x="2576" y="3795"/>
                  </a:lnTo>
                  <a:lnTo>
                    <a:pt x="2576" y="3804"/>
                  </a:lnTo>
                  <a:lnTo>
                    <a:pt x="2585" y="3813"/>
                  </a:lnTo>
                  <a:lnTo>
                    <a:pt x="2585" y="3822"/>
                  </a:lnTo>
                  <a:lnTo>
                    <a:pt x="2576" y="3822"/>
                  </a:lnTo>
                  <a:lnTo>
                    <a:pt x="2576" y="3830"/>
                  </a:lnTo>
                  <a:lnTo>
                    <a:pt x="2585" y="3839"/>
                  </a:lnTo>
                  <a:lnTo>
                    <a:pt x="2594" y="3857"/>
                  </a:lnTo>
                  <a:lnTo>
                    <a:pt x="2603" y="3857"/>
                  </a:lnTo>
                  <a:lnTo>
                    <a:pt x="2603" y="3848"/>
                  </a:lnTo>
                  <a:lnTo>
                    <a:pt x="2603" y="3839"/>
                  </a:lnTo>
                  <a:lnTo>
                    <a:pt x="2611" y="3848"/>
                  </a:lnTo>
                  <a:lnTo>
                    <a:pt x="2611" y="3857"/>
                  </a:lnTo>
                  <a:lnTo>
                    <a:pt x="2611" y="3866"/>
                  </a:lnTo>
                  <a:lnTo>
                    <a:pt x="2620" y="3866"/>
                  </a:lnTo>
                  <a:lnTo>
                    <a:pt x="2629" y="3866"/>
                  </a:lnTo>
                  <a:lnTo>
                    <a:pt x="2638" y="3874"/>
                  </a:lnTo>
                  <a:lnTo>
                    <a:pt x="2638" y="3883"/>
                  </a:lnTo>
                  <a:lnTo>
                    <a:pt x="2647" y="3883"/>
                  </a:lnTo>
                  <a:lnTo>
                    <a:pt x="2656" y="3883"/>
                  </a:lnTo>
                  <a:lnTo>
                    <a:pt x="2656" y="3874"/>
                  </a:lnTo>
                  <a:lnTo>
                    <a:pt x="2656" y="3866"/>
                  </a:lnTo>
                  <a:lnTo>
                    <a:pt x="2656" y="3857"/>
                  </a:lnTo>
                  <a:lnTo>
                    <a:pt x="2656" y="3839"/>
                  </a:lnTo>
                  <a:lnTo>
                    <a:pt x="2656" y="3830"/>
                  </a:lnTo>
                  <a:lnTo>
                    <a:pt x="2647" y="3839"/>
                  </a:lnTo>
                  <a:lnTo>
                    <a:pt x="2638" y="3830"/>
                  </a:lnTo>
                  <a:lnTo>
                    <a:pt x="2647" y="3830"/>
                  </a:lnTo>
                  <a:lnTo>
                    <a:pt x="2647" y="3822"/>
                  </a:lnTo>
                  <a:lnTo>
                    <a:pt x="2638" y="3822"/>
                  </a:lnTo>
                  <a:lnTo>
                    <a:pt x="2638" y="3813"/>
                  </a:lnTo>
                  <a:lnTo>
                    <a:pt x="2620" y="3804"/>
                  </a:lnTo>
                  <a:lnTo>
                    <a:pt x="2611" y="3813"/>
                  </a:lnTo>
                  <a:lnTo>
                    <a:pt x="2611" y="3804"/>
                  </a:lnTo>
                  <a:lnTo>
                    <a:pt x="2611" y="3795"/>
                  </a:lnTo>
                  <a:lnTo>
                    <a:pt x="2620" y="3795"/>
                  </a:lnTo>
                  <a:lnTo>
                    <a:pt x="2629" y="3804"/>
                  </a:lnTo>
                  <a:lnTo>
                    <a:pt x="2638" y="3813"/>
                  </a:lnTo>
                  <a:lnTo>
                    <a:pt x="2638" y="3804"/>
                  </a:lnTo>
                  <a:lnTo>
                    <a:pt x="2629" y="3804"/>
                  </a:lnTo>
                  <a:lnTo>
                    <a:pt x="2620" y="3786"/>
                  </a:lnTo>
                  <a:lnTo>
                    <a:pt x="2620" y="3777"/>
                  </a:lnTo>
                  <a:lnTo>
                    <a:pt x="2611" y="3769"/>
                  </a:lnTo>
                  <a:lnTo>
                    <a:pt x="2603" y="3751"/>
                  </a:lnTo>
                  <a:lnTo>
                    <a:pt x="2576" y="3742"/>
                  </a:lnTo>
                  <a:lnTo>
                    <a:pt x="2576" y="3733"/>
                  </a:lnTo>
                  <a:lnTo>
                    <a:pt x="2567" y="3724"/>
                  </a:lnTo>
                  <a:lnTo>
                    <a:pt x="2550" y="3724"/>
                  </a:lnTo>
                  <a:lnTo>
                    <a:pt x="2541" y="3716"/>
                  </a:lnTo>
                  <a:lnTo>
                    <a:pt x="2541" y="3724"/>
                  </a:lnTo>
                  <a:lnTo>
                    <a:pt x="2541" y="3733"/>
                  </a:lnTo>
                  <a:lnTo>
                    <a:pt x="2541" y="3742"/>
                  </a:lnTo>
                  <a:lnTo>
                    <a:pt x="2523" y="3751"/>
                  </a:lnTo>
                  <a:lnTo>
                    <a:pt x="2523" y="3760"/>
                  </a:lnTo>
                  <a:lnTo>
                    <a:pt x="2532" y="3760"/>
                  </a:lnTo>
                  <a:close/>
                  <a:moveTo>
                    <a:pt x="2523" y="3680"/>
                  </a:moveTo>
                  <a:lnTo>
                    <a:pt x="2523" y="3671"/>
                  </a:lnTo>
                  <a:lnTo>
                    <a:pt x="2514" y="3671"/>
                  </a:lnTo>
                  <a:lnTo>
                    <a:pt x="2506" y="3663"/>
                  </a:lnTo>
                  <a:lnTo>
                    <a:pt x="2497" y="3654"/>
                  </a:lnTo>
                  <a:lnTo>
                    <a:pt x="2488" y="3663"/>
                  </a:lnTo>
                  <a:lnTo>
                    <a:pt x="2479" y="3671"/>
                  </a:lnTo>
                  <a:lnTo>
                    <a:pt x="2479" y="3680"/>
                  </a:lnTo>
                  <a:lnTo>
                    <a:pt x="2488" y="3689"/>
                  </a:lnTo>
                  <a:lnTo>
                    <a:pt x="2488" y="3698"/>
                  </a:lnTo>
                  <a:lnTo>
                    <a:pt x="2497" y="3698"/>
                  </a:lnTo>
                  <a:lnTo>
                    <a:pt x="2506" y="3707"/>
                  </a:lnTo>
                  <a:lnTo>
                    <a:pt x="2497" y="3716"/>
                  </a:lnTo>
                  <a:lnTo>
                    <a:pt x="2488" y="3733"/>
                  </a:lnTo>
                  <a:lnTo>
                    <a:pt x="2497" y="3751"/>
                  </a:lnTo>
                  <a:lnTo>
                    <a:pt x="2506" y="3742"/>
                  </a:lnTo>
                  <a:lnTo>
                    <a:pt x="2514" y="3742"/>
                  </a:lnTo>
                  <a:lnTo>
                    <a:pt x="2514" y="3733"/>
                  </a:lnTo>
                  <a:lnTo>
                    <a:pt x="2514" y="3724"/>
                  </a:lnTo>
                  <a:lnTo>
                    <a:pt x="2514" y="3716"/>
                  </a:lnTo>
                  <a:lnTo>
                    <a:pt x="2514" y="3707"/>
                  </a:lnTo>
                  <a:lnTo>
                    <a:pt x="2514" y="3698"/>
                  </a:lnTo>
                  <a:lnTo>
                    <a:pt x="2523" y="3689"/>
                  </a:lnTo>
                  <a:close/>
                  <a:moveTo>
                    <a:pt x="2770" y="3972"/>
                  </a:moveTo>
                  <a:lnTo>
                    <a:pt x="2779" y="3972"/>
                  </a:lnTo>
                  <a:lnTo>
                    <a:pt x="2779" y="3963"/>
                  </a:lnTo>
                  <a:lnTo>
                    <a:pt x="2788" y="3963"/>
                  </a:lnTo>
                  <a:lnTo>
                    <a:pt x="2779" y="3954"/>
                  </a:lnTo>
                  <a:lnTo>
                    <a:pt x="2770" y="3954"/>
                  </a:lnTo>
                  <a:lnTo>
                    <a:pt x="2761" y="3954"/>
                  </a:lnTo>
                  <a:lnTo>
                    <a:pt x="2753" y="3963"/>
                  </a:lnTo>
                  <a:lnTo>
                    <a:pt x="2753" y="3972"/>
                  </a:lnTo>
                  <a:lnTo>
                    <a:pt x="2753" y="3963"/>
                  </a:lnTo>
                  <a:lnTo>
                    <a:pt x="2761" y="3963"/>
                  </a:lnTo>
                  <a:lnTo>
                    <a:pt x="2761" y="3972"/>
                  </a:lnTo>
                  <a:close/>
                  <a:moveTo>
                    <a:pt x="2717" y="4130"/>
                  </a:moveTo>
                  <a:lnTo>
                    <a:pt x="2708" y="4130"/>
                  </a:lnTo>
                  <a:lnTo>
                    <a:pt x="2700" y="4130"/>
                  </a:lnTo>
                  <a:lnTo>
                    <a:pt x="2708" y="4122"/>
                  </a:lnTo>
                  <a:lnTo>
                    <a:pt x="2708" y="4113"/>
                  </a:lnTo>
                  <a:lnTo>
                    <a:pt x="2700" y="4122"/>
                  </a:lnTo>
                  <a:lnTo>
                    <a:pt x="2700" y="4113"/>
                  </a:lnTo>
                  <a:lnTo>
                    <a:pt x="2682" y="4104"/>
                  </a:lnTo>
                  <a:lnTo>
                    <a:pt x="2682" y="4095"/>
                  </a:lnTo>
                  <a:lnTo>
                    <a:pt x="2691" y="4086"/>
                  </a:lnTo>
                  <a:lnTo>
                    <a:pt x="2682" y="4086"/>
                  </a:lnTo>
                  <a:lnTo>
                    <a:pt x="2673" y="4086"/>
                  </a:lnTo>
                  <a:lnTo>
                    <a:pt x="2664" y="4077"/>
                  </a:lnTo>
                  <a:lnTo>
                    <a:pt x="2664" y="4069"/>
                  </a:lnTo>
                  <a:lnTo>
                    <a:pt x="2656" y="4069"/>
                  </a:lnTo>
                  <a:lnTo>
                    <a:pt x="2664" y="4069"/>
                  </a:lnTo>
                  <a:lnTo>
                    <a:pt x="2673" y="4069"/>
                  </a:lnTo>
                  <a:lnTo>
                    <a:pt x="2682" y="4069"/>
                  </a:lnTo>
                  <a:lnTo>
                    <a:pt x="2682" y="4060"/>
                  </a:lnTo>
                  <a:lnTo>
                    <a:pt x="2682" y="4051"/>
                  </a:lnTo>
                  <a:lnTo>
                    <a:pt x="2673" y="4042"/>
                  </a:lnTo>
                  <a:lnTo>
                    <a:pt x="2664" y="4033"/>
                  </a:lnTo>
                  <a:lnTo>
                    <a:pt x="2656" y="4042"/>
                  </a:lnTo>
                  <a:lnTo>
                    <a:pt x="2647" y="4042"/>
                  </a:lnTo>
                  <a:lnTo>
                    <a:pt x="2629" y="4042"/>
                  </a:lnTo>
                  <a:lnTo>
                    <a:pt x="2620" y="4042"/>
                  </a:lnTo>
                  <a:lnTo>
                    <a:pt x="2611" y="4042"/>
                  </a:lnTo>
                  <a:lnTo>
                    <a:pt x="2620" y="4051"/>
                  </a:lnTo>
                  <a:lnTo>
                    <a:pt x="2647" y="4060"/>
                  </a:lnTo>
                  <a:lnTo>
                    <a:pt x="2638" y="4069"/>
                  </a:lnTo>
                  <a:lnTo>
                    <a:pt x="2647" y="4077"/>
                  </a:lnTo>
                  <a:lnTo>
                    <a:pt x="2647" y="4086"/>
                  </a:lnTo>
                  <a:lnTo>
                    <a:pt x="2664" y="4104"/>
                  </a:lnTo>
                  <a:lnTo>
                    <a:pt x="2682" y="4113"/>
                  </a:lnTo>
                  <a:lnTo>
                    <a:pt x="2691" y="4122"/>
                  </a:lnTo>
                  <a:lnTo>
                    <a:pt x="2691" y="4130"/>
                  </a:lnTo>
                  <a:lnTo>
                    <a:pt x="2700" y="4130"/>
                  </a:lnTo>
                  <a:lnTo>
                    <a:pt x="2708" y="4139"/>
                  </a:lnTo>
                  <a:lnTo>
                    <a:pt x="2717" y="4139"/>
                  </a:lnTo>
                  <a:close/>
                  <a:moveTo>
                    <a:pt x="2841" y="4042"/>
                  </a:moveTo>
                  <a:lnTo>
                    <a:pt x="2841" y="4051"/>
                  </a:lnTo>
                  <a:lnTo>
                    <a:pt x="2841" y="4060"/>
                  </a:lnTo>
                  <a:lnTo>
                    <a:pt x="2850" y="4060"/>
                  </a:lnTo>
                  <a:lnTo>
                    <a:pt x="2850" y="4051"/>
                  </a:lnTo>
                  <a:close/>
                  <a:moveTo>
                    <a:pt x="2858" y="4051"/>
                  </a:moveTo>
                  <a:lnTo>
                    <a:pt x="2858" y="4033"/>
                  </a:lnTo>
                  <a:lnTo>
                    <a:pt x="2858" y="4024"/>
                  </a:lnTo>
                  <a:lnTo>
                    <a:pt x="2858" y="4033"/>
                  </a:lnTo>
                  <a:lnTo>
                    <a:pt x="2850" y="4042"/>
                  </a:lnTo>
                  <a:lnTo>
                    <a:pt x="2850" y="4051"/>
                  </a:lnTo>
                  <a:close/>
                  <a:moveTo>
                    <a:pt x="2797" y="4016"/>
                  </a:moveTo>
                  <a:lnTo>
                    <a:pt x="2788" y="4007"/>
                  </a:lnTo>
                  <a:lnTo>
                    <a:pt x="2770" y="3998"/>
                  </a:lnTo>
                  <a:lnTo>
                    <a:pt x="2761" y="4007"/>
                  </a:lnTo>
                  <a:lnTo>
                    <a:pt x="2770" y="4007"/>
                  </a:lnTo>
                  <a:lnTo>
                    <a:pt x="2779" y="4016"/>
                  </a:lnTo>
                  <a:lnTo>
                    <a:pt x="2788" y="4024"/>
                  </a:lnTo>
                  <a:lnTo>
                    <a:pt x="2806" y="4042"/>
                  </a:lnTo>
                  <a:lnTo>
                    <a:pt x="2814" y="4042"/>
                  </a:lnTo>
                  <a:lnTo>
                    <a:pt x="2814" y="4033"/>
                  </a:lnTo>
                  <a:lnTo>
                    <a:pt x="2823" y="4033"/>
                  </a:lnTo>
                  <a:lnTo>
                    <a:pt x="2806" y="4016"/>
                  </a:lnTo>
                  <a:close/>
                  <a:moveTo>
                    <a:pt x="2876" y="4095"/>
                  </a:moveTo>
                  <a:lnTo>
                    <a:pt x="2858" y="4077"/>
                  </a:lnTo>
                  <a:lnTo>
                    <a:pt x="2858" y="4086"/>
                  </a:lnTo>
                  <a:lnTo>
                    <a:pt x="2867" y="4095"/>
                  </a:lnTo>
                  <a:lnTo>
                    <a:pt x="2867" y="4104"/>
                  </a:lnTo>
                  <a:lnTo>
                    <a:pt x="2876" y="4113"/>
                  </a:lnTo>
                  <a:lnTo>
                    <a:pt x="2876" y="4104"/>
                  </a:lnTo>
                  <a:close/>
                  <a:moveTo>
                    <a:pt x="2717" y="4148"/>
                  </a:moveTo>
                  <a:lnTo>
                    <a:pt x="2717" y="4157"/>
                  </a:lnTo>
                  <a:lnTo>
                    <a:pt x="2726" y="4157"/>
                  </a:lnTo>
                  <a:lnTo>
                    <a:pt x="2726" y="4166"/>
                  </a:lnTo>
                  <a:lnTo>
                    <a:pt x="2726" y="4148"/>
                  </a:lnTo>
                  <a:lnTo>
                    <a:pt x="2717" y="4139"/>
                  </a:lnTo>
                  <a:close/>
                  <a:moveTo>
                    <a:pt x="2744" y="3892"/>
                  </a:moveTo>
                  <a:lnTo>
                    <a:pt x="2735" y="3892"/>
                  </a:lnTo>
                  <a:lnTo>
                    <a:pt x="2735" y="3901"/>
                  </a:lnTo>
                  <a:lnTo>
                    <a:pt x="2735" y="3910"/>
                  </a:lnTo>
                  <a:lnTo>
                    <a:pt x="2744" y="3901"/>
                  </a:lnTo>
                  <a:close/>
                  <a:moveTo>
                    <a:pt x="8655" y="8216"/>
                  </a:moveTo>
                  <a:lnTo>
                    <a:pt x="8664" y="8207"/>
                  </a:lnTo>
                  <a:lnTo>
                    <a:pt x="8655" y="8198"/>
                  </a:lnTo>
                  <a:lnTo>
                    <a:pt x="8655" y="8189"/>
                  </a:lnTo>
                  <a:lnTo>
                    <a:pt x="8646" y="8198"/>
                  </a:lnTo>
                  <a:lnTo>
                    <a:pt x="8646" y="8207"/>
                  </a:lnTo>
                  <a:lnTo>
                    <a:pt x="8646" y="8216"/>
                  </a:lnTo>
                  <a:close/>
                  <a:moveTo>
                    <a:pt x="24799" y="9751"/>
                  </a:moveTo>
                  <a:lnTo>
                    <a:pt x="24808" y="9751"/>
                  </a:lnTo>
                  <a:lnTo>
                    <a:pt x="24799" y="9743"/>
                  </a:lnTo>
                  <a:lnTo>
                    <a:pt x="24790" y="9734"/>
                  </a:lnTo>
                  <a:lnTo>
                    <a:pt x="24790" y="9725"/>
                  </a:lnTo>
                  <a:lnTo>
                    <a:pt x="24781" y="9725"/>
                  </a:lnTo>
                  <a:lnTo>
                    <a:pt x="24781" y="9734"/>
                  </a:lnTo>
                  <a:lnTo>
                    <a:pt x="24781" y="9743"/>
                  </a:lnTo>
                  <a:close/>
                  <a:moveTo>
                    <a:pt x="24975" y="7836"/>
                  </a:moveTo>
                  <a:lnTo>
                    <a:pt x="24984" y="7845"/>
                  </a:lnTo>
                  <a:lnTo>
                    <a:pt x="24975" y="7836"/>
                  </a:lnTo>
                  <a:lnTo>
                    <a:pt x="24966" y="7836"/>
                  </a:lnTo>
                  <a:close/>
                  <a:moveTo>
                    <a:pt x="25081" y="4060"/>
                  </a:moveTo>
                  <a:lnTo>
                    <a:pt x="25072" y="4060"/>
                  </a:lnTo>
                  <a:lnTo>
                    <a:pt x="25063" y="4060"/>
                  </a:lnTo>
                  <a:lnTo>
                    <a:pt x="25055" y="4060"/>
                  </a:lnTo>
                  <a:lnTo>
                    <a:pt x="25037" y="4069"/>
                  </a:lnTo>
                  <a:lnTo>
                    <a:pt x="25046" y="4069"/>
                  </a:lnTo>
                  <a:lnTo>
                    <a:pt x="25055" y="4069"/>
                  </a:lnTo>
                  <a:lnTo>
                    <a:pt x="25055" y="4077"/>
                  </a:lnTo>
                  <a:lnTo>
                    <a:pt x="25072" y="4086"/>
                  </a:lnTo>
                  <a:lnTo>
                    <a:pt x="25081" y="4077"/>
                  </a:lnTo>
                  <a:lnTo>
                    <a:pt x="25090" y="4077"/>
                  </a:lnTo>
                  <a:lnTo>
                    <a:pt x="25099" y="4077"/>
                  </a:lnTo>
                  <a:lnTo>
                    <a:pt x="25107" y="4077"/>
                  </a:lnTo>
                  <a:lnTo>
                    <a:pt x="25090" y="4069"/>
                  </a:lnTo>
                  <a:close/>
                  <a:moveTo>
                    <a:pt x="24843" y="9848"/>
                  </a:moveTo>
                  <a:lnTo>
                    <a:pt x="24843" y="9840"/>
                  </a:lnTo>
                  <a:lnTo>
                    <a:pt x="24834" y="9840"/>
                  </a:lnTo>
                  <a:lnTo>
                    <a:pt x="24834" y="9848"/>
                  </a:lnTo>
                  <a:close/>
                  <a:moveTo>
                    <a:pt x="24816" y="8410"/>
                  </a:moveTo>
                  <a:lnTo>
                    <a:pt x="24816" y="8419"/>
                  </a:lnTo>
                  <a:close/>
                  <a:moveTo>
                    <a:pt x="24799" y="9795"/>
                  </a:moveTo>
                  <a:lnTo>
                    <a:pt x="24808" y="9804"/>
                  </a:lnTo>
                  <a:lnTo>
                    <a:pt x="24816" y="9804"/>
                  </a:lnTo>
                  <a:lnTo>
                    <a:pt x="24816" y="9795"/>
                  </a:lnTo>
                  <a:lnTo>
                    <a:pt x="24808" y="9787"/>
                  </a:lnTo>
                  <a:lnTo>
                    <a:pt x="24808" y="9778"/>
                  </a:lnTo>
                  <a:lnTo>
                    <a:pt x="24799" y="9778"/>
                  </a:lnTo>
                  <a:close/>
                  <a:moveTo>
                    <a:pt x="24825" y="7916"/>
                  </a:moveTo>
                  <a:lnTo>
                    <a:pt x="24834" y="7916"/>
                  </a:lnTo>
                  <a:lnTo>
                    <a:pt x="24825" y="7916"/>
                  </a:lnTo>
                  <a:lnTo>
                    <a:pt x="24825" y="7924"/>
                  </a:lnTo>
                  <a:close/>
                  <a:moveTo>
                    <a:pt x="25116" y="4122"/>
                  </a:moveTo>
                  <a:lnTo>
                    <a:pt x="25125" y="4122"/>
                  </a:lnTo>
                  <a:lnTo>
                    <a:pt x="25125" y="4113"/>
                  </a:lnTo>
                  <a:lnTo>
                    <a:pt x="25134" y="4113"/>
                  </a:lnTo>
                  <a:lnTo>
                    <a:pt x="25125" y="4113"/>
                  </a:lnTo>
                  <a:lnTo>
                    <a:pt x="25116" y="4113"/>
                  </a:lnTo>
                  <a:lnTo>
                    <a:pt x="25107" y="4113"/>
                  </a:lnTo>
                  <a:lnTo>
                    <a:pt x="25107" y="4122"/>
                  </a:lnTo>
                  <a:close/>
                  <a:moveTo>
                    <a:pt x="24940" y="7836"/>
                  </a:moveTo>
                  <a:lnTo>
                    <a:pt x="24949" y="7836"/>
                  </a:lnTo>
                  <a:lnTo>
                    <a:pt x="24957" y="7836"/>
                  </a:lnTo>
                  <a:lnTo>
                    <a:pt x="24957" y="7827"/>
                  </a:lnTo>
                  <a:lnTo>
                    <a:pt x="24940" y="7836"/>
                  </a:lnTo>
                  <a:lnTo>
                    <a:pt x="24931" y="7827"/>
                  </a:lnTo>
                  <a:close/>
                  <a:moveTo>
                    <a:pt x="25143" y="11508"/>
                  </a:moveTo>
                  <a:lnTo>
                    <a:pt x="25134" y="11508"/>
                  </a:lnTo>
                  <a:lnTo>
                    <a:pt x="25134" y="11516"/>
                  </a:lnTo>
                  <a:lnTo>
                    <a:pt x="25134" y="11525"/>
                  </a:lnTo>
                  <a:lnTo>
                    <a:pt x="25143" y="11516"/>
                  </a:lnTo>
                  <a:close/>
                  <a:moveTo>
                    <a:pt x="25055" y="8127"/>
                  </a:moveTo>
                  <a:lnTo>
                    <a:pt x="25063" y="8127"/>
                  </a:lnTo>
                  <a:close/>
                  <a:moveTo>
                    <a:pt x="25469" y="11243"/>
                  </a:moveTo>
                  <a:lnTo>
                    <a:pt x="25460" y="11234"/>
                  </a:lnTo>
                  <a:lnTo>
                    <a:pt x="25443" y="11234"/>
                  </a:lnTo>
                  <a:lnTo>
                    <a:pt x="25434" y="11234"/>
                  </a:lnTo>
                  <a:lnTo>
                    <a:pt x="25425" y="11243"/>
                  </a:lnTo>
                  <a:lnTo>
                    <a:pt x="25416" y="11252"/>
                  </a:lnTo>
                  <a:lnTo>
                    <a:pt x="25407" y="11261"/>
                  </a:lnTo>
                  <a:lnTo>
                    <a:pt x="25399" y="11269"/>
                  </a:lnTo>
                  <a:lnTo>
                    <a:pt x="25390" y="11269"/>
                  </a:lnTo>
                  <a:lnTo>
                    <a:pt x="25381" y="11269"/>
                  </a:lnTo>
                  <a:lnTo>
                    <a:pt x="25354" y="11261"/>
                  </a:lnTo>
                  <a:lnTo>
                    <a:pt x="25337" y="11261"/>
                  </a:lnTo>
                  <a:lnTo>
                    <a:pt x="25319" y="11243"/>
                  </a:lnTo>
                  <a:lnTo>
                    <a:pt x="25310" y="11243"/>
                  </a:lnTo>
                  <a:lnTo>
                    <a:pt x="25302" y="11243"/>
                  </a:lnTo>
                  <a:lnTo>
                    <a:pt x="25302" y="11234"/>
                  </a:lnTo>
                  <a:lnTo>
                    <a:pt x="25293" y="11234"/>
                  </a:lnTo>
                  <a:lnTo>
                    <a:pt x="25302" y="11234"/>
                  </a:lnTo>
                  <a:lnTo>
                    <a:pt x="25293" y="11225"/>
                  </a:lnTo>
                  <a:lnTo>
                    <a:pt x="25293" y="11208"/>
                  </a:lnTo>
                  <a:lnTo>
                    <a:pt x="25284" y="11181"/>
                  </a:lnTo>
                  <a:lnTo>
                    <a:pt x="25284" y="11172"/>
                  </a:lnTo>
                  <a:lnTo>
                    <a:pt x="25275" y="11172"/>
                  </a:lnTo>
                  <a:lnTo>
                    <a:pt x="25275" y="11163"/>
                  </a:lnTo>
                  <a:lnTo>
                    <a:pt x="25257" y="11155"/>
                  </a:lnTo>
                  <a:lnTo>
                    <a:pt x="25257" y="11146"/>
                  </a:lnTo>
                  <a:lnTo>
                    <a:pt x="25249" y="11146"/>
                  </a:lnTo>
                  <a:lnTo>
                    <a:pt x="25249" y="11155"/>
                  </a:lnTo>
                  <a:lnTo>
                    <a:pt x="25257" y="11155"/>
                  </a:lnTo>
                  <a:lnTo>
                    <a:pt x="25257" y="11163"/>
                  </a:lnTo>
                  <a:lnTo>
                    <a:pt x="25257" y="11172"/>
                  </a:lnTo>
                  <a:lnTo>
                    <a:pt x="25257" y="11190"/>
                  </a:lnTo>
                  <a:lnTo>
                    <a:pt x="25266" y="11199"/>
                  </a:lnTo>
                  <a:lnTo>
                    <a:pt x="25257" y="11208"/>
                  </a:lnTo>
                  <a:lnTo>
                    <a:pt x="25249" y="11208"/>
                  </a:lnTo>
                  <a:lnTo>
                    <a:pt x="25249" y="11199"/>
                  </a:lnTo>
                  <a:lnTo>
                    <a:pt x="25249" y="11190"/>
                  </a:lnTo>
                  <a:lnTo>
                    <a:pt x="25240" y="11190"/>
                  </a:lnTo>
                  <a:lnTo>
                    <a:pt x="25240" y="11181"/>
                  </a:lnTo>
                  <a:lnTo>
                    <a:pt x="25222" y="11181"/>
                  </a:lnTo>
                  <a:lnTo>
                    <a:pt x="25213" y="11172"/>
                  </a:lnTo>
                  <a:lnTo>
                    <a:pt x="25213" y="11181"/>
                  </a:lnTo>
                  <a:lnTo>
                    <a:pt x="25213" y="11172"/>
                  </a:lnTo>
                  <a:lnTo>
                    <a:pt x="25205" y="11172"/>
                  </a:lnTo>
                  <a:lnTo>
                    <a:pt x="25205" y="11163"/>
                  </a:lnTo>
                  <a:lnTo>
                    <a:pt x="25205" y="11155"/>
                  </a:lnTo>
                  <a:lnTo>
                    <a:pt x="25205" y="11146"/>
                  </a:lnTo>
                  <a:lnTo>
                    <a:pt x="25205" y="11137"/>
                  </a:lnTo>
                  <a:lnTo>
                    <a:pt x="25205" y="11128"/>
                  </a:lnTo>
                  <a:lnTo>
                    <a:pt x="25196" y="11110"/>
                  </a:lnTo>
                  <a:lnTo>
                    <a:pt x="25187" y="11102"/>
                  </a:lnTo>
                  <a:lnTo>
                    <a:pt x="25187" y="11093"/>
                  </a:lnTo>
                  <a:lnTo>
                    <a:pt x="25178" y="11084"/>
                  </a:lnTo>
                  <a:lnTo>
                    <a:pt x="25187" y="11084"/>
                  </a:lnTo>
                  <a:lnTo>
                    <a:pt x="25187" y="11075"/>
                  </a:lnTo>
                  <a:lnTo>
                    <a:pt x="25187" y="11066"/>
                  </a:lnTo>
                  <a:lnTo>
                    <a:pt x="25178" y="11058"/>
                  </a:lnTo>
                  <a:lnTo>
                    <a:pt x="25178" y="11049"/>
                  </a:lnTo>
                  <a:lnTo>
                    <a:pt x="25169" y="11040"/>
                  </a:lnTo>
                  <a:lnTo>
                    <a:pt x="25160" y="11049"/>
                  </a:lnTo>
                  <a:lnTo>
                    <a:pt x="25160" y="11040"/>
                  </a:lnTo>
                  <a:lnTo>
                    <a:pt x="25152" y="11040"/>
                  </a:lnTo>
                  <a:lnTo>
                    <a:pt x="25160" y="11031"/>
                  </a:lnTo>
                  <a:lnTo>
                    <a:pt x="25152" y="11031"/>
                  </a:lnTo>
                  <a:lnTo>
                    <a:pt x="25143" y="11022"/>
                  </a:lnTo>
                  <a:lnTo>
                    <a:pt x="25134" y="11022"/>
                  </a:lnTo>
                  <a:lnTo>
                    <a:pt x="25125" y="11022"/>
                  </a:lnTo>
                  <a:lnTo>
                    <a:pt x="25107" y="11013"/>
                  </a:lnTo>
                  <a:lnTo>
                    <a:pt x="25107" y="11005"/>
                  </a:lnTo>
                  <a:lnTo>
                    <a:pt x="25099" y="11013"/>
                  </a:lnTo>
                  <a:lnTo>
                    <a:pt x="25090" y="11013"/>
                  </a:lnTo>
                  <a:lnTo>
                    <a:pt x="25090" y="11005"/>
                  </a:lnTo>
                  <a:lnTo>
                    <a:pt x="25081" y="10987"/>
                  </a:lnTo>
                  <a:lnTo>
                    <a:pt x="25072" y="10987"/>
                  </a:lnTo>
                  <a:lnTo>
                    <a:pt x="25072" y="10978"/>
                  </a:lnTo>
                  <a:lnTo>
                    <a:pt x="25081" y="10969"/>
                  </a:lnTo>
                  <a:lnTo>
                    <a:pt x="25063" y="10969"/>
                  </a:lnTo>
                  <a:lnTo>
                    <a:pt x="25055" y="10978"/>
                  </a:lnTo>
                  <a:lnTo>
                    <a:pt x="25063" y="10987"/>
                  </a:lnTo>
                  <a:lnTo>
                    <a:pt x="25072" y="11005"/>
                  </a:lnTo>
                  <a:lnTo>
                    <a:pt x="25081" y="11013"/>
                  </a:lnTo>
                  <a:lnTo>
                    <a:pt x="25090" y="11022"/>
                  </a:lnTo>
                  <a:lnTo>
                    <a:pt x="25090" y="11031"/>
                  </a:lnTo>
                  <a:lnTo>
                    <a:pt x="25081" y="11040"/>
                  </a:lnTo>
                  <a:lnTo>
                    <a:pt x="25090" y="11040"/>
                  </a:lnTo>
                  <a:lnTo>
                    <a:pt x="25090" y="11049"/>
                  </a:lnTo>
                  <a:lnTo>
                    <a:pt x="25099" y="11049"/>
                  </a:lnTo>
                  <a:lnTo>
                    <a:pt x="25099" y="11058"/>
                  </a:lnTo>
                  <a:lnTo>
                    <a:pt x="25107" y="11058"/>
                  </a:lnTo>
                  <a:lnTo>
                    <a:pt x="25107" y="11049"/>
                  </a:lnTo>
                  <a:lnTo>
                    <a:pt x="25116" y="11049"/>
                  </a:lnTo>
                  <a:lnTo>
                    <a:pt x="25107" y="11058"/>
                  </a:lnTo>
                  <a:lnTo>
                    <a:pt x="25107" y="11066"/>
                  </a:lnTo>
                  <a:lnTo>
                    <a:pt x="25143" y="11119"/>
                  </a:lnTo>
                  <a:lnTo>
                    <a:pt x="25152" y="11128"/>
                  </a:lnTo>
                  <a:lnTo>
                    <a:pt x="25152" y="11137"/>
                  </a:lnTo>
                  <a:lnTo>
                    <a:pt x="25160" y="11137"/>
                  </a:lnTo>
                  <a:lnTo>
                    <a:pt x="25160" y="11128"/>
                  </a:lnTo>
                  <a:lnTo>
                    <a:pt x="25152" y="11110"/>
                  </a:lnTo>
                  <a:lnTo>
                    <a:pt x="25143" y="11102"/>
                  </a:lnTo>
                  <a:lnTo>
                    <a:pt x="25143" y="11093"/>
                  </a:lnTo>
                  <a:lnTo>
                    <a:pt x="25143" y="11102"/>
                  </a:lnTo>
                  <a:lnTo>
                    <a:pt x="25152" y="11110"/>
                  </a:lnTo>
                  <a:lnTo>
                    <a:pt x="25169" y="11119"/>
                  </a:lnTo>
                  <a:lnTo>
                    <a:pt x="25178" y="11119"/>
                  </a:lnTo>
                  <a:lnTo>
                    <a:pt x="25178" y="11128"/>
                  </a:lnTo>
                  <a:lnTo>
                    <a:pt x="25169" y="11128"/>
                  </a:lnTo>
                  <a:lnTo>
                    <a:pt x="25169" y="11137"/>
                  </a:lnTo>
                  <a:lnTo>
                    <a:pt x="25178" y="11137"/>
                  </a:lnTo>
                  <a:lnTo>
                    <a:pt x="25178" y="11146"/>
                  </a:lnTo>
                  <a:lnTo>
                    <a:pt x="25178" y="11155"/>
                  </a:lnTo>
                  <a:lnTo>
                    <a:pt x="25169" y="11146"/>
                  </a:lnTo>
                  <a:lnTo>
                    <a:pt x="25160" y="11146"/>
                  </a:lnTo>
                  <a:lnTo>
                    <a:pt x="25178" y="11163"/>
                  </a:lnTo>
                  <a:lnTo>
                    <a:pt x="25178" y="11172"/>
                  </a:lnTo>
                  <a:lnTo>
                    <a:pt x="25178" y="11181"/>
                  </a:lnTo>
                  <a:lnTo>
                    <a:pt x="25187" y="11181"/>
                  </a:lnTo>
                  <a:lnTo>
                    <a:pt x="25196" y="11181"/>
                  </a:lnTo>
                  <a:lnTo>
                    <a:pt x="25205" y="11181"/>
                  </a:lnTo>
                  <a:lnTo>
                    <a:pt x="25213" y="11190"/>
                  </a:lnTo>
                  <a:lnTo>
                    <a:pt x="25205" y="11199"/>
                  </a:lnTo>
                  <a:lnTo>
                    <a:pt x="25205" y="11208"/>
                  </a:lnTo>
                  <a:lnTo>
                    <a:pt x="25196" y="11190"/>
                  </a:lnTo>
                  <a:lnTo>
                    <a:pt x="25187" y="11199"/>
                  </a:lnTo>
                  <a:lnTo>
                    <a:pt x="25196" y="11208"/>
                  </a:lnTo>
                  <a:lnTo>
                    <a:pt x="25196" y="11216"/>
                  </a:lnTo>
                  <a:lnTo>
                    <a:pt x="25205" y="11216"/>
                  </a:lnTo>
                  <a:lnTo>
                    <a:pt x="25205" y="11225"/>
                  </a:lnTo>
                  <a:lnTo>
                    <a:pt x="25213" y="11243"/>
                  </a:lnTo>
                  <a:lnTo>
                    <a:pt x="25213" y="11252"/>
                  </a:lnTo>
                  <a:lnTo>
                    <a:pt x="25213" y="11261"/>
                  </a:lnTo>
                  <a:lnTo>
                    <a:pt x="25205" y="11261"/>
                  </a:lnTo>
                  <a:lnTo>
                    <a:pt x="25213" y="11269"/>
                  </a:lnTo>
                  <a:lnTo>
                    <a:pt x="25205" y="11278"/>
                  </a:lnTo>
                  <a:lnTo>
                    <a:pt x="25196" y="11287"/>
                  </a:lnTo>
                  <a:lnTo>
                    <a:pt x="25196" y="11305"/>
                  </a:lnTo>
                  <a:lnTo>
                    <a:pt x="25196" y="11322"/>
                  </a:lnTo>
                  <a:lnTo>
                    <a:pt x="25196" y="11340"/>
                  </a:lnTo>
                  <a:lnTo>
                    <a:pt x="25187" y="11340"/>
                  </a:lnTo>
                  <a:lnTo>
                    <a:pt x="25178" y="11349"/>
                  </a:lnTo>
                  <a:lnTo>
                    <a:pt x="25178" y="11358"/>
                  </a:lnTo>
                  <a:lnTo>
                    <a:pt x="25169" y="11358"/>
                  </a:lnTo>
                  <a:lnTo>
                    <a:pt x="25152" y="11358"/>
                  </a:lnTo>
                  <a:lnTo>
                    <a:pt x="25134" y="11366"/>
                  </a:lnTo>
                  <a:lnTo>
                    <a:pt x="25134" y="11375"/>
                  </a:lnTo>
                  <a:lnTo>
                    <a:pt x="25134" y="11384"/>
                  </a:lnTo>
                  <a:lnTo>
                    <a:pt x="25134" y="11393"/>
                  </a:lnTo>
                  <a:lnTo>
                    <a:pt x="25143" y="11402"/>
                  </a:lnTo>
                  <a:lnTo>
                    <a:pt x="25160" y="11402"/>
                  </a:lnTo>
                  <a:lnTo>
                    <a:pt x="25169" y="11411"/>
                  </a:lnTo>
                  <a:lnTo>
                    <a:pt x="25178" y="11419"/>
                  </a:lnTo>
                  <a:lnTo>
                    <a:pt x="25187" y="11428"/>
                  </a:lnTo>
                  <a:lnTo>
                    <a:pt x="25196" y="11428"/>
                  </a:lnTo>
                  <a:lnTo>
                    <a:pt x="25205" y="11428"/>
                  </a:lnTo>
                  <a:lnTo>
                    <a:pt x="25222" y="11437"/>
                  </a:lnTo>
                  <a:lnTo>
                    <a:pt x="25231" y="11455"/>
                  </a:lnTo>
                  <a:lnTo>
                    <a:pt x="25240" y="11464"/>
                  </a:lnTo>
                  <a:lnTo>
                    <a:pt x="25240" y="11490"/>
                  </a:lnTo>
                  <a:lnTo>
                    <a:pt x="25231" y="11499"/>
                  </a:lnTo>
                  <a:lnTo>
                    <a:pt x="25222" y="11516"/>
                  </a:lnTo>
                  <a:lnTo>
                    <a:pt x="25213" y="11534"/>
                  </a:lnTo>
                  <a:lnTo>
                    <a:pt x="25196" y="11552"/>
                  </a:lnTo>
                  <a:lnTo>
                    <a:pt x="25196" y="11561"/>
                  </a:lnTo>
                  <a:lnTo>
                    <a:pt x="25205" y="11561"/>
                  </a:lnTo>
                  <a:lnTo>
                    <a:pt x="25213" y="11552"/>
                  </a:lnTo>
                  <a:lnTo>
                    <a:pt x="25205" y="11552"/>
                  </a:lnTo>
                  <a:lnTo>
                    <a:pt x="25213" y="11552"/>
                  </a:lnTo>
                  <a:lnTo>
                    <a:pt x="25213" y="11561"/>
                  </a:lnTo>
                  <a:lnTo>
                    <a:pt x="25213" y="11569"/>
                  </a:lnTo>
                  <a:lnTo>
                    <a:pt x="25222" y="11561"/>
                  </a:lnTo>
                  <a:lnTo>
                    <a:pt x="25231" y="11569"/>
                  </a:lnTo>
                  <a:lnTo>
                    <a:pt x="25240" y="11578"/>
                  </a:lnTo>
                  <a:lnTo>
                    <a:pt x="25249" y="11578"/>
                  </a:lnTo>
                  <a:lnTo>
                    <a:pt x="25257" y="11578"/>
                  </a:lnTo>
                  <a:lnTo>
                    <a:pt x="25275" y="11569"/>
                  </a:lnTo>
                  <a:lnTo>
                    <a:pt x="25284" y="11561"/>
                  </a:lnTo>
                  <a:lnTo>
                    <a:pt x="25293" y="11552"/>
                  </a:lnTo>
                  <a:lnTo>
                    <a:pt x="25302" y="11543"/>
                  </a:lnTo>
                  <a:lnTo>
                    <a:pt x="25302" y="11534"/>
                  </a:lnTo>
                  <a:lnTo>
                    <a:pt x="25310" y="11516"/>
                  </a:lnTo>
                  <a:lnTo>
                    <a:pt x="25319" y="11508"/>
                  </a:lnTo>
                  <a:lnTo>
                    <a:pt x="25319" y="11499"/>
                  </a:lnTo>
                  <a:lnTo>
                    <a:pt x="25328" y="11490"/>
                  </a:lnTo>
                  <a:lnTo>
                    <a:pt x="25337" y="11481"/>
                  </a:lnTo>
                  <a:lnTo>
                    <a:pt x="25346" y="11464"/>
                  </a:lnTo>
                  <a:lnTo>
                    <a:pt x="25354" y="11464"/>
                  </a:lnTo>
                  <a:lnTo>
                    <a:pt x="25354" y="11455"/>
                  </a:lnTo>
                  <a:lnTo>
                    <a:pt x="25363" y="11437"/>
                  </a:lnTo>
                  <a:lnTo>
                    <a:pt x="25372" y="11411"/>
                  </a:lnTo>
                  <a:lnTo>
                    <a:pt x="25363" y="11411"/>
                  </a:lnTo>
                  <a:lnTo>
                    <a:pt x="25363" y="11402"/>
                  </a:lnTo>
                  <a:lnTo>
                    <a:pt x="25363" y="11384"/>
                  </a:lnTo>
                  <a:lnTo>
                    <a:pt x="25372" y="11375"/>
                  </a:lnTo>
                  <a:lnTo>
                    <a:pt x="25381" y="11375"/>
                  </a:lnTo>
                  <a:lnTo>
                    <a:pt x="25390" y="11366"/>
                  </a:lnTo>
                  <a:lnTo>
                    <a:pt x="25399" y="11366"/>
                  </a:lnTo>
                  <a:lnTo>
                    <a:pt x="25407" y="11366"/>
                  </a:lnTo>
                  <a:lnTo>
                    <a:pt x="25416" y="11366"/>
                  </a:lnTo>
                  <a:lnTo>
                    <a:pt x="25425" y="11366"/>
                  </a:lnTo>
                  <a:lnTo>
                    <a:pt x="25434" y="11375"/>
                  </a:lnTo>
                  <a:lnTo>
                    <a:pt x="25443" y="11366"/>
                  </a:lnTo>
                  <a:lnTo>
                    <a:pt x="25434" y="11366"/>
                  </a:lnTo>
                  <a:lnTo>
                    <a:pt x="25434" y="11358"/>
                  </a:lnTo>
                  <a:lnTo>
                    <a:pt x="25434" y="11340"/>
                  </a:lnTo>
                  <a:lnTo>
                    <a:pt x="25443" y="11331"/>
                  </a:lnTo>
                  <a:lnTo>
                    <a:pt x="25452" y="11331"/>
                  </a:lnTo>
                  <a:lnTo>
                    <a:pt x="25452" y="11322"/>
                  </a:lnTo>
                  <a:lnTo>
                    <a:pt x="25460" y="11313"/>
                  </a:lnTo>
                  <a:lnTo>
                    <a:pt x="25460" y="11305"/>
                  </a:lnTo>
                  <a:lnTo>
                    <a:pt x="25469" y="11287"/>
                  </a:lnTo>
                  <a:lnTo>
                    <a:pt x="25469" y="11269"/>
                  </a:lnTo>
                  <a:lnTo>
                    <a:pt x="25478" y="11261"/>
                  </a:lnTo>
                  <a:lnTo>
                    <a:pt x="25478" y="11252"/>
                  </a:lnTo>
                  <a:lnTo>
                    <a:pt x="25478" y="11243"/>
                  </a:lnTo>
                  <a:close/>
                  <a:moveTo>
                    <a:pt x="25090" y="8251"/>
                  </a:moveTo>
                  <a:lnTo>
                    <a:pt x="25081" y="8251"/>
                  </a:lnTo>
                  <a:lnTo>
                    <a:pt x="25072" y="8251"/>
                  </a:lnTo>
                  <a:lnTo>
                    <a:pt x="25081" y="8251"/>
                  </a:lnTo>
                  <a:close/>
                  <a:moveTo>
                    <a:pt x="25072" y="8286"/>
                  </a:moveTo>
                  <a:lnTo>
                    <a:pt x="25081" y="8286"/>
                  </a:lnTo>
                  <a:lnTo>
                    <a:pt x="25081" y="8277"/>
                  </a:lnTo>
                  <a:lnTo>
                    <a:pt x="25072" y="8277"/>
                  </a:lnTo>
                  <a:lnTo>
                    <a:pt x="25081" y="8277"/>
                  </a:lnTo>
                  <a:lnTo>
                    <a:pt x="25081" y="8286"/>
                  </a:lnTo>
                  <a:close/>
                  <a:moveTo>
                    <a:pt x="25072" y="8216"/>
                  </a:moveTo>
                  <a:lnTo>
                    <a:pt x="25072" y="8207"/>
                  </a:lnTo>
                  <a:close/>
                  <a:moveTo>
                    <a:pt x="25072" y="8225"/>
                  </a:moveTo>
                  <a:lnTo>
                    <a:pt x="25081" y="8225"/>
                  </a:lnTo>
                  <a:lnTo>
                    <a:pt x="25081" y="8216"/>
                  </a:lnTo>
                  <a:lnTo>
                    <a:pt x="25072" y="8216"/>
                  </a:lnTo>
                  <a:close/>
                  <a:moveTo>
                    <a:pt x="25063" y="8127"/>
                  </a:moveTo>
                  <a:lnTo>
                    <a:pt x="25072" y="8119"/>
                  </a:lnTo>
                  <a:close/>
                  <a:moveTo>
                    <a:pt x="24640" y="9504"/>
                  </a:moveTo>
                  <a:lnTo>
                    <a:pt x="24649" y="9513"/>
                  </a:lnTo>
                  <a:lnTo>
                    <a:pt x="24649" y="9504"/>
                  </a:lnTo>
                  <a:close/>
                  <a:moveTo>
                    <a:pt x="24649" y="9522"/>
                  </a:moveTo>
                  <a:lnTo>
                    <a:pt x="24640" y="9540"/>
                  </a:lnTo>
                  <a:lnTo>
                    <a:pt x="24649" y="9540"/>
                  </a:lnTo>
                  <a:lnTo>
                    <a:pt x="24658" y="9540"/>
                  </a:lnTo>
                  <a:lnTo>
                    <a:pt x="24658" y="9548"/>
                  </a:lnTo>
                  <a:lnTo>
                    <a:pt x="24666" y="9557"/>
                  </a:lnTo>
                  <a:lnTo>
                    <a:pt x="24666" y="9566"/>
                  </a:lnTo>
                  <a:lnTo>
                    <a:pt x="24666" y="9575"/>
                  </a:lnTo>
                  <a:lnTo>
                    <a:pt x="24675" y="9575"/>
                  </a:lnTo>
                  <a:lnTo>
                    <a:pt x="24675" y="9566"/>
                  </a:lnTo>
                  <a:lnTo>
                    <a:pt x="24693" y="9566"/>
                  </a:lnTo>
                  <a:lnTo>
                    <a:pt x="24693" y="9557"/>
                  </a:lnTo>
                  <a:lnTo>
                    <a:pt x="24684" y="9557"/>
                  </a:lnTo>
                  <a:lnTo>
                    <a:pt x="24684" y="9548"/>
                  </a:lnTo>
                  <a:lnTo>
                    <a:pt x="24666" y="9540"/>
                  </a:lnTo>
                  <a:lnTo>
                    <a:pt x="24658" y="9522"/>
                  </a:lnTo>
                  <a:close/>
                  <a:moveTo>
                    <a:pt x="24658" y="9363"/>
                  </a:moveTo>
                  <a:lnTo>
                    <a:pt x="24666" y="9372"/>
                  </a:lnTo>
                  <a:lnTo>
                    <a:pt x="24675" y="9372"/>
                  </a:lnTo>
                  <a:lnTo>
                    <a:pt x="24675" y="9363"/>
                  </a:lnTo>
                  <a:lnTo>
                    <a:pt x="24666" y="9363"/>
                  </a:lnTo>
                  <a:close/>
                  <a:moveTo>
                    <a:pt x="24666" y="10034"/>
                  </a:moveTo>
                  <a:lnTo>
                    <a:pt x="24675" y="10034"/>
                  </a:lnTo>
                  <a:lnTo>
                    <a:pt x="24675" y="10025"/>
                  </a:lnTo>
                  <a:lnTo>
                    <a:pt x="24666" y="10025"/>
                  </a:lnTo>
                  <a:close/>
                  <a:moveTo>
                    <a:pt x="24631" y="9901"/>
                  </a:moveTo>
                  <a:lnTo>
                    <a:pt x="24640" y="9910"/>
                  </a:lnTo>
                  <a:lnTo>
                    <a:pt x="24649" y="9919"/>
                  </a:lnTo>
                  <a:lnTo>
                    <a:pt x="24658" y="9919"/>
                  </a:lnTo>
                  <a:lnTo>
                    <a:pt x="24666" y="9919"/>
                  </a:lnTo>
                  <a:lnTo>
                    <a:pt x="24666" y="9910"/>
                  </a:lnTo>
                  <a:lnTo>
                    <a:pt x="24658" y="9901"/>
                  </a:lnTo>
                  <a:lnTo>
                    <a:pt x="24658" y="9884"/>
                  </a:lnTo>
                  <a:lnTo>
                    <a:pt x="24649" y="9884"/>
                  </a:lnTo>
                  <a:lnTo>
                    <a:pt x="24640" y="9884"/>
                  </a:lnTo>
                  <a:lnTo>
                    <a:pt x="24640" y="9893"/>
                  </a:lnTo>
                  <a:lnTo>
                    <a:pt x="24649" y="9893"/>
                  </a:lnTo>
                  <a:lnTo>
                    <a:pt x="24640" y="9901"/>
                  </a:lnTo>
                  <a:close/>
                  <a:moveTo>
                    <a:pt x="24666" y="9389"/>
                  </a:moveTo>
                  <a:lnTo>
                    <a:pt x="24666" y="9398"/>
                  </a:lnTo>
                  <a:lnTo>
                    <a:pt x="24675" y="9407"/>
                  </a:lnTo>
                  <a:lnTo>
                    <a:pt x="24675" y="9398"/>
                  </a:lnTo>
                  <a:close/>
                  <a:moveTo>
                    <a:pt x="24702" y="9954"/>
                  </a:moveTo>
                  <a:lnTo>
                    <a:pt x="24710" y="9954"/>
                  </a:lnTo>
                  <a:lnTo>
                    <a:pt x="24719" y="9954"/>
                  </a:lnTo>
                  <a:lnTo>
                    <a:pt x="24719" y="9946"/>
                  </a:lnTo>
                  <a:lnTo>
                    <a:pt x="24710" y="9946"/>
                  </a:lnTo>
                  <a:lnTo>
                    <a:pt x="24702" y="9937"/>
                  </a:lnTo>
                  <a:lnTo>
                    <a:pt x="24693" y="9937"/>
                  </a:lnTo>
                  <a:lnTo>
                    <a:pt x="24702" y="9946"/>
                  </a:lnTo>
                  <a:close/>
                  <a:moveTo>
                    <a:pt x="24693" y="9478"/>
                  </a:moveTo>
                  <a:lnTo>
                    <a:pt x="24684" y="9487"/>
                  </a:lnTo>
                  <a:lnTo>
                    <a:pt x="24693" y="9495"/>
                  </a:lnTo>
                  <a:lnTo>
                    <a:pt x="24702" y="9487"/>
                  </a:lnTo>
                  <a:lnTo>
                    <a:pt x="24710" y="9478"/>
                  </a:lnTo>
                  <a:close/>
                  <a:moveTo>
                    <a:pt x="24702" y="3892"/>
                  </a:moveTo>
                  <a:lnTo>
                    <a:pt x="24684" y="3883"/>
                  </a:lnTo>
                  <a:lnTo>
                    <a:pt x="24675" y="3874"/>
                  </a:lnTo>
                  <a:lnTo>
                    <a:pt x="24666" y="3874"/>
                  </a:lnTo>
                  <a:lnTo>
                    <a:pt x="24684" y="3892"/>
                  </a:lnTo>
                  <a:lnTo>
                    <a:pt x="24710" y="3910"/>
                  </a:lnTo>
                  <a:lnTo>
                    <a:pt x="24710" y="3901"/>
                  </a:lnTo>
                  <a:close/>
                  <a:moveTo>
                    <a:pt x="25160" y="11552"/>
                  </a:moveTo>
                  <a:lnTo>
                    <a:pt x="25152" y="11552"/>
                  </a:lnTo>
                  <a:lnTo>
                    <a:pt x="25160" y="11543"/>
                  </a:lnTo>
                  <a:lnTo>
                    <a:pt x="25169" y="11534"/>
                  </a:lnTo>
                  <a:lnTo>
                    <a:pt x="25160" y="11534"/>
                  </a:lnTo>
                  <a:lnTo>
                    <a:pt x="25160" y="11525"/>
                  </a:lnTo>
                  <a:lnTo>
                    <a:pt x="25152" y="11525"/>
                  </a:lnTo>
                  <a:lnTo>
                    <a:pt x="25152" y="11534"/>
                  </a:lnTo>
                  <a:lnTo>
                    <a:pt x="25143" y="11534"/>
                  </a:lnTo>
                  <a:lnTo>
                    <a:pt x="25143" y="11543"/>
                  </a:lnTo>
                  <a:lnTo>
                    <a:pt x="25143" y="11552"/>
                  </a:lnTo>
                  <a:lnTo>
                    <a:pt x="25134" y="11552"/>
                  </a:lnTo>
                  <a:lnTo>
                    <a:pt x="25134" y="11543"/>
                  </a:lnTo>
                  <a:lnTo>
                    <a:pt x="25143" y="11534"/>
                  </a:lnTo>
                  <a:lnTo>
                    <a:pt x="25143" y="11525"/>
                  </a:lnTo>
                  <a:lnTo>
                    <a:pt x="25152" y="11525"/>
                  </a:lnTo>
                  <a:lnTo>
                    <a:pt x="25143" y="11525"/>
                  </a:lnTo>
                  <a:lnTo>
                    <a:pt x="25134" y="11525"/>
                  </a:lnTo>
                  <a:lnTo>
                    <a:pt x="25125" y="11525"/>
                  </a:lnTo>
                  <a:lnTo>
                    <a:pt x="25116" y="11534"/>
                  </a:lnTo>
                  <a:lnTo>
                    <a:pt x="25107" y="11543"/>
                  </a:lnTo>
                  <a:lnTo>
                    <a:pt x="25099" y="11552"/>
                  </a:lnTo>
                  <a:lnTo>
                    <a:pt x="25090" y="11552"/>
                  </a:lnTo>
                  <a:lnTo>
                    <a:pt x="25081" y="11552"/>
                  </a:lnTo>
                  <a:lnTo>
                    <a:pt x="25081" y="11543"/>
                  </a:lnTo>
                  <a:lnTo>
                    <a:pt x="25081" y="11534"/>
                  </a:lnTo>
                  <a:lnTo>
                    <a:pt x="25081" y="11525"/>
                  </a:lnTo>
                  <a:lnTo>
                    <a:pt x="25072" y="11516"/>
                  </a:lnTo>
                  <a:lnTo>
                    <a:pt x="25063" y="11516"/>
                  </a:lnTo>
                  <a:lnTo>
                    <a:pt x="25055" y="11508"/>
                  </a:lnTo>
                  <a:lnTo>
                    <a:pt x="25055" y="11499"/>
                  </a:lnTo>
                  <a:lnTo>
                    <a:pt x="25055" y="11490"/>
                  </a:lnTo>
                  <a:lnTo>
                    <a:pt x="25072" y="11490"/>
                  </a:lnTo>
                  <a:lnTo>
                    <a:pt x="25063" y="11481"/>
                  </a:lnTo>
                  <a:lnTo>
                    <a:pt x="25055" y="11481"/>
                  </a:lnTo>
                  <a:lnTo>
                    <a:pt x="25046" y="11490"/>
                  </a:lnTo>
                  <a:lnTo>
                    <a:pt x="25037" y="11499"/>
                  </a:lnTo>
                  <a:lnTo>
                    <a:pt x="25019" y="11508"/>
                  </a:lnTo>
                  <a:lnTo>
                    <a:pt x="25010" y="11525"/>
                  </a:lnTo>
                  <a:lnTo>
                    <a:pt x="25010" y="11543"/>
                  </a:lnTo>
                  <a:lnTo>
                    <a:pt x="25002" y="11569"/>
                  </a:lnTo>
                  <a:lnTo>
                    <a:pt x="24993" y="11578"/>
                  </a:lnTo>
                  <a:lnTo>
                    <a:pt x="24984" y="11587"/>
                  </a:lnTo>
                  <a:lnTo>
                    <a:pt x="24984" y="11596"/>
                  </a:lnTo>
                  <a:lnTo>
                    <a:pt x="24975" y="11596"/>
                  </a:lnTo>
                  <a:lnTo>
                    <a:pt x="24966" y="11596"/>
                  </a:lnTo>
                  <a:lnTo>
                    <a:pt x="24957" y="11614"/>
                  </a:lnTo>
                  <a:lnTo>
                    <a:pt x="24957" y="11622"/>
                  </a:lnTo>
                  <a:lnTo>
                    <a:pt x="24949" y="11631"/>
                  </a:lnTo>
                  <a:lnTo>
                    <a:pt x="24949" y="11640"/>
                  </a:lnTo>
                  <a:lnTo>
                    <a:pt x="24949" y="11649"/>
                  </a:lnTo>
                  <a:lnTo>
                    <a:pt x="24949" y="11658"/>
                  </a:lnTo>
                  <a:lnTo>
                    <a:pt x="24940" y="11658"/>
                  </a:lnTo>
                  <a:lnTo>
                    <a:pt x="24931" y="11675"/>
                  </a:lnTo>
                  <a:lnTo>
                    <a:pt x="24931" y="11684"/>
                  </a:lnTo>
                  <a:lnTo>
                    <a:pt x="24931" y="11693"/>
                  </a:lnTo>
                  <a:lnTo>
                    <a:pt x="24931" y="11684"/>
                  </a:lnTo>
                  <a:lnTo>
                    <a:pt x="24922" y="11684"/>
                  </a:lnTo>
                  <a:lnTo>
                    <a:pt x="24913" y="11693"/>
                  </a:lnTo>
                  <a:lnTo>
                    <a:pt x="24905" y="11702"/>
                  </a:lnTo>
                  <a:lnTo>
                    <a:pt x="24905" y="11711"/>
                  </a:lnTo>
                  <a:lnTo>
                    <a:pt x="24905" y="11702"/>
                  </a:lnTo>
                  <a:lnTo>
                    <a:pt x="24896" y="11702"/>
                  </a:lnTo>
                  <a:lnTo>
                    <a:pt x="24896" y="11711"/>
                  </a:lnTo>
                  <a:lnTo>
                    <a:pt x="24887" y="11711"/>
                  </a:lnTo>
                  <a:lnTo>
                    <a:pt x="24878" y="11711"/>
                  </a:lnTo>
                  <a:lnTo>
                    <a:pt x="24878" y="11719"/>
                  </a:lnTo>
                  <a:lnTo>
                    <a:pt x="24887" y="11719"/>
                  </a:lnTo>
                  <a:lnTo>
                    <a:pt x="24878" y="11719"/>
                  </a:lnTo>
                  <a:lnTo>
                    <a:pt x="24869" y="11719"/>
                  </a:lnTo>
                  <a:lnTo>
                    <a:pt x="24869" y="11728"/>
                  </a:lnTo>
                  <a:lnTo>
                    <a:pt x="24860" y="11728"/>
                  </a:lnTo>
                  <a:lnTo>
                    <a:pt x="24852" y="11737"/>
                  </a:lnTo>
                  <a:lnTo>
                    <a:pt x="24843" y="11746"/>
                  </a:lnTo>
                  <a:lnTo>
                    <a:pt x="24843" y="11755"/>
                  </a:lnTo>
                  <a:lnTo>
                    <a:pt x="24834" y="11755"/>
                  </a:lnTo>
                  <a:lnTo>
                    <a:pt x="24825" y="11755"/>
                  </a:lnTo>
                  <a:lnTo>
                    <a:pt x="24816" y="11764"/>
                  </a:lnTo>
                  <a:lnTo>
                    <a:pt x="24808" y="11764"/>
                  </a:lnTo>
                  <a:lnTo>
                    <a:pt x="24790" y="11772"/>
                  </a:lnTo>
                  <a:lnTo>
                    <a:pt x="24790" y="11781"/>
                  </a:lnTo>
                  <a:lnTo>
                    <a:pt x="24790" y="11790"/>
                  </a:lnTo>
                  <a:lnTo>
                    <a:pt x="24781" y="11781"/>
                  </a:lnTo>
                  <a:lnTo>
                    <a:pt x="24763" y="11790"/>
                  </a:lnTo>
                  <a:lnTo>
                    <a:pt x="24755" y="11790"/>
                  </a:lnTo>
                  <a:lnTo>
                    <a:pt x="24737" y="11799"/>
                  </a:lnTo>
                  <a:lnTo>
                    <a:pt x="24719" y="11817"/>
                  </a:lnTo>
                  <a:lnTo>
                    <a:pt x="24710" y="11825"/>
                  </a:lnTo>
                  <a:lnTo>
                    <a:pt x="24693" y="11843"/>
                  </a:lnTo>
                  <a:lnTo>
                    <a:pt x="24693" y="11852"/>
                  </a:lnTo>
                  <a:lnTo>
                    <a:pt x="24702" y="11852"/>
                  </a:lnTo>
                  <a:lnTo>
                    <a:pt x="24693" y="11852"/>
                  </a:lnTo>
                  <a:lnTo>
                    <a:pt x="24684" y="11852"/>
                  </a:lnTo>
                  <a:lnTo>
                    <a:pt x="24675" y="11861"/>
                  </a:lnTo>
                  <a:lnTo>
                    <a:pt x="24666" y="11861"/>
                  </a:lnTo>
                  <a:lnTo>
                    <a:pt x="24666" y="11870"/>
                  </a:lnTo>
                  <a:lnTo>
                    <a:pt x="24666" y="11878"/>
                  </a:lnTo>
                  <a:lnTo>
                    <a:pt x="24666" y="11870"/>
                  </a:lnTo>
                  <a:lnTo>
                    <a:pt x="24649" y="11878"/>
                  </a:lnTo>
                  <a:lnTo>
                    <a:pt x="24649" y="11887"/>
                  </a:lnTo>
                  <a:lnTo>
                    <a:pt x="24649" y="11896"/>
                  </a:lnTo>
                  <a:lnTo>
                    <a:pt x="24640" y="11887"/>
                  </a:lnTo>
                  <a:lnTo>
                    <a:pt x="24631" y="11896"/>
                  </a:lnTo>
                  <a:lnTo>
                    <a:pt x="24631" y="11905"/>
                  </a:lnTo>
                  <a:lnTo>
                    <a:pt x="24640" y="11905"/>
                  </a:lnTo>
                  <a:lnTo>
                    <a:pt x="24649" y="11914"/>
                  </a:lnTo>
                  <a:lnTo>
                    <a:pt x="24640" y="11914"/>
                  </a:lnTo>
                  <a:lnTo>
                    <a:pt x="24649" y="11922"/>
                  </a:lnTo>
                  <a:lnTo>
                    <a:pt x="24640" y="11922"/>
                  </a:lnTo>
                  <a:lnTo>
                    <a:pt x="24622" y="11914"/>
                  </a:lnTo>
                  <a:lnTo>
                    <a:pt x="24622" y="11922"/>
                  </a:lnTo>
                  <a:lnTo>
                    <a:pt x="24631" y="11922"/>
                  </a:lnTo>
                  <a:lnTo>
                    <a:pt x="24613" y="11922"/>
                  </a:lnTo>
                  <a:lnTo>
                    <a:pt x="24613" y="11931"/>
                  </a:lnTo>
                  <a:lnTo>
                    <a:pt x="24622" y="11931"/>
                  </a:lnTo>
                  <a:lnTo>
                    <a:pt x="24631" y="11931"/>
                  </a:lnTo>
                  <a:lnTo>
                    <a:pt x="24622" y="11940"/>
                  </a:lnTo>
                  <a:lnTo>
                    <a:pt x="24622" y="11949"/>
                  </a:lnTo>
                  <a:lnTo>
                    <a:pt x="24631" y="11949"/>
                  </a:lnTo>
                  <a:lnTo>
                    <a:pt x="24622" y="11958"/>
                  </a:lnTo>
                  <a:lnTo>
                    <a:pt x="24596" y="11958"/>
                  </a:lnTo>
                  <a:lnTo>
                    <a:pt x="24596" y="11967"/>
                  </a:lnTo>
                  <a:lnTo>
                    <a:pt x="24596" y="11975"/>
                  </a:lnTo>
                  <a:lnTo>
                    <a:pt x="24605" y="11975"/>
                  </a:lnTo>
                  <a:lnTo>
                    <a:pt x="24613" y="11967"/>
                  </a:lnTo>
                  <a:lnTo>
                    <a:pt x="24613" y="11975"/>
                  </a:lnTo>
                  <a:lnTo>
                    <a:pt x="24605" y="11984"/>
                  </a:lnTo>
                  <a:lnTo>
                    <a:pt x="24613" y="11984"/>
                  </a:lnTo>
                  <a:lnTo>
                    <a:pt x="24622" y="11975"/>
                  </a:lnTo>
                  <a:lnTo>
                    <a:pt x="24631" y="11975"/>
                  </a:lnTo>
                  <a:lnTo>
                    <a:pt x="24613" y="11984"/>
                  </a:lnTo>
                  <a:lnTo>
                    <a:pt x="24613" y="11993"/>
                  </a:lnTo>
                  <a:lnTo>
                    <a:pt x="24622" y="11993"/>
                  </a:lnTo>
                  <a:lnTo>
                    <a:pt x="24640" y="12002"/>
                  </a:lnTo>
                  <a:lnTo>
                    <a:pt x="24658" y="12002"/>
                  </a:lnTo>
                  <a:lnTo>
                    <a:pt x="24666" y="11993"/>
                  </a:lnTo>
                  <a:lnTo>
                    <a:pt x="24675" y="11993"/>
                  </a:lnTo>
                  <a:lnTo>
                    <a:pt x="24684" y="11993"/>
                  </a:lnTo>
                  <a:lnTo>
                    <a:pt x="24693" y="12011"/>
                  </a:lnTo>
                  <a:lnTo>
                    <a:pt x="24702" y="12011"/>
                  </a:lnTo>
                  <a:lnTo>
                    <a:pt x="24710" y="12011"/>
                  </a:lnTo>
                  <a:lnTo>
                    <a:pt x="24719" y="12011"/>
                  </a:lnTo>
                  <a:lnTo>
                    <a:pt x="24728" y="12011"/>
                  </a:lnTo>
                  <a:lnTo>
                    <a:pt x="24728" y="12020"/>
                  </a:lnTo>
                  <a:lnTo>
                    <a:pt x="24728" y="12028"/>
                  </a:lnTo>
                  <a:lnTo>
                    <a:pt x="24737" y="12028"/>
                  </a:lnTo>
                  <a:lnTo>
                    <a:pt x="24746" y="12028"/>
                  </a:lnTo>
                  <a:lnTo>
                    <a:pt x="24755" y="12028"/>
                  </a:lnTo>
                  <a:lnTo>
                    <a:pt x="24763" y="12028"/>
                  </a:lnTo>
                  <a:lnTo>
                    <a:pt x="24772" y="12028"/>
                  </a:lnTo>
                  <a:lnTo>
                    <a:pt x="24781" y="12028"/>
                  </a:lnTo>
                  <a:lnTo>
                    <a:pt x="24790" y="12037"/>
                  </a:lnTo>
                  <a:lnTo>
                    <a:pt x="24808" y="12037"/>
                  </a:lnTo>
                  <a:lnTo>
                    <a:pt x="24834" y="12028"/>
                  </a:lnTo>
                  <a:lnTo>
                    <a:pt x="24834" y="12020"/>
                  </a:lnTo>
                  <a:lnTo>
                    <a:pt x="24852" y="12011"/>
                  </a:lnTo>
                  <a:lnTo>
                    <a:pt x="24869" y="11993"/>
                  </a:lnTo>
                  <a:lnTo>
                    <a:pt x="24869" y="11984"/>
                  </a:lnTo>
                  <a:lnTo>
                    <a:pt x="24878" y="11975"/>
                  </a:lnTo>
                  <a:lnTo>
                    <a:pt x="24887" y="11967"/>
                  </a:lnTo>
                  <a:lnTo>
                    <a:pt x="24905" y="11967"/>
                  </a:lnTo>
                  <a:lnTo>
                    <a:pt x="24913" y="11967"/>
                  </a:lnTo>
                  <a:lnTo>
                    <a:pt x="24913" y="11958"/>
                  </a:lnTo>
                  <a:lnTo>
                    <a:pt x="24905" y="11958"/>
                  </a:lnTo>
                  <a:lnTo>
                    <a:pt x="24905" y="11949"/>
                  </a:lnTo>
                  <a:lnTo>
                    <a:pt x="24913" y="11931"/>
                  </a:lnTo>
                  <a:lnTo>
                    <a:pt x="24922" y="11922"/>
                  </a:lnTo>
                  <a:lnTo>
                    <a:pt x="24922" y="11905"/>
                  </a:lnTo>
                  <a:lnTo>
                    <a:pt x="24922" y="11896"/>
                  </a:lnTo>
                  <a:lnTo>
                    <a:pt x="24931" y="11887"/>
                  </a:lnTo>
                  <a:lnTo>
                    <a:pt x="24940" y="11887"/>
                  </a:lnTo>
                  <a:lnTo>
                    <a:pt x="24931" y="11878"/>
                  </a:lnTo>
                  <a:lnTo>
                    <a:pt x="24940" y="11878"/>
                  </a:lnTo>
                  <a:lnTo>
                    <a:pt x="24940" y="11861"/>
                  </a:lnTo>
                  <a:lnTo>
                    <a:pt x="24940" y="11852"/>
                  </a:lnTo>
                  <a:lnTo>
                    <a:pt x="24940" y="11843"/>
                  </a:lnTo>
                  <a:lnTo>
                    <a:pt x="24949" y="11825"/>
                  </a:lnTo>
                  <a:lnTo>
                    <a:pt x="24949" y="11817"/>
                  </a:lnTo>
                  <a:lnTo>
                    <a:pt x="24957" y="11817"/>
                  </a:lnTo>
                  <a:lnTo>
                    <a:pt x="24957" y="11808"/>
                  </a:lnTo>
                  <a:lnTo>
                    <a:pt x="24966" y="11808"/>
                  </a:lnTo>
                  <a:lnTo>
                    <a:pt x="24975" y="11808"/>
                  </a:lnTo>
                  <a:lnTo>
                    <a:pt x="24984" y="11799"/>
                  </a:lnTo>
                  <a:lnTo>
                    <a:pt x="24993" y="11799"/>
                  </a:lnTo>
                  <a:lnTo>
                    <a:pt x="25002" y="11790"/>
                  </a:lnTo>
                  <a:lnTo>
                    <a:pt x="25010" y="11790"/>
                  </a:lnTo>
                  <a:lnTo>
                    <a:pt x="25010" y="11781"/>
                  </a:lnTo>
                  <a:lnTo>
                    <a:pt x="25002" y="11772"/>
                  </a:lnTo>
                  <a:lnTo>
                    <a:pt x="25002" y="11764"/>
                  </a:lnTo>
                  <a:lnTo>
                    <a:pt x="25010" y="11772"/>
                  </a:lnTo>
                  <a:lnTo>
                    <a:pt x="25019" y="11781"/>
                  </a:lnTo>
                  <a:lnTo>
                    <a:pt x="25028" y="11781"/>
                  </a:lnTo>
                  <a:lnTo>
                    <a:pt x="25028" y="11772"/>
                  </a:lnTo>
                  <a:lnTo>
                    <a:pt x="25037" y="11772"/>
                  </a:lnTo>
                  <a:lnTo>
                    <a:pt x="25046" y="11772"/>
                  </a:lnTo>
                  <a:lnTo>
                    <a:pt x="25037" y="11781"/>
                  </a:lnTo>
                  <a:lnTo>
                    <a:pt x="25055" y="11781"/>
                  </a:lnTo>
                  <a:lnTo>
                    <a:pt x="25063" y="11781"/>
                  </a:lnTo>
                  <a:lnTo>
                    <a:pt x="25072" y="11781"/>
                  </a:lnTo>
                  <a:lnTo>
                    <a:pt x="25081" y="11781"/>
                  </a:lnTo>
                  <a:lnTo>
                    <a:pt x="25081" y="11772"/>
                  </a:lnTo>
                  <a:lnTo>
                    <a:pt x="25081" y="11764"/>
                  </a:lnTo>
                  <a:lnTo>
                    <a:pt x="25072" y="11764"/>
                  </a:lnTo>
                  <a:lnTo>
                    <a:pt x="25063" y="11764"/>
                  </a:lnTo>
                  <a:lnTo>
                    <a:pt x="25055" y="11755"/>
                  </a:lnTo>
                  <a:lnTo>
                    <a:pt x="25055" y="11746"/>
                  </a:lnTo>
                  <a:lnTo>
                    <a:pt x="25037" y="11746"/>
                  </a:lnTo>
                  <a:lnTo>
                    <a:pt x="25046" y="11746"/>
                  </a:lnTo>
                  <a:lnTo>
                    <a:pt x="25055" y="11737"/>
                  </a:lnTo>
                  <a:lnTo>
                    <a:pt x="25046" y="11728"/>
                  </a:lnTo>
                  <a:lnTo>
                    <a:pt x="25055" y="11728"/>
                  </a:lnTo>
                  <a:lnTo>
                    <a:pt x="25063" y="11719"/>
                  </a:lnTo>
                  <a:lnTo>
                    <a:pt x="25081" y="11711"/>
                  </a:lnTo>
                  <a:lnTo>
                    <a:pt x="25090" y="11702"/>
                  </a:lnTo>
                  <a:lnTo>
                    <a:pt x="25099" y="11693"/>
                  </a:lnTo>
                  <a:lnTo>
                    <a:pt x="25116" y="11667"/>
                  </a:lnTo>
                  <a:lnTo>
                    <a:pt x="25116" y="11658"/>
                  </a:lnTo>
                  <a:lnTo>
                    <a:pt x="25134" y="11640"/>
                  </a:lnTo>
                  <a:lnTo>
                    <a:pt x="25143" y="11631"/>
                  </a:lnTo>
                  <a:lnTo>
                    <a:pt x="25143" y="11622"/>
                  </a:lnTo>
                  <a:lnTo>
                    <a:pt x="25152" y="11614"/>
                  </a:lnTo>
                  <a:lnTo>
                    <a:pt x="25160" y="11605"/>
                  </a:lnTo>
                  <a:lnTo>
                    <a:pt x="25169" y="11605"/>
                  </a:lnTo>
                  <a:lnTo>
                    <a:pt x="25169" y="11596"/>
                  </a:lnTo>
                  <a:lnTo>
                    <a:pt x="25160" y="11587"/>
                  </a:lnTo>
                  <a:lnTo>
                    <a:pt x="25152" y="11587"/>
                  </a:lnTo>
                  <a:lnTo>
                    <a:pt x="25160" y="11578"/>
                  </a:lnTo>
                  <a:lnTo>
                    <a:pt x="25152" y="11569"/>
                  </a:lnTo>
                  <a:lnTo>
                    <a:pt x="25152" y="11561"/>
                  </a:lnTo>
                  <a:lnTo>
                    <a:pt x="25160" y="11561"/>
                  </a:lnTo>
                  <a:lnTo>
                    <a:pt x="25169" y="11561"/>
                  </a:lnTo>
                  <a:lnTo>
                    <a:pt x="25169" y="11552"/>
                  </a:lnTo>
                  <a:lnTo>
                    <a:pt x="25178" y="11543"/>
                  </a:lnTo>
                  <a:lnTo>
                    <a:pt x="25178" y="11534"/>
                  </a:lnTo>
                  <a:lnTo>
                    <a:pt x="25169" y="11543"/>
                  </a:lnTo>
                  <a:close/>
                  <a:moveTo>
                    <a:pt x="24719" y="12064"/>
                  </a:moveTo>
                  <a:lnTo>
                    <a:pt x="24710" y="12064"/>
                  </a:lnTo>
                  <a:lnTo>
                    <a:pt x="24710" y="12055"/>
                  </a:lnTo>
                  <a:lnTo>
                    <a:pt x="24719" y="12055"/>
                  </a:lnTo>
                  <a:lnTo>
                    <a:pt x="24702" y="12037"/>
                  </a:lnTo>
                  <a:lnTo>
                    <a:pt x="24693" y="12037"/>
                  </a:lnTo>
                  <a:lnTo>
                    <a:pt x="24693" y="12046"/>
                  </a:lnTo>
                  <a:lnTo>
                    <a:pt x="24693" y="12064"/>
                  </a:lnTo>
                  <a:lnTo>
                    <a:pt x="24684" y="12064"/>
                  </a:lnTo>
                  <a:lnTo>
                    <a:pt x="24684" y="12072"/>
                  </a:lnTo>
                  <a:lnTo>
                    <a:pt x="24675" y="12072"/>
                  </a:lnTo>
                  <a:lnTo>
                    <a:pt x="24675" y="12081"/>
                  </a:lnTo>
                  <a:lnTo>
                    <a:pt x="24675" y="12090"/>
                  </a:lnTo>
                  <a:lnTo>
                    <a:pt x="24684" y="12090"/>
                  </a:lnTo>
                  <a:lnTo>
                    <a:pt x="24693" y="12081"/>
                  </a:lnTo>
                  <a:lnTo>
                    <a:pt x="24702" y="12081"/>
                  </a:lnTo>
                  <a:lnTo>
                    <a:pt x="24710" y="12081"/>
                  </a:lnTo>
                  <a:lnTo>
                    <a:pt x="24719" y="12081"/>
                  </a:lnTo>
                  <a:lnTo>
                    <a:pt x="24728" y="12072"/>
                  </a:lnTo>
                  <a:lnTo>
                    <a:pt x="24728" y="12064"/>
                  </a:lnTo>
                  <a:close/>
                  <a:moveTo>
                    <a:pt x="24790" y="12593"/>
                  </a:moveTo>
                  <a:lnTo>
                    <a:pt x="24781" y="12593"/>
                  </a:lnTo>
                  <a:lnTo>
                    <a:pt x="24790" y="12602"/>
                  </a:lnTo>
                  <a:lnTo>
                    <a:pt x="24799" y="12602"/>
                  </a:lnTo>
                  <a:close/>
                  <a:moveTo>
                    <a:pt x="24763" y="7819"/>
                  </a:moveTo>
                  <a:lnTo>
                    <a:pt x="24755" y="7819"/>
                  </a:lnTo>
                  <a:close/>
                  <a:moveTo>
                    <a:pt x="24596" y="11949"/>
                  </a:moveTo>
                  <a:lnTo>
                    <a:pt x="24605" y="11949"/>
                  </a:lnTo>
                  <a:lnTo>
                    <a:pt x="24613" y="11949"/>
                  </a:lnTo>
                  <a:lnTo>
                    <a:pt x="24613" y="11940"/>
                  </a:lnTo>
                  <a:lnTo>
                    <a:pt x="24605" y="11940"/>
                  </a:lnTo>
                  <a:close/>
                  <a:moveTo>
                    <a:pt x="24631" y="11905"/>
                  </a:moveTo>
                  <a:lnTo>
                    <a:pt x="24622" y="11905"/>
                  </a:lnTo>
                  <a:lnTo>
                    <a:pt x="24631" y="11914"/>
                  </a:lnTo>
                  <a:close/>
                  <a:moveTo>
                    <a:pt x="24605" y="9866"/>
                  </a:moveTo>
                  <a:lnTo>
                    <a:pt x="24605" y="9875"/>
                  </a:lnTo>
                  <a:lnTo>
                    <a:pt x="24596" y="9884"/>
                  </a:lnTo>
                  <a:lnTo>
                    <a:pt x="24605" y="9884"/>
                  </a:lnTo>
                  <a:lnTo>
                    <a:pt x="24605" y="9875"/>
                  </a:lnTo>
                  <a:close/>
                  <a:moveTo>
                    <a:pt x="25187" y="8410"/>
                  </a:moveTo>
                  <a:lnTo>
                    <a:pt x="25187" y="8401"/>
                  </a:lnTo>
                  <a:lnTo>
                    <a:pt x="25178" y="8401"/>
                  </a:lnTo>
                  <a:lnTo>
                    <a:pt x="25178" y="8392"/>
                  </a:lnTo>
                  <a:lnTo>
                    <a:pt x="25178" y="8401"/>
                  </a:lnTo>
                  <a:lnTo>
                    <a:pt x="25187" y="8410"/>
                  </a:lnTo>
                  <a:lnTo>
                    <a:pt x="25178" y="8410"/>
                  </a:lnTo>
                  <a:close/>
                  <a:moveTo>
                    <a:pt x="24569" y="9134"/>
                  </a:moveTo>
                  <a:lnTo>
                    <a:pt x="24560" y="9134"/>
                  </a:lnTo>
                  <a:lnTo>
                    <a:pt x="24552" y="9134"/>
                  </a:lnTo>
                  <a:lnTo>
                    <a:pt x="24552" y="9142"/>
                  </a:lnTo>
                  <a:lnTo>
                    <a:pt x="24543" y="9142"/>
                  </a:lnTo>
                  <a:lnTo>
                    <a:pt x="24552" y="9142"/>
                  </a:lnTo>
                  <a:lnTo>
                    <a:pt x="24552" y="9151"/>
                  </a:lnTo>
                  <a:lnTo>
                    <a:pt x="24560" y="9142"/>
                  </a:lnTo>
                  <a:lnTo>
                    <a:pt x="24569" y="9142"/>
                  </a:lnTo>
                  <a:close/>
                  <a:moveTo>
                    <a:pt x="24737" y="9584"/>
                  </a:moveTo>
                  <a:lnTo>
                    <a:pt x="24728" y="9584"/>
                  </a:lnTo>
                  <a:lnTo>
                    <a:pt x="24719" y="9575"/>
                  </a:lnTo>
                  <a:lnTo>
                    <a:pt x="24719" y="9584"/>
                  </a:lnTo>
                  <a:lnTo>
                    <a:pt x="24719" y="9592"/>
                  </a:lnTo>
                  <a:lnTo>
                    <a:pt x="24728" y="9592"/>
                  </a:lnTo>
                  <a:lnTo>
                    <a:pt x="24737" y="9592"/>
                  </a:lnTo>
                  <a:lnTo>
                    <a:pt x="24746" y="9592"/>
                  </a:lnTo>
                  <a:lnTo>
                    <a:pt x="24737" y="9592"/>
                  </a:lnTo>
                  <a:close/>
                  <a:moveTo>
                    <a:pt x="20202" y="6804"/>
                  </a:moveTo>
                  <a:lnTo>
                    <a:pt x="20211" y="6804"/>
                  </a:lnTo>
                  <a:lnTo>
                    <a:pt x="20211" y="6812"/>
                  </a:lnTo>
                  <a:lnTo>
                    <a:pt x="20211" y="6804"/>
                  </a:lnTo>
                  <a:close/>
                  <a:moveTo>
                    <a:pt x="20696" y="6645"/>
                  </a:moveTo>
                  <a:lnTo>
                    <a:pt x="20696" y="6654"/>
                  </a:lnTo>
                  <a:lnTo>
                    <a:pt x="20705" y="6662"/>
                  </a:lnTo>
                  <a:lnTo>
                    <a:pt x="20705" y="6654"/>
                  </a:lnTo>
                  <a:close/>
                  <a:moveTo>
                    <a:pt x="20255" y="6804"/>
                  </a:moveTo>
                  <a:lnTo>
                    <a:pt x="20264" y="6804"/>
                  </a:lnTo>
                  <a:lnTo>
                    <a:pt x="20264" y="6795"/>
                  </a:lnTo>
                  <a:lnTo>
                    <a:pt x="20255" y="6795"/>
                  </a:lnTo>
                  <a:close/>
                  <a:moveTo>
                    <a:pt x="21649" y="5560"/>
                  </a:moveTo>
                  <a:lnTo>
                    <a:pt x="21649" y="5551"/>
                  </a:lnTo>
                  <a:lnTo>
                    <a:pt x="21640" y="5551"/>
                  </a:lnTo>
                  <a:lnTo>
                    <a:pt x="21640" y="5560"/>
                  </a:lnTo>
                  <a:lnTo>
                    <a:pt x="21649" y="5569"/>
                  </a:lnTo>
                  <a:close/>
                  <a:moveTo>
                    <a:pt x="20264" y="6777"/>
                  </a:moveTo>
                  <a:lnTo>
                    <a:pt x="20255" y="6777"/>
                  </a:lnTo>
                  <a:lnTo>
                    <a:pt x="20255" y="6786"/>
                  </a:lnTo>
                  <a:close/>
                  <a:moveTo>
                    <a:pt x="21296" y="5957"/>
                  </a:moveTo>
                  <a:lnTo>
                    <a:pt x="21287" y="5957"/>
                  </a:lnTo>
                  <a:lnTo>
                    <a:pt x="21287" y="5948"/>
                  </a:lnTo>
                  <a:lnTo>
                    <a:pt x="21279" y="5948"/>
                  </a:lnTo>
                  <a:lnTo>
                    <a:pt x="21270" y="5948"/>
                  </a:lnTo>
                  <a:lnTo>
                    <a:pt x="21279" y="5957"/>
                  </a:lnTo>
                  <a:lnTo>
                    <a:pt x="21287" y="5966"/>
                  </a:lnTo>
                  <a:lnTo>
                    <a:pt x="21305" y="5975"/>
                  </a:lnTo>
                  <a:lnTo>
                    <a:pt x="21314" y="5975"/>
                  </a:lnTo>
                  <a:lnTo>
                    <a:pt x="21314" y="5966"/>
                  </a:lnTo>
                  <a:close/>
                  <a:moveTo>
                    <a:pt x="21649" y="5463"/>
                  </a:moveTo>
                  <a:lnTo>
                    <a:pt x="21658" y="5463"/>
                  </a:lnTo>
                  <a:lnTo>
                    <a:pt x="21658" y="5454"/>
                  </a:lnTo>
                  <a:lnTo>
                    <a:pt x="21649" y="5445"/>
                  </a:lnTo>
                  <a:lnTo>
                    <a:pt x="21649" y="5454"/>
                  </a:lnTo>
                  <a:close/>
                  <a:moveTo>
                    <a:pt x="21543" y="5295"/>
                  </a:moveTo>
                  <a:lnTo>
                    <a:pt x="21534" y="5295"/>
                  </a:lnTo>
                  <a:lnTo>
                    <a:pt x="21534" y="5304"/>
                  </a:lnTo>
                  <a:close/>
                  <a:moveTo>
                    <a:pt x="20220" y="6804"/>
                  </a:moveTo>
                  <a:lnTo>
                    <a:pt x="20220" y="6812"/>
                  </a:lnTo>
                  <a:lnTo>
                    <a:pt x="20229" y="6812"/>
                  </a:lnTo>
                  <a:lnTo>
                    <a:pt x="20229" y="6804"/>
                  </a:lnTo>
                  <a:close/>
                  <a:moveTo>
                    <a:pt x="19699" y="7651"/>
                  </a:moveTo>
                  <a:lnTo>
                    <a:pt x="19699" y="7660"/>
                  </a:lnTo>
                  <a:lnTo>
                    <a:pt x="19708" y="7660"/>
                  </a:lnTo>
                  <a:lnTo>
                    <a:pt x="19717" y="7651"/>
                  </a:lnTo>
                  <a:lnTo>
                    <a:pt x="19708" y="7651"/>
                  </a:lnTo>
                  <a:close/>
                  <a:moveTo>
                    <a:pt x="19885" y="7466"/>
                  </a:moveTo>
                  <a:lnTo>
                    <a:pt x="19876" y="7457"/>
                  </a:lnTo>
                  <a:lnTo>
                    <a:pt x="19876" y="7466"/>
                  </a:lnTo>
                  <a:lnTo>
                    <a:pt x="19876" y="7474"/>
                  </a:lnTo>
                  <a:lnTo>
                    <a:pt x="19885" y="7474"/>
                  </a:lnTo>
                  <a:close/>
                  <a:moveTo>
                    <a:pt x="19893" y="7492"/>
                  </a:moveTo>
                  <a:lnTo>
                    <a:pt x="19893" y="7501"/>
                  </a:lnTo>
                  <a:lnTo>
                    <a:pt x="19902" y="7501"/>
                  </a:lnTo>
                  <a:lnTo>
                    <a:pt x="19902" y="7492"/>
                  </a:lnTo>
                  <a:close/>
                  <a:moveTo>
                    <a:pt x="19708" y="7642"/>
                  </a:moveTo>
                  <a:lnTo>
                    <a:pt x="19717" y="7642"/>
                  </a:lnTo>
                  <a:lnTo>
                    <a:pt x="19717" y="7633"/>
                  </a:lnTo>
                  <a:lnTo>
                    <a:pt x="19708" y="7633"/>
                  </a:lnTo>
                  <a:close/>
                  <a:moveTo>
                    <a:pt x="20008" y="7589"/>
                  </a:moveTo>
                  <a:lnTo>
                    <a:pt x="19999" y="7589"/>
                  </a:lnTo>
                  <a:lnTo>
                    <a:pt x="19990" y="7589"/>
                  </a:lnTo>
                  <a:lnTo>
                    <a:pt x="19990" y="7598"/>
                  </a:lnTo>
                  <a:lnTo>
                    <a:pt x="19999" y="7598"/>
                  </a:lnTo>
                  <a:lnTo>
                    <a:pt x="19999" y="7616"/>
                  </a:lnTo>
                  <a:lnTo>
                    <a:pt x="20008" y="7616"/>
                  </a:lnTo>
                  <a:lnTo>
                    <a:pt x="20008" y="7607"/>
                  </a:lnTo>
                  <a:lnTo>
                    <a:pt x="20008" y="7598"/>
                  </a:lnTo>
                  <a:close/>
                  <a:moveTo>
                    <a:pt x="20008" y="8145"/>
                  </a:moveTo>
                  <a:lnTo>
                    <a:pt x="20017" y="8154"/>
                  </a:lnTo>
                  <a:lnTo>
                    <a:pt x="20017" y="8145"/>
                  </a:lnTo>
                  <a:close/>
                  <a:moveTo>
                    <a:pt x="19929" y="7518"/>
                  </a:moveTo>
                  <a:lnTo>
                    <a:pt x="19929" y="7527"/>
                  </a:lnTo>
                  <a:close/>
                  <a:moveTo>
                    <a:pt x="19946" y="7563"/>
                  </a:moveTo>
                  <a:lnTo>
                    <a:pt x="19946" y="7571"/>
                  </a:lnTo>
                  <a:lnTo>
                    <a:pt x="19955" y="7563"/>
                  </a:lnTo>
                  <a:close/>
                  <a:moveTo>
                    <a:pt x="22425" y="3848"/>
                  </a:moveTo>
                  <a:lnTo>
                    <a:pt x="22417" y="3857"/>
                  </a:lnTo>
                  <a:lnTo>
                    <a:pt x="22408" y="3866"/>
                  </a:lnTo>
                  <a:lnTo>
                    <a:pt x="22417" y="3866"/>
                  </a:lnTo>
                  <a:lnTo>
                    <a:pt x="22425" y="3866"/>
                  </a:lnTo>
                  <a:lnTo>
                    <a:pt x="22434" y="3866"/>
                  </a:lnTo>
                  <a:lnTo>
                    <a:pt x="22443" y="3848"/>
                  </a:lnTo>
                  <a:lnTo>
                    <a:pt x="22434" y="3848"/>
                  </a:lnTo>
                  <a:close/>
                  <a:moveTo>
                    <a:pt x="26140" y="8975"/>
                  </a:moveTo>
                  <a:lnTo>
                    <a:pt x="26140" y="8984"/>
                  </a:lnTo>
                  <a:close/>
                  <a:moveTo>
                    <a:pt x="26157" y="4122"/>
                  </a:moveTo>
                  <a:lnTo>
                    <a:pt x="26149" y="4122"/>
                  </a:lnTo>
                  <a:lnTo>
                    <a:pt x="26140" y="4122"/>
                  </a:lnTo>
                  <a:lnTo>
                    <a:pt x="26131" y="4130"/>
                  </a:lnTo>
                  <a:lnTo>
                    <a:pt x="26140" y="4130"/>
                  </a:lnTo>
                  <a:close/>
                  <a:moveTo>
                    <a:pt x="26149" y="9337"/>
                  </a:moveTo>
                  <a:lnTo>
                    <a:pt x="26140" y="9345"/>
                  </a:lnTo>
                  <a:lnTo>
                    <a:pt x="26131" y="9345"/>
                  </a:lnTo>
                  <a:lnTo>
                    <a:pt x="26122" y="9345"/>
                  </a:lnTo>
                  <a:lnTo>
                    <a:pt x="26131" y="9354"/>
                  </a:lnTo>
                  <a:lnTo>
                    <a:pt x="26140" y="9363"/>
                  </a:lnTo>
                  <a:lnTo>
                    <a:pt x="26149" y="9363"/>
                  </a:lnTo>
                  <a:lnTo>
                    <a:pt x="26157" y="9363"/>
                  </a:lnTo>
                  <a:lnTo>
                    <a:pt x="26166" y="9354"/>
                  </a:lnTo>
                  <a:lnTo>
                    <a:pt x="26157" y="9345"/>
                  </a:lnTo>
                  <a:close/>
                  <a:moveTo>
                    <a:pt x="26149" y="3292"/>
                  </a:moveTo>
                  <a:lnTo>
                    <a:pt x="26157" y="3292"/>
                  </a:lnTo>
                  <a:lnTo>
                    <a:pt x="26149" y="3283"/>
                  </a:lnTo>
                  <a:lnTo>
                    <a:pt x="26140" y="3283"/>
                  </a:lnTo>
                  <a:lnTo>
                    <a:pt x="26122" y="3274"/>
                  </a:lnTo>
                  <a:lnTo>
                    <a:pt x="26113" y="3274"/>
                  </a:lnTo>
                  <a:lnTo>
                    <a:pt x="26104" y="3257"/>
                  </a:lnTo>
                  <a:lnTo>
                    <a:pt x="26096" y="3265"/>
                  </a:lnTo>
                  <a:lnTo>
                    <a:pt x="26096" y="3274"/>
                  </a:lnTo>
                  <a:lnTo>
                    <a:pt x="26104" y="3274"/>
                  </a:lnTo>
                  <a:lnTo>
                    <a:pt x="26131" y="3292"/>
                  </a:lnTo>
                  <a:close/>
                  <a:moveTo>
                    <a:pt x="25257" y="11128"/>
                  </a:moveTo>
                  <a:lnTo>
                    <a:pt x="25257" y="11119"/>
                  </a:lnTo>
                  <a:lnTo>
                    <a:pt x="25257" y="11110"/>
                  </a:lnTo>
                  <a:lnTo>
                    <a:pt x="25249" y="11110"/>
                  </a:lnTo>
                  <a:lnTo>
                    <a:pt x="25249" y="11119"/>
                  </a:lnTo>
                  <a:close/>
                  <a:moveTo>
                    <a:pt x="26096" y="4148"/>
                  </a:moveTo>
                  <a:lnTo>
                    <a:pt x="26078" y="4148"/>
                  </a:lnTo>
                  <a:lnTo>
                    <a:pt x="26060" y="4148"/>
                  </a:lnTo>
                  <a:lnTo>
                    <a:pt x="26051" y="4148"/>
                  </a:lnTo>
                  <a:lnTo>
                    <a:pt x="26043" y="4148"/>
                  </a:lnTo>
                  <a:lnTo>
                    <a:pt x="26034" y="4148"/>
                  </a:lnTo>
                  <a:lnTo>
                    <a:pt x="26043" y="4157"/>
                  </a:lnTo>
                  <a:lnTo>
                    <a:pt x="26051" y="4148"/>
                  </a:lnTo>
                  <a:lnTo>
                    <a:pt x="26069" y="4157"/>
                  </a:lnTo>
                  <a:lnTo>
                    <a:pt x="26078" y="4157"/>
                  </a:lnTo>
                  <a:lnTo>
                    <a:pt x="26087" y="4148"/>
                  </a:lnTo>
                  <a:lnTo>
                    <a:pt x="26104" y="4148"/>
                  </a:lnTo>
                  <a:close/>
                  <a:moveTo>
                    <a:pt x="25205" y="8445"/>
                  </a:moveTo>
                  <a:lnTo>
                    <a:pt x="25205" y="8436"/>
                  </a:lnTo>
                  <a:close/>
                  <a:moveTo>
                    <a:pt x="26166" y="8683"/>
                  </a:moveTo>
                  <a:lnTo>
                    <a:pt x="26157" y="8683"/>
                  </a:lnTo>
                  <a:lnTo>
                    <a:pt x="26166" y="8683"/>
                  </a:lnTo>
                  <a:lnTo>
                    <a:pt x="26157" y="8683"/>
                  </a:lnTo>
                  <a:close/>
                  <a:moveTo>
                    <a:pt x="16232" y="4784"/>
                  </a:moveTo>
                  <a:lnTo>
                    <a:pt x="16232" y="4775"/>
                  </a:lnTo>
                  <a:lnTo>
                    <a:pt x="16223" y="4775"/>
                  </a:lnTo>
                  <a:lnTo>
                    <a:pt x="16223" y="4784"/>
                  </a:lnTo>
                  <a:close/>
                  <a:moveTo>
                    <a:pt x="26184" y="2692"/>
                  </a:moveTo>
                  <a:lnTo>
                    <a:pt x="26193" y="2692"/>
                  </a:lnTo>
                  <a:lnTo>
                    <a:pt x="26219" y="2692"/>
                  </a:lnTo>
                  <a:lnTo>
                    <a:pt x="26237" y="2692"/>
                  </a:lnTo>
                  <a:lnTo>
                    <a:pt x="26246" y="2692"/>
                  </a:lnTo>
                  <a:lnTo>
                    <a:pt x="26237" y="2683"/>
                  </a:lnTo>
                  <a:lnTo>
                    <a:pt x="26228" y="2674"/>
                  </a:lnTo>
                  <a:lnTo>
                    <a:pt x="26219" y="2665"/>
                  </a:lnTo>
                  <a:lnTo>
                    <a:pt x="26219" y="2657"/>
                  </a:lnTo>
                  <a:lnTo>
                    <a:pt x="26237" y="2665"/>
                  </a:lnTo>
                  <a:lnTo>
                    <a:pt x="26246" y="2674"/>
                  </a:lnTo>
                  <a:lnTo>
                    <a:pt x="26254" y="2674"/>
                  </a:lnTo>
                  <a:lnTo>
                    <a:pt x="26272" y="2683"/>
                  </a:lnTo>
                  <a:lnTo>
                    <a:pt x="26281" y="2674"/>
                  </a:lnTo>
                  <a:lnTo>
                    <a:pt x="26281" y="2665"/>
                  </a:lnTo>
                  <a:lnTo>
                    <a:pt x="26281" y="2657"/>
                  </a:lnTo>
                  <a:lnTo>
                    <a:pt x="26281" y="2648"/>
                  </a:lnTo>
                  <a:lnTo>
                    <a:pt x="26298" y="2639"/>
                  </a:lnTo>
                  <a:lnTo>
                    <a:pt x="26316" y="2630"/>
                  </a:lnTo>
                  <a:lnTo>
                    <a:pt x="26325" y="2630"/>
                  </a:lnTo>
                  <a:lnTo>
                    <a:pt x="26334" y="2630"/>
                  </a:lnTo>
                  <a:lnTo>
                    <a:pt x="26343" y="2630"/>
                  </a:lnTo>
                  <a:lnTo>
                    <a:pt x="26343" y="2612"/>
                  </a:lnTo>
                  <a:lnTo>
                    <a:pt x="26334" y="2612"/>
                  </a:lnTo>
                  <a:lnTo>
                    <a:pt x="26307" y="2612"/>
                  </a:lnTo>
                  <a:lnTo>
                    <a:pt x="26307" y="2604"/>
                  </a:lnTo>
                  <a:lnTo>
                    <a:pt x="26298" y="2595"/>
                  </a:lnTo>
                  <a:lnTo>
                    <a:pt x="26290" y="2604"/>
                  </a:lnTo>
                  <a:lnTo>
                    <a:pt x="26281" y="2604"/>
                  </a:lnTo>
                  <a:lnTo>
                    <a:pt x="26281" y="2595"/>
                  </a:lnTo>
                  <a:lnTo>
                    <a:pt x="26290" y="2595"/>
                  </a:lnTo>
                  <a:lnTo>
                    <a:pt x="26281" y="2586"/>
                  </a:lnTo>
                  <a:lnTo>
                    <a:pt x="26254" y="2568"/>
                  </a:lnTo>
                  <a:lnTo>
                    <a:pt x="26237" y="2559"/>
                  </a:lnTo>
                  <a:lnTo>
                    <a:pt x="26228" y="2551"/>
                  </a:lnTo>
                  <a:lnTo>
                    <a:pt x="26210" y="2533"/>
                  </a:lnTo>
                  <a:lnTo>
                    <a:pt x="26193" y="2515"/>
                  </a:lnTo>
                  <a:lnTo>
                    <a:pt x="26175" y="2515"/>
                  </a:lnTo>
                  <a:lnTo>
                    <a:pt x="26157" y="2515"/>
                  </a:lnTo>
                  <a:lnTo>
                    <a:pt x="26140" y="2515"/>
                  </a:lnTo>
                  <a:lnTo>
                    <a:pt x="26131" y="2506"/>
                  </a:lnTo>
                  <a:lnTo>
                    <a:pt x="26104" y="2506"/>
                  </a:lnTo>
                  <a:lnTo>
                    <a:pt x="26131" y="2515"/>
                  </a:lnTo>
                  <a:lnTo>
                    <a:pt x="26140" y="2515"/>
                  </a:lnTo>
                  <a:lnTo>
                    <a:pt x="26131" y="2524"/>
                  </a:lnTo>
                  <a:lnTo>
                    <a:pt x="26104" y="2515"/>
                  </a:lnTo>
                  <a:lnTo>
                    <a:pt x="26096" y="2515"/>
                  </a:lnTo>
                  <a:lnTo>
                    <a:pt x="26087" y="2515"/>
                  </a:lnTo>
                  <a:lnTo>
                    <a:pt x="26087" y="2524"/>
                  </a:lnTo>
                  <a:lnTo>
                    <a:pt x="26087" y="2533"/>
                  </a:lnTo>
                  <a:lnTo>
                    <a:pt x="26078" y="2533"/>
                  </a:lnTo>
                  <a:lnTo>
                    <a:pt x="26078" y="2524"/>
                  </a:lnTo>
                  <a:lnTo>
                    <a:pt x="26078" y="2515"/>
                  </a:lnTo>
                  <a:lnTo>
                    <a:pt x="26087" y="2506"/>
                  </a:lnTo>
                  <a:lnTo>
                    <a:pt x="26096" y="2506"/>
                  </a:lnTo>
                  <a:lnTo>
                    <a:pt x="26069" y="2498"/>
                  </a:lnTo>
                  <a:lnTo>
                    <a:pt x="26060" y="2498"/>
                  </a:lnTo>
                  <a:lnTo>
                    <a:pt x="26051" y="2489"/>
                  </a:lnTo>
                  <a:lnTo>
                    <a:pt x="26034" y="2498"/>
                  </a:lnTo>
                  <a:lnTo>
                    <a:pt x="25999" y="2498"/>
                  </a:lnTo>
                  <a:lnTo>
                    <a:pt x="25990" y="2498"/>
                  </a:lnTo>
                  <a:lnTo>
                    <a:pt x="25990" y="2506"/>
                  </a:lnTo>
                  <a:lnTo>
                    <a:pt x="25999" y="2506"/>
                  </a:lnTo>
                  <a:lnTo>
                    <a:pt x="26007" y="2506"/>
                  </a:lnTo>
                  <a:lnTo>
                    <a:pt x="26016" y="2515"/>
                  </a:lnTo>
                  <a:lnTo>
                    <a:pt x="26025" y="2515"/>
                  </a:lnTo>
                  <a:lnTo>
                    <a:pt x="26025" y="2524"/>
                  </a:lnTo>
                  <a:lnTo>
                    <a:pt x="26025" y="2533"/>
                  </a:lnTo>
                  <a:lnTo>
                    <a:pt x="26025" y="2542"/>
                  </a:lnTo>
                  <a:lnTo>
                    <a:pt x="26025" y="2551"/>
                  </a:lnTo>
                  <a:lnTo>
                    <a:pt x="26016" y="2551"/>
                  </a:lnTo>
                  <a:lnTo>
                    <a:pt x="26016" y="2559"/>
                  </a:lnTo>
                  <a:lnTo>
                    <a:pt x="26025" y="2568"/>
                  </a:lnTo>
                  <a:lnTo>
                    <a:pt x="26034" y="2568"/>
                  </a:lnTo>
                  <a:lnTo>
                    <a:pt x="26043" y="2577"/>
                  </a:lnTo>
                  <a:lnTo>
                    <a:pt x="26043" y="2586"/>
                  </a:lnTo>
                  <a:lnTo>
                    <a:pt x="26034" y="2595"/>
                  </a:lnTo>
                  <a:lnTo>
                    <a:pt x="26034" y="2604"/>
                  </a:lnTo>
                  <a:lnTo>
                    <a:pt x="26025" y="2604"/>
                  </a:lnTo>
                  <a:lnTo>
                    <a:pt x="26025" y="2586"/>
                  </a:lnTo>
                  <a:lnTo>
                    <a:pt x="26025" y="2577"/>
                  </a:lnTo>
                  <a:lnTo>
                    <a:pt x="26016" y="2577"/>
                  </a:lnTo>
                  <a:lnTo>
                    <a:pt x="26007" y="2586"/>
                  </a:lnTo>
                  <a:lnTo>
                    <a:pt x="25999" y="2595"/>
                  </a:lnTo>
                  <a:lnTo>
                    <a:pt x="25999" y="2586"/>
                  </a:lnTo>
                  <a:lnTo>
                    <a:pt x="25999" y="2577"/>
                  </a:lnTo>
                  <a:lnTo>
                    <a:pt x="25990" y="2568"/>
                  </a:lnTo>
                  <a:lnTo>
                    <a:pt x="25981" y="2559"/>
                  </a:lnTo>
                  <a:lnTo>
                    <a:pt x="25963" y="2559"/>
                  </a:lnTo>
                  <a:lnTo>
                    <a:pt x="25963" y="2542"/>
                  </a:lnTo>
                  <a:lnTo>
                    <a:pt x="25972" y="2542"/>
                  </a:lnTo>
                  <a:lnTo>
                    <a:pt x="25972" y="2524"/>
                  </a:lnTo>
                  <a:lnTo>
                    <a:pt x="25972" y="2515"/>
                  </a:lnTo>
                  <a:lnTo>
                    <a:pt x="25963" y="2506"/>
                  </a:lnTo>
                  <a:lnTo>
                    <a:pt x="25963" y="2498"/>
                  </a:lnTo>
                  <a:lnTo>
                    <a:pt x="25963" y="2489"/>
                  </a:lnTo>
                  <a:lnTo>
                    <a:pt x="25963" y="2480"/>
                  </a:lnTo>
                  <a:lnTo>
                    <a:pt x="25963" y="2471"/>
                  </a:lnTo>
                  <a:lnTo>
                    <a:pt x="25963" y="2462"/>
                  </a:lnTo>
                  <a:lnTo>
                    <a:pt x="25954" y="2454"/>
                  </a:lnTo>
                  <a:lnTo>
                    <a:pt x="25954" y="2462"/>
                  </a:lnTo>
                  <a:lnTo>
                    <a:pt x="25946" y="2462"/>
                  </a:lnTo>
                  <a:lnTo>
                    <a:pt x="25928" y="2462"/>
                  </a:lnTo>
                  <a:lnTo>
                    <a:pt x="25937" y="2454"/>
                  </a:lnTo>
                  <a:lnTo>
                    <a:pt x="25937" y="2445"/>
                  </a:lnTo>
                  <a:lnTo>
                    <a:pt x="25937" y="2436"/>
                  </a:lnTo>
                  <a:lnTo>
                    <a:pt x="25928" y="2427"/>
                  </a:lnTo>
                  <a:lnTo>
                    <a:pt x="25813" y="2374"/>
                  </a:lnTo>
                  <a:lnTo>
                    <a:pt x="25796" y="2365"/>
                  </a:lnTo>
                  <a:lnTo>
                    <a:pt x="25787" y="2356"/>
                  </a:lnTo>
                  <a:lnTo>
                    <a:pt x="25778" y="2356"/>
                  </a:lnTo>
                  <a:lnTo>
                    <a:pt x="25769" y="2356"/>
                  </a:lnTo>
                  <a:lnTo>
                    <a:pt x="25760" y="2356"/>
                  </a:lnTo>
                  <a:lnTo>
                    <a:pt x="25769" y="2348"/>
                  </a:lnTo>
                  <a:lnTo>
                    <a:pt x="25760" y="2339"/>
                  </a:lnTo>
                  <a:lnTo>
                    <a:pt x="25716" y="2312"/>
                  </a:lnTo>
                  <a:lnTo>
                    <a:pt x="25707" y="2312"/>
                  </a:lnTo>
                  <a:lnTo>
                    <a:pt x="25716" y="2321"/>
                  </a:lnTo>
                  <a:lnTo>
                    <a:pt x="25743" y="2339"/>
                  </a:lnTo>
                  <a:lnTo>
                    <a:pt x="25751" y="2339"/>
                  </a:lnTo>
                  <a:lnTo>
                    <a:pt x="25743" y="2348"/>
                  </a:lnTo>
                  <a:lnTo>
                    <a:pt x="25734" y="2348"/>
                  </a:lnTo>
                  <a:lnTo>
                    <a:pt x="25734" y="2339"/>
                  </a:lnTo>
                  <a:lnTo>
                    <a:pt x="25725" y="2330"/>
                  </a:lnTo>
                  <a:lnTo>
                    <a:pt x="25716" y="2330"/>
                  </a:lnTo>
                  <a:lnTo>
                    <a:pt x="25699" y="2321"/>
                  </a:lnTo>
                  <a:lnTo>
                    <a:pt x="25681" y="2312"/>
                  </a:lnTo>
                  <a:lnTo>
                    <a:pt x="25681" y="2303"/>
                  </a:lnTo>
                  <a:lnTo>
                    <a:pt x="25690" y="2312"/>
                  </a:lnTo>
                  <a:lnTo>
                    <a:pt x="25699" y="2312"/>
                  </a:lnTo>
                  <a:lnTo>
                    <a:pt x="25681" y="2303"/>
                  </a:lnTo>
                  <a:lnTo>
                    <a:pt x="25672" y="2286"/>
                  </a:lnTo>
                  <a:lnTo>
                    <a:pt x="25646" y="2277"/>
                  </a:lnTo>
                  <a:lnTo>
                    <a:pt x="25637" y="2277"/>
                  </a:lnTo>
                  <a:lnTo>
                    <a:pt x="25628" y="2268"/>
                  </a:lnTo>
                  <a:lnTo>
                    <a:pt x="25619" y="2268"/>
                  </a:lnTo>
                  <a:lnTo>
                    <a:pt x="25602" y="2268"/>
                  </a:lnTo>
                  <a:lnTo>
                    <a:pt x="25593" y="2259"/>
                  </a:lnTo>
                  <a:lnTo>
                    <a:pt x="25593" y="2295"/>
                  </a:lnTo>
                  <a:lnTo>
                    <a:pt x="25593" y="2259"/>
                  </a:lnTo>
                  <a:lnTo>
                    <a:pt x="25575" y="2259"/>
                  </a:lnTo>
                  <a:lnTo>
                    <a:pt x="25531" y="2224"/>
                  </a:lnTo>
                  <a:lnTo>
                    <a:pt x="25513" y="2215"/>
                  </a:lnTo>
                  <a:lnTo>
                    <a:pt x="25504" y="2206"/>
                  </a:lnTo>
                  <a:lnTo>
                    <a:pt x="25478" y="2198"/>
                  </a:lnTo>
                  <a:lnTo>
                    <a:pt x="25434" y="2198"/>
                  </a:lnTo>
                  <a:lnTo>
                    <a:pt x="25399" y="2180"/>
                  </a:lnTo>
                  <a:lnTo>
                    <a:pt x="25363" y="2171"/>
                  </a:lnTo>
                  <a:lnTo>
                    <a:pt x="25328" y="2153"/>
                  </a:lnTo>
                  <a:lnTo>
                    <a:pt x="25302" y="2145"/>
                  </a:lnTo>
                  <a:lnTo>
                    <a:pt x="25293" y="2145"/>
                  </a:lnTo>
                  <a:lnTo>
                    <a:pt x="25275" y="2136"/>
                  </a:lnTo>
                  <a:lnTo>
                    <a:pt x="25240" y="2145"/>
                  </a:lnTo>
                  <a:lnTo>
                    <a:pt x="25205" y="2145"/>
                  </a:lnTo>
                  <a:lnTo>
                    <a:pt x="25169" y="2145"/>
                  </a:lnTo>
                  <a:lnTo>
                    <a:pt x="25143" y="2145"/>
                  </a:lnTo>
                  <a:lnTo>
                    <a:pt x="25125" y="2145"/>
                  </a:lnTo>
                  <a:lnTo>
                    <a:pt x="25107" y="2136"/>
                  </a:lnTo>
                  <a:lnTo>
                    <a:pt x="25099" y="2136"/>
                  </a:lnTo>
                  <a:lnTo>
                    <a:pt x="25099" y="2153"/>
                  </a:lnTo>
                  <a:lnTo>
                    <a:pt x="25081" y="2145"/>
                  </a:lnTo>
                  <a:lnTo>
                    <a:pt x="25063" y="2136"/>
                  </a:lnTo>
                  <a:lnTo>
                    <a:pt x="25046" y="2127"/>
                  </a:lnTo>
                  <a:lnTo>
                    <a:pt x="25002" y="2127"/>
                  </a:lnTo>
                  <a:lnTo>
                    <a:pt x="24949" y="2118"/>
                  </a:lnTo>
                  <a:lnTo>
                    <a:pt x="24913" y="2118"/>
                  </a:lnTo>
                  <a:lnTo>
                    <a:pt x="24887" y="2109"/>
                  </a:lnTo>
                  <a:lnTo>
                    <a:pt x="24896" y="2136"/>
                  </a:lnTo>
                  <a:lnTo>
                    <a:pt x="24887" y="2145"/>
                  </a:lnTo>
                  <a:lnTo>
                    <a:pt x="24878" y="2162"/>
                  </a:lnTo>
                  <a:lnTo>
                    <a:pt x="24869" y="2171"/>
                  </a:lnTo>
                  <a:lnTo>
                    <a:pt x="24869" y="2180"/>
                  </a:lnTo>
                  <a:lnTo>
                    <a:pt x="24896" y="2180"/>
                  </a:lnTo>
                  <a:lnTo>
                    <a:pt x="24905" y="2206"/>
                  </a:lnTo>
                  <a:lnTo>
                    <a:pt x="24922" y="2224"/>
                  </a:lnTo>
                  <a:lnTo>
                    <a:pt x="24931" y="2242"/>
                  </a:lnTo>
                  <a:lnTo>
                    <a:pt x="24922" y="2251"/>
                  </a:lnTo>
                  <a:lnTo>
                    <a:pt x="24896" y="2277"/>
                  </a:lnTo>
                  <a:lnTo>
                    <a:pt x="24860" y="2286"/>
                  </a:lnTo>
                  <a:lnTo>
                    <a:pt x="24825" y="2286"/>
                  </a:lnTo>
                  <a:lnTo>
                    <a:pt x="24808" y="2268"/>
                  </a:lnTo>
                  <a:lnTo>
                    <a:pt x="24799" y="2251"/>
                  </a:lnTo>
                  <a:lnTo>
                    <a:pt x="24772" y="2233"/>
                  </a:lnTo>
                  <a:lnTo>
                    <a:pt x="24746" y="2224"/>
                  </a:lnTo>
                  <a:lnTo>
                    <a:pt x="24737" y="2224"/>
                  </a:lnTo>
                  <a:lnTo>
                    <a:pt x="24728" y="2224"/>
                  </a:lnTo>
                  <a:lnTo>
                    <a:pt x="24719" y="2198"/>
                  </a:lnTo>
                  <a:lnTo>
                    <a:pt x="24719" y="2180"/>
                  </a:lnTo>
                  <a:lnTo>
                    <a:pt x="24710" y="2180"/>
                  </a:lnTo>
                  <a:lnTo>
                    <a:pt x="24702" y="2171"/>
                  </a:lnTo>
                  <a:lnTo>
                    <a:pt x="24693" y="2162"/>
                  </a:lnTo>
                  <a:lnTo>
                    <a:pt x="24675" y="2162"/>
                  </a:lnTo>
                  <a:lnTo>
                    <a:pt x="24640" y="2189"/>
                  </a:lnTo>
                  <a:lnTo>
                    <a:pt x="24622" y="2189"/>
                  </a:lnTo>
                  <a:lnTo>
                    <a:pt x="24560" y="2189"/>
                  </a:lnTo>
                  <a:lnTo>
                    <a:pt x="24543" y="2180"/>
                  </a:lnTo>
                  <a:lnTo>
                    <a:pt x="24446" y="2180"/>
                  </a:lnTo>
                  <a:lnTo>
                    <a:pt x="24428" y="2162"/>
                  </a:lnTo>
                  <a:lnTo>
                    <a:pt x="24410" y="2162"/>
                  </a:lnTo>
                  <a:lnTo>
                    <a:pt x="24393" y="2162"/>
                  </a:lnTo>
                  <a:lnTo>
                    <a:pt x="24375" y="2171"/>
                  </a:lnTo>
                  <a:lnTo>
                    <a:pt x="24358" y="2162"/>
                  </a:lnTo>
                  <a:lnTo>
                    <a:pt x="24331" y="2171"/>
                  </a:lnTo>
                  <a:lnTo>
                    <a:pt x="24296" y="2171"/>
                  </a:lnTo>
                  <a:lnTo>
                    <a:pt x="24278" y="2180"/>
                  </a:lnTo>
                  <a:lnTo>
                    <a:pt x="24261" y="2189"/>
                  </a:lnTo>
                  <a:lnTo>
                    <a:pt x="24234" y="2206"/>
                  </a:lnTo>
                  <a:lnTo>
                    <a:pt x="24225" y="2215"/>
                  </a:lnTo>
                  <a:lnTo>
                    <a:pt x="24225" y="2233"/>
                  </a:lnTo>
                  <a:lnTo>
                    <a:pt x="24234" y="2251"/>
                  </a:lnTo>
                  <a:lnTo>
                    <a:pt x="24234" y="2268"/>
                  </a:lnTo>
                  <a:lnTo>
                    <a:pt x="24225" y="2277"/>
                  </a:lnTo>
                  <a:lnTo>
                    <a:pt x="24216" y="2277"/>
                  </a:lnTo>
                  <a:lnTo>
                    <a:pt x="24208" y="2303"/>
                  </a:lnTo>
                  <a:lnTo>
                    <a:pt x="24199" y="2312"/>
                  </a:lnTo>
                  <a:lnTo>
                    <a:pt x="24181" y="2321"/>
                  </a:lnTo>
                  <a:lnTo>
                    <a:pt x="24190" y="2312"/>
                  </a:lnTo>
                  <a:lnTo>
                    <a:pt x="24199" y="2303"/>
                  </a:lnTo>
                  <a:lnTo>
                    <a:pt x="24216" y="2268"/>
                  </a:lnTo>
                  <a:lnTo>
                    <a:pt x="24216" y="2259"/>
                  </a:lnTo>
                  <a:lnTo>
                    <a:pt x="24199" y="2251"/>
                  </a:lnTo>
                  <a:lnTo>
                    <a:pt x="24199" y="2242"/>
                  </a:lnTo>
                  <a:lnTo>
                    <a:pt x="24190" y="2215"/>
                  </a:lnTo>
                  <a:lnTo>
                    <a:pt x="24190" y="2198"/>
                  </a:lnTo>
                  <a:lnTo>
                    <a:pt x="24181" y="2180"/>
                  </a:lnTo>
                  <a:lnTo>
                    <a:pt x="24172" y="2171"/>
                  </a:lnTo>
                  <a:lnTo>
                    <a:pt x="24128" y="2162"/>
                  </a:lnTo>
                  <a:lnTo>
                    <a:pt x="24102" y="2153"/>
                  </a:lnTo>
                  <a:lnTo>
                    <a:pt x="24102" y="2145"/>
                  </a:lnTo>
                  <a:lnTo>
                    <a:pt x="24111" y="2127"/>
                  </a:lnTo>
                  <a:lnTo>
                    <a:pt x="24102" y="2118"/>
                  </a:lnTo>
                  <a:lnTo>
                    <a:pt x="24111" y="2109"/>
                  </a:lnTo>
                  <a:lnTo>
                    <a:pt x="24119" y="2101"/>
                  </a:lnTo>
                  <a:lnTo>
                    <a:pt x="24119" y="2083"/>
                  </a:lnTo>
                  <a:lnTo>
                    <a:pt x="24119" y="2074"/>
                  </a:lnTo>
                  <a:lnTo>
                    <a:pt x="24111" y="2056"/>
                  </a:lnTo>
                  <a:lnTo>
                    <a:pt x="24102" y="2048"/>
                  </a:lnTo>
                  <a:lnTo>
                    <a:pt x="24102" y="2039"/>
                  </a:lnTo>
                  <a:lnTo>
                    <a:pt x="24066" y="2021"/>
                  </a:lnTo>
                  <a:lnTo>
                    <a:pt x="24022" y="2003"/>
                  </a:lnTo>
                  <a:lnTo>
                    <a:pt x="23978" y="1986"/>
                  </a:lnTo>
                  <a:lnTo>
                    <a:pt x="23934" y="1986"/>
                  </a:lnTo>
                  <a:lnTo>
                    <a:pt x="23872" y="1977"/>
                  </a:lnTo>
                  <a:lnTo>
                    <a:pt x="23819" y="1977"/>
                  </a:lnTo>
                  <a:lnTo>
                    <a:pt x="23793" y="1986"/>
                  </a:lnTo>
                  <a:lnTo>
                    <a:pt x="23749" y="1986"/>
                  </a:lnTo>
                  <a:lnTo>
                    <a:pt x="23705" y="1995"/>
                  </a:lnTo>
                  <a:lnTo>
                    <a:pt x="23661" y="2012"/>
                  </a:lnTo>
                  <a:lnTo>
                    <a:pt x="23634" y="2012"/>
                  </a:lnTo>
                  <a:lnTo>
                    <a:pt x="23590" y="2012"/>
                  </a:lnTo>
                  <a:lnTo>
                    <a:pt x="23564" y="2012"/>
                  </a:lnTo>
                  <a:lnTo>
                    <a:pt x="23511" y="1995"/>
                  </a:lnTo>
                  <a:lnTo>
                    <a:pt x="23528" y="1995"/>
                  </a:lnTo>
                  <a:lnTo>
                    <a:pt x="23537" y="1995"/>
                  </a:lnTo>
                  <a:lnTo>
                    <a:pt x="23511" y="1968"/>
                  </a:lnTo>
                  <a:lnTo>
                    <a:pt x="23502" y="1959"/>
                  </a:lnTo>
                  <a:lnTo>
                    <a:pt x="23467" y="1942"/>
                  </a:lnTo>
                  <a:lnTo>
                    <a:pt x="23458" y="1942"/>
                  </a:lnTo>
                  <a:lnTo>
                    <a:pt x="23440" y="1942"/>
                  </a:lnTo>
                  <a:lnTo>
                    <a:pt x="23405" y="1959"/>
                  </a:lnTo>
                  <a:lnTo>
                    <a:pt x="23387" y="1959"/>
                  </a:lnTo>
                  <a:lnTo>
                    <a:pt x="23414" y="1950"/>
                  </a:lnTo>
                  <a:lnTo>
                    <a:pt x="23422" y="1942"/>
                  </a:lnTo>
                  <a:lnTo>
                    <a:pt x="23431" y="1933"/>
                  </a:lnTo>
                  <a:lnTo>
                    <a:pt x="23431" y="1924"/>
                  </a:lnTo>
                  <a:lnTo>
                    <a:pt x="23387" y="1924"/>
                  </a:lnTo>
                  <a:lnTo>
                    <a:pt x="23378" y="1915"/>
                  </a:lnTo>
                  <a:lnTo>
                    <a:pt x="23369" y="1915"/>
                  </a:lnTo>
                  <a:lnTo>
                    <a:pt x="23343" y="1906"/>
                  </a:lnTo>
                  <a:lnTo>
                    <a:pt x="23325" y="1898"/>
                  </a:lnTo>
                  <a:lnTo>
                    <a:pt x="23308" y="1898"/>
                  </a:lnTo>
                  <a:lnTo>
                    <a:pt x="23308" y="1889"/>
                  </a:lnTo>
                  <a:lnTo>
                    <a:pt x="23317" y="1889"/>
                  </a:lnTo>
                  <a:lnTo>
                    <a:pt x="23334" y="1880"/>
                  </a:lnTo>
                  <a:lnTo>
                    <a:pt x="23378" y="1880"/>
                  </a:lnTo>
                  <a:lnTo>
                    <a:pt x="23387" y="1871"/>
                  </a:lnTo>
                  <a:lnTo>
                    <a:pt x="23387" y="1862"/>
                  </a:lnTo>
                  <a:lnTo>
                    <a:pt x="23378" y="1862"/>
                  </a:lnTo>
                  <a:lnTo>
                    <a:pt x="23369" y="1845"/>
                  </a:lnTo>
                  <a:lnTo>
                    <a:pt x="23343" y="1836"/>
                  </a:lnTo>
                  <a:lnTo>
                    <a:pt x="23308" y="1827"/>
                  </a:lnTo>
                  <a:lnTo>
                    <a:pt x="23264" y="1818"/>
                  </a:lnTo>
                  <a:lnTo>
                    <a:pt x="23193" y="1809"/>
                  </a:lnTo>
                  <a:lnTo>
                    <a:pt x="23184" y="1809"/>
                  </a:lnTo>
                  <a:lnTo>
                    <a:pt x="23175" y="1818"/>
                  </a:lnTo>
                  <a:lnTo>
                    <a:pt x="23158" y="1827"/>
                  </a:lnTo>
                  <a:lnTo>
                    <a:pt x="23114" y="1871"/>
                  </a:lnTo>
                  <a:lnTo>
                    <a:pt x="23096" y="1880"/>
                  </a:lnTo>
                  <a:lnTo>
                    <a:pt x="23078" y="1889"/>
                  </a:lnTo>
                  <a:lnTo>
                    <a:pt x="23025" y="1898"/>
                  </a:lnTo>
                  <a:lnTo>
                    <a:pt x="23017" y="1889"/>
                  </a:lnTo>
                  <a:lnTo>
                    <a:pt x="23025" y="1880"/>
                  </a:lnTo>
                  <a:lnTo>
                    <a:pt x="23017" y="1871"/>
                  </a:lnTo>
                  <a:lnTo>
                    <a:pt x="23025" y="1871"/>
                  </a:lnTo>
                  <a:lnTo>
                    <a:pt x="23034" y="1871"/>
                  </a:lnTo>
                  <a:lnTo>
                    <a:pt x="23043" y="1871"/>
                  </a:lnTo>
                  <a:lnTo>
                    <a:pt x="23069" y="1862"/>
                  </a:lnTo>
                  <a:lnTo>
                    <a:pt x="23069" y="1853"/>
                  </a:lnTo>
                  <a:lnTo>
                    <a:pt x="23061" y="1845"/>
                  </a:lnTo>
                  <a:lnTo>
                    <a:pt x="23069" y="1836"/>
                  </a:lnTo>
                  <a:lnTo>
                    <a:pt x="23069" y="1827"/>
                  </a:lnTo>
                  <a:lnTo>
                    <a:pt x="23078" y="1827"/>
                  </a:lnTo>
                  <a:lnTo>
                    <a:pt x="23096" y="1836"/>
                  </a:lnTo>
                  <a:lnTo>
                    <a:pt x="23105" y="1836"/>
                  </a:lnTo>
                  <a:lnTo>
                    <a:pt x="23087" y="1862"/>
                  </a:lnTo>
                  <a:lnTo>
                    <a:pt x="23096" y="1862"/>
                  </a:lnTo>
                  <a:lnTo>
                    <a:pt x="23122" y="1853"/>
                  </a:lnTo>
                  <a:lnTo>
                    <a:pt x="23131" y="1845"/>
                  </a:lnTo>
                  <a:lnTo>
                    <a:pt x="23149" y="1827"/>
                  </a:lnTo>
                  <a:lnTo>
                    <a:pt x="23149" y="1818"/>
                  </a:lnTo>
                  <a:lnTo>
                    <a:pt x="23131" y="1818"/>
                  </a:lnTo>
                  <a:lnTo>
                    <a:pt x="23017" y="1818"/>
                  </a:lnTo>
                  <a:lnTo>
                    <a:pt x="22972" y="1836"/>
                  </a:lnTo>
                  <a:lnTo>
                    <a:pt x="22964" y="1827"/>
                  </a:lnTo>
                  <a:lnTo>
                    <a:pt x="22955" y="1818"/>
                  </a:lnTo>
                  <a:lnTo>
                    <a:pt x="22972" y="1818"/>
                  </a:lnTo>
                  <a:lnTo>
                    <a:pt x="22981" y="1818"/>
                  </a:lnTo>
                  <a:lnTo>
                    <a:pt x="22999" y="1809"/>
                  </a:lnTo>
                  <a:lnTo>
                    <a:pt x="23008" y="1800"/>
                  </a:lnTo>
                  <a:lnTo>
                    <a:pt x="23034" y="1800"/>
                  </a:lnTo>
                  <a:lnTo>
                    <a:pt x="23052" y="1809"/>
                  </a:lnTo>
                  <a:lnTo>
                    <a:pt x="23105" y="1809"/>
                  </a:lnTo>
                  <a:lnTo>
                    <a:pt x="23105" y="1800"/>
                  </a:lnTo>
                  <a:lnTo>
                    <a:pt x="23096" y="1792"/>
                  </a:lnTo>
                  <a:lnTo>
                    <a:pt x="23069" y="1792"/>
                  </a:lnTo>
                  <a:lnTo>
                    <a:pt x="23052" y="1783"/>
                  </a:lnTo>
                  <a:lnTo>
                    <a:pt x="23034" y="1783"/>
                  </a:lnTo>
                  <a:lnTo>
                    <a:pt x="22981" y="1774"/>
                  </a:lnTo>
                  <a:lnTo>
                    <a:pt x="22964" y="1765"/>
                  </a:lnTo>
                  <a:lnTo>
                    <a:pt x="22920" y="1765"/>
                  </a:lnTo>
                  <a:lnTo>
                    <a:pt x="22911" y="1765"/>
                  </a:lnTo>
                  <a:lnTo>
                    <a:pt x="22796" y="1756"/>
                  </a:lnTo>
                  <a:lnTo>
                    <a:pt x="22761" y="1747"/>
                  </a:lnTo>
                  <a:lnTo>
                    <a:pt x="22743" y="1739"/>
                  </a:lnTo>
                  <a:lnTo>
                    <a:pt x="22708" y="1730"/>
                  </a:lnTo>
                  <a:lnTo>
                    <a:pt x="22699" y="1730"/>
                  </a:lnTo>
                  <a:lnTo>
                    <a:pt x="22699" y="1739"/>
                  </a:lnTo>
                  <a:lnTo>
                    <a:pt x="22717" y="1756"/>
                  </a:lnTo>
                  <a:lnTo>
                    <a:pt x="22717" y="1774"/>
                  </a:lnTo>
                  <a:lnTo>
                    <a:pt x="22725" y="1774"/>
                  </a:lnTo>
                  <a:lnTo>
                    <a:pt x="22699" y="1783"/>
                  </a:lnTo>
                  <a:lnTo>
                    <a:pt x="22681" y="1792"/>
                  </a:lnTo>
                  <a:lnTo>
                    <a:pt x="22620" y="1792"/>
                  </a:lnTo>
                  <a:lnTo>
                    <a:pt x="22611" y="1792"/>
                  </a:lnTo>
                  <a:lnTo>
                    <a:pt x="22584" y="1809"/>
                  </a:lnTo>
                  <a:lnTo>
                    <a:pt x="22584" y="1818"/>
                  </a:lnTo>
                  <a:lnTo>
                    <a:pt x="22584" y="1836"/>
                  </a:lnTo>
                  <a:lnTo>
                    <a:pt x="22602" y="1836"/>
                  </a:lnTo>
                  <a:lnTo>
                    <a:pt x="22611" y="1827"/>
                  </a:lnTo>
                  <a:lnTo>
                    <a:pt x="22620" y="1827"/>
                  </a:lnTo>
                  <a:lnTo>
                    <a:pt x="22655" y="1827"/>
                  </a:lnTo>
                  <a:lnTo>
                    <a:pt x="22664" y="1836"/>
                  </a:lnTo>
                  <a:lnTo>
                    <a:pt x="22646" y="1836"/>
                  </a:lnTo>
                  <a:lnTo>
                    <a:pt x="22637" y="1836"/>
                  </a:lnTo>
                  <a:lnTo>
                    <a:pt x="22620" y="1862"/>
                  </a:lnTo>
                  <a:lnTo>
                    <a:pt x="22602" y="1862"/>
                  </a:lnTo>
                  <a:lnTo>
                    <a:pt x="22620" y="1871"/>
                  </a:lnTo>
                  <a:lnTo>
                    <a:pt x="22628" y="1871"/>
                  </a:lnTo>
                  <a:lnTo>
                    <a:pt x="22628" y="1898"/>
                  </a:lnTo>
                  <a:lnTo>
                    <a:pt x="22646" y="1915"/>
                  </a:lnTo>
                  <a:lnTo>
                    <a:pt x="22646" y="1924"/>
                  </a:lnTo>
                  <a:lnTo>
                    <a:pt x="22620" y="1924"/>
                  </a:lnTo>
                  <a:lnTo>
                    <a:pt x="22602" y="1933"/>
                  </a:lnTo>
                  <a:lnTo>
                    <a:pt x="22593" y="1933"/>
                  </a:lnTo>
                  <a:lnTo>
                    <a:pt x="22575" y="1915"/>
                  </a:lnTo>
                  <a:lnTo>
                    <a:pt x="22558" y="1906"/>
                  </a:lnTo>
                  <a:lnTo>
                    <a:pt x="22549" y="1906"/>
                  </a:lnTo>
                  <a:lnTo>
                    <a:pt x="22540" y="1915"/>
                  </a:lnTo>
                  <a:lnTo>
                    <a:pt x="22523" y="1915"/>
                  </a:lnTo>
                  <a:lnTo>
                    <a:pt x="22514" y="1915"/>
                  </a:lnTo>
                  <a:lnTo>
                    <a:pt x="22505" y="1924"/>
                  </a:lnTo>
                  <a:lnTo>
                    <a:pt x="22505" y="1933"/>
                  </a:lnTo>
                  <a:lnTo>
                    <a:pt x="22496" y="1933"/>
                  </a:lnTo>
                  <a:lnTo>
                    <a:pt x="22496" y="1942"/>
                  </a:lnTo>
                  <a:lnTo>
                    <a:pt x="22505" y="1942"/>
                  </a:lnTo>
                  <a:lnTo>
                    <a:pt x="22523" y="1950"/>
                  </a:lnTo>
                  <a:lnTo>
                    <a:pt x="22505" y="1950"/>
                  </a:lnTo>
                  <a:lnTo>
                    <a:pt x="22505" y="1959"/>
                  </a:lnTo>
                  <a:lnTo>
                    <a:pt x="22487" y="1959"/>
                  </a:lnTo>
                  <a:lnTo>
                    <a:pt x="22496" y="1968"/>
                  </a:lnTo>
                  <a:lnTo>
                    <a:pt x="22505" y="1977"/>
                  </a:lnTo>
                  <a:lnTo>
                    <a:pt x="22496" y="1977"/>
                  </a:lnTo>
                  <a:lnTo>
                    <a:pt x="22487" y="1968"/>
                  </a:lnTo>
                  <a:lnTo>
                    <a:pt x="22478" y="1968"/>
                  </a:lnTo>
                  <a:lnTo>
                    <a:pt x="22461" y="1950"/>
                  </a:lnTo>
                  <a:lnTo>
                    <a:pt x="22452" y="1942"/>
                  </a:lnTo>
                  <a:lnTo>
                    <a:pt x="22434" y="1942"/>
                  </a:lnTo>
                  <a:lnTo>
                    <a:pt x="22381" y="1915"/>
                  </a:lnTo>
                  <a:lnTo>
                    <a:pt x="22364" y="1906"/>
                  </a:lnTo>
                  <a:lnTo>
                    <a:pt x="22346" y="1906"/>
                  </a:lnTo>
                  <a:lnTo>
                    <a:pt x="22320" y="1915"/>
                  </a:lnTo>
                  <a:lnTo>
                    <a:pt x="22311" y="1924"/>
                  </a:lnTo>
                  <a:lnTo>
                    <a:pt x="22284" y="1924"/>
                  </a:lnTo>
                  <a:lnTo>
                    <a:pt x="22267" y="1933"/>
                  </a:lnTo>
                  <a:lnTo>
                    <a:pt x="22258" y="1942"/>
                  </a:lnTo>
                  <a:lnTo>
                    <a:pt x="22214" y="1942"/>
                  </a:lnTo>
                  <a:lnTo>
                    <a:pt x="22187" y="1933"/>
                  </a:lnTo>
                  <a:lnTo>
                    <a:pt x="22161" y="1924"/>
                  </a:lnTo>
                  <a:lnTo>
                    <a:pt x="22143" y="1915"/>
                  </a:lnTo>
                  <a:lnTo>
                    <a:pt x="22126" y="1889"/>
                  </a:lnTo>
                  <a:lnTo>
                    <a:pt x="22117" y="1889"/>
                  </a:lnTo>
                  <a:lnTo>
                    <a:pt x="22117" y="1880"/>
                  </a:lnTo>
                  <a:lnTo>
                    <a:pt x="22108" y="1871"/>
                  </a:lnTo>
                  <a:lnTo>
                    <a:pt x="22099" y="1871"/>
                  </a:lnTo>
                  <a:lnTo>
                    <a:pt x="22081" y="1898"/>
                  </a:lnTo>
                  <a:lnTo>
                    <a:pt x="22073" y="1906"/>
                  </a:lnTo>
                  <a:lnTo>
                    <a:pt x="22064" y="1933"/>
                  </a:lnTo>
                  <a:lnTo>
                    <a:pt x="22064" y="1950"/>
                  </a:lnTo>
                  <a:lnTo>
                    <a:pt x="22064" y="1959"/>
                  </a:lnTo>
                  <a:lnTo>
                    <a:pt x="22055" y="1968"/>
                  </a:lnTo>
                  <a:lnTo>
                    <a:pt x="22046" y="1977"/>
                  </a:lnTo>
                  <a:lnTo>
                    <a:pt x="22028" y="2003"/>
                  </a:lnTo>
                  <a:lnTo>
                    <a:pt x="22020" y="2021"/>
                  </a:lnTo>
                  <a:lnTo>
                    <a:pt x="22002" y="2021"/>
                  </a:lnTo>
                  <a:lnTo>
                    <a:pt x="22002" y="2030"/>
                  </a:lnTo>
                  <a:lnTo>
                    <a:pt x="21984" y="2030"/>
                  </a:lnTo>
                  <a:lnTo>
                    <a:pt x="21976" y="2021"/>
                  </a:lnTo>
                  <a:lnTo>
                    <a:pt x="21976" y="2003"/>
                  </a:lnTo>
                  <a:lnTo>
                    <a:pt x="21967" y="1995"/>
                  </a:lnTo>
                  <a:lnTo>
                    <a:pt x="21958" y="2012"/>
                  </a:lnTo>
                  <a:lnTo>
                    <a:pt x="21949" y="2012"/>
                  </a:lnTo>
                  <a:lnTo>
                    <a:pt x="21931" y="2003"/>
                  </a:lnTo>
                  <a:lnTo>
                    <a:pt x="21914" y="1986"/>
                  </a:lnTo>
                  <a:lnTo>
                    <a:pt x="21896" y="1977"/>
                  </a:lnTo>
                  <a:lnTo>
                    <a:pt x="21870" y="1942"/>
                  </a:lnTo>
                  <a:lnTo>
                    <a:pt x="21852" y="1924"/>
                  </a:lnTo>
                  <a:lnTo>
                    <a:pt x="21852" y="1915"/>
                  </a:lnTo>
                  <a:lnTo>
                    <a:pt x="21834" y="1915"/>
                  </a:lnTo>
                  <a:lnTo>
                    <a:pt x="21826" y="1906"/>
                  </a:lnTo>
                  <a:lnTo>
                    <a:pt x="21834" y="1898"/>
                  </a:lnTo>
                  <a:lnTo>
                    <a:pt x="21861" y="1889"/>
                  </a:lnTo>
                  <a:lnTo>
                    <a:pt x="21870" y="1898"/>
                  </a:lnTo>
                  <a:lnTo>
                    <a:pt x="21861" y="1880"/>
                  </a:lnTo>
                  <a:lnTo>
                    <a:pt x="21852" y="1871"/>
                  </a:lnTo>
                  <a:lnTo>
                    <a:pt x="21852" y="1862"/>
                  </a:lnTo>
                  <a:lnTo>
                    <a:pt x="21852" y="1871"/>
                  </a:lnTo>
                  <a:lnTo>
                    <a:pt x="21852" y="1880"/>
                  </a:lnTo>
                  <a:lnTo>
                    <a:pt x="21843" y="1889"/>
                  </a:lnTo>
                  <a:lnTo>
                    <a:pt x="21834" y="1889"/>
                  </a:lnTo>
                  <a:lnTo>
                    <a:pt x="21790" y="1845"/>
                  </a:lnTo>
                  <a:lnTo>
                    <a:pt x="21764" y="1827"/>
                  </a:lnTo>
                  <a:lnTo>
                    <a:pt x="21755" y="1818"/>
                  </a:lnTo>
                  <a:lnTo>
                    <a:pt x="21746" y="1800"/>
                  </a:lnTo>
                  <a:lnTo>
                    <a:pt x="21755" y="1800"/>
                  </a:lnTo>
                  <a:lnTo>
                    <a:pt x="21781" y="1818"/>
                  </a:lnTo>
                  <a:lnTo>
                    <a:pt x="21799" y="1827"/>
                  </a:lnTo>
                  <a:lnTo>
                    <a:pt x="21834" y="1845"/>
                  </a:lnTo>
                  <a:lnTo>
                    <a:pt x="21861" y="1845"/>
                  </a:lnTo>
                  <a:lnTo>
                    <a:pt x="21870" y="1836"/>
                  </a:lnTo>
                  <a:lnTo>
                    <a:pt x="21870" y="1818"/>
                  </a:lnTo>
                  <a:lnTo>
                    <a:pt x="21861" y="1800"/>
                  </a:lnTo>
                  <a:lnTo>
                    <a:pt x="21852" y="1792"/>
                  </a:lnTo>
                  <a:lnTo>
                    <a:pt x="21808" y="1792"/>
                  </a:lnTo>
                  <a:lnTo>
                    <a:pt x="21799" y="1783"/>
                  </a:lnTo>
                  <a:lnTo>
                    <a:pt x="21817" y="1783"/>
                  </a:lnTo>
                  <a:lnTo>
                    <a:pt x="21826" y="1774"/>
                  </a:lnTo>
                  <a:lnTo>
                    <a:pt x="21852" y="1765"/>
                  </a:lnTo>
                  <a:lnTo>
                    <a:pt x="21861" y="1756"/>
                  </a:lnTo>
                  <a:lnTo>
                    <a:pt x="21852" y="1747"/>
                  </a:lnTo>
                  <a:lnTo>
                    <a:pt x="21843" y="1739"/>
                  </a:lnTo>
                  <a:lnTo>
                    <a:pt x="21817" y="1739"/>
                  </a:lnTo>
                  <a:lnTo>
                    <a:pt x="21808" y="1730"/>
                  </a:lnTo>
                  <a:lnTo>
                    <a:pt x="21817" y="1730"/>
                  </a:lnTo>
                  <a:lnTo>
                    <a:pt x="21826" y="1721"/>
                  </a:lnTo>
                  <a:lnTo>
                    <a:pt x="21843" y="1712"/>
                  </a:lnTo>
                  <a:lnTo>
                    <a:pt x="21843" y="1703"/>
                  </a:lnTo>
                  <a:lnTo>
                    <a:pt x="21834" y="1703"/>
                  </a:lnTo>
                  <a:lnTo>
                    <a:pt x="21834" y="1695"/>
                  </a:lnTo>
                  <a:lnTo>
                    <a:pt x="21817" y="1686"/>
                  </a:lnTo>
                  <a:lnTo>
                    <a:pt x="21808" y="1686"/>
                  </a:lnTo>
                  <a:lnTo>
                    <a:pt x="21781" y="1677"/>
                  </a:lnTo>
                  <a:lnTo>
                    <a:pt x="21790" y="1668"/>
                  </a:lnTo>
                  <a:lnTo>
                    <a:pt x="21773" y="1668"/>
                  </a:lnTo>
                  <a:lnTo>
                    <a:pt x="21764" y="1659"/>
                  </a:lnTo>
                  <a:lnTo>
                    <a:pt x="21746" y="1650"/>
                  </a:lnTo>
                  <a:lnTo>
                    <a:pt x="21693" y="1642"/>
                  </a:lnTo>
                  <a:lnTo>
                    <a:pt x="21684" y="1659"/>
                  </a:lnTo>
                  <a:lnTo>
                    <a:pt x="21658" y="1668"/>
                  </a:lnTo>
                  <a:lnTo>
                    <a:pt x="21640" y="1659"/>
                  </a:lnTo>
                  <a:lnTo>
                    <a:pt x="21640" y="1650"/>
                  </a:lnTo>
                  <a:lnTo>
                    <a:pt x="21640" y="1642"/>
                  </a:lnTo>
                  <a:lnTo>
                    <a:pt x="21623" y="1642"/>
                  </a:lnTo>
                  <a:lnTo>
                    <a:pt x="21614" y="1650"/>
                  </a:lnTo>
                  <a:lnTo>
                    <a:pt x="21605" y="1650"/>
                  </a:lnTo>
                  <a:lnTo>
                    <a:pt x="21587" y="1659"/>
                  </a:lnTo>
                  <a:lnTo>
                    <a:pt x="21587" y="1642"/>
                  </a:lnTo>
                  <a:lnTo>
                    <a:pt x="21534" y="1615"/>
                  </a:lnTo>
                  <a:lnTo>
                    <a:pt x="21508" y="1615"/>
                  </a:lnTo>
                  <a:lnTo>
                    <a:pt x="21499" y="1615"/>
                  </a:lnTo>
                  <a:lnTo>
                    <a:pt x="21473" y="1615"/>
                  </a:lnTo>
                  <a:lnTo>
                    <a:pt x="21464" y="1624"/>
                  </a:lnTo>
                  <a:lnTo>
                    <a:pt x="21455" y="1633"/>
                  </a:lnTo>
                  <a:lnTo>
                    <a:pt x="21437" y="1624"/>
                  </a:lnTo>
                  <a:lnTo>
                    <a:pt x="21429" y="1624"/>
                  </a:lnTo>
                  <a:lnTo>
                    <a:pt x="21420" y="1642"/>
                  </a:lnTo>
                  <a:lnTo>
                    <a:pt x="21420" y="1659"/>
                  </a:lnTo>
                  <a:lnTo>
                    <a:pt x="21429" y="1659"/>
                  </a:lnTo>
                  <a:lnTo>
                    <a:pt x="21429" y="1668"/>
                  </a:lnTo>
                  <a:lnTo>
                    <a:pt x="21437" y="1686"/>
                  </a:lnTo>
                  <a:lnTo>
                    <a:pt x="21446" y="1695"/>
                  </a:lnTo>
                  <a:lnTo>
                    <a:pt x="21437" y="1695"/>
                  </a:lnTo>
                  <a:lnTo>
                    <a:pt x="21429" y="1695"/>
                  </a:lnTo>
                  <a:lnTo>
                    <a:pt x="21429" y="1703"/>
                  </a:lnTo>
                  <a:lnTo>
                    <a:pt x="21420" y="1721"/>
                  </a:lnTo>
                  <a:lnTo>
                    <a:pt x="21411" y="1721"/>
                  </a:lnTo>
                  <a:lnTo>
                    <a:pt x="21402" y="1721"/>
                  </a:lnTo>
                  <a:lnTo>
                    <a:pt x="21367" y="1712"/>
                  </a:lnTo>
                  <a:lnTo>
                    <a:pt x="21358" y="1721"/>
                  </a:lnTo>
                  <a:lnTo>
                    <a:pt x="21376" y="1730"/>
                  </a:lnTo>
                  <a:lnTo>
                    <a:pt x="21384" y="1730"/>
                  </a:lnTo>
                  <a:lnTo>
                    <a:pt x="21376" y="1730"/>
                  </a:lnTo>
                  <a:lnTo>
                    <a:pt x="21367" y="1739"/>
                  </a:lnTo>
                  <a:lnTo>
                    <a:pt x="21340" y="1739"/>
                  </a:lnTo>
                  <a:lnTo>
                    <a:pt x="21331" y="1730"/>
                  </a:lnTo>
                  <a:lnTo>
                    <a:pt x="21314" y="1721"/>
                  </a:lnTo>
                  <a:lnTo>
                    <a:pt x="21305" y="1721"/>
                  </a:lnTo>
                  <a:lnTo>
                    <a:pt x="21279" y="1721"/>
                  </a:lnTo>
                  <a:lnTo>
                    <a:pt x="21252" y="1730"/>
                  </a:lnTo>
                  <a:lnTo>
                    <a:pt x="21226" y="1721"/>
                  </a:lnTo>
                  <a:lnTo>
                    <a:pt x="21173" y="1721"/>
                  </a:lnTo>
                  <a:lnTo>
                    <a:pt x="21164" y="1721"/>
                  </a:lnTo>
                  <a:lnTo>
                    <a:pt x="21137" y="1712"/>
                  </a:lnTo>
                  <a:lnTo>
                    <a:pt x="21102" y="1703"/>
                  </a:lnTo>
                  <a:lnTo>
                    <a:pt x="21067" y="1686"/>
                  </a:lnTo>
                  <a:lnTo>
                    <a:pt x="21058" y="1668"/>
                  </a:lnTo>
                  <a:lnTo>
                    <a:pt x="21067" y="1650"/>
                  </a:lnTo>
                  <a:lnTo>
                    <a:pt x="21084" y="1650"/>
                  </a:lnTo>
                  <a:lnTo>
                    <a:pt x="21102" y="1650"/>
                  </a:lnTo>
                  <a:lnTo>
                    <a:pt x="21102" y="1642"/>
                  </a:lnTo>
                  <a:lnTo>
                    <a:pt x="21093" y="1642"/>
                  </a:lnTo>
                  <a:lnTo>
                    <a:pt x="21067" y="1633"/>
                  </a:lnTo>
                  <a:lnTo>
                    <a:pt x="20979" y="1633"/>
                  </a:lnTo>
                  <a:lnTo>
                    <a:pt x="20917" y="1624"/>
                  </a:lnTo>
                  <a:lnTo>
                    <a:pt x="20837" y="1615"/>
                  </a:lnTo>
                  <a:lnTo>
                    <a:pt x="20793" y="1633"/>
                  </a:lnTo>
                  <a:lnTo>
                    <a:pt x="20740" y="1633"/>
                  </a:lnTo>
                  <a:lnTo>
                    <a:pt x="20723" y="1642"/>
                  </a:lnTo>
                  <a:lnTo>
                    <a:pt x="20705" y="1650"/>
                  </a:lnTo>
                  <a:lnTo>
                    <a:pt x="20705" y="1659"/>
                  </a:lnTo>
                  <a:lnTo>
                    <a:pt x="20714" y="1668"/>
                  </a:lnTo>
                  <a:lnTo>
                    <a:pt x="20723" y="1668"/>
                  </a:lnTo>
                  <a:lnTo>
                    <a:pt x="20732" y="1668"/>
                  </a:lnTo>
                  <a:lnTo>
                    <a:pt x="20723" y="1668"/>
                  </a:lnTo>
                  <a:lnTo>
                    <a:pt x="20723" y="1677"/>
                  </a:lnTo>
                  <a:lnTo>
                    <a:pt x="20714" y="1677"/>
                  </a:lnTo>
                  <a:lnTo>
                    <a:pt x="20705" y="1686"/>
                  </a:lnTo>
                  <a:lnTo>
                    <a:pt x="20705" y="1695"/>
                  </a:lnTo>
                  <a:lnTo>
                    <a:pt x="20705" y="1712"/>
                  </a:lnTo>
                  <a:lnTo>
                    <a:pt x="20696" y="1730"/>
                  </a:lnTo>
                  <a:lnTo>
                    <a:pt x="20687" y="1739"/>
                  </a:lnTo>
                  <a:lnTo>
                    <a:pt x="20679" y="1747"/>
                  </a:lnTo>
                  <a:lnTo>
                    <a:pt x="20687" y="1756"/>
                  </a:lnTo>
                  <a:lnTo>
                    <a:pt x="20696" y="1756"/>
                  </a:lnTo>
                  <a:lnTo>
                    <a:pt x="20714" y="1765"/>
                  </a:lnTo>
                  <a:lnTo>
                    <a:pt x="20714" y="1774"/>
                  </a:lnTo>
                  <a:lnTo>
                    <a:pt x="20687" y="1765"/>
                  </a:lnTo>
                  <a:lnTo>
                    <a:pt x="20679" y="1756"/>
                  </a:lnTo>
                  <a:lnTo>
                    <a:pt x="20679" y="1747"/>
                  </a:lnTo>
                  <a:lnTo>
                    <a:pt x="20670" y="1739"/>
                  </a:lnTo>
                  <a:lnTo>
                    <a:pt x="20679" y="1730"/>
                  </a:lnTo>
                  <a:lnTo>
                    <a:pt x="20687" y="1730"/>
                  </a:lnTo>
                  <a:lnTo>
                    <a:pt x="20696" y="1712"/>
                  </a:lnTo>
                  <a:lnTo>
                    <a:pt x="20696" y="1695"/>
                  </a:lnTo>
                  <a:lnTo>
                    <a:pt x="20696" y="1668"/>
                  </a:lnTo>
                  <a:lnTo>
                    <a:pt x="20687" y="1659"/>
                  </a:lnTo>
                  <a:lnTo>
                    <a:pt x="20679" y="1650"/>
                  </a:lnTo>
                  <a:lnTo>
                    <a:pt x="20687" y="1633"/>
                  </a:lnTo>
                  <a:lnTo>
                    <a:pt x="20696" y="1624"/>
                  </a:lnTo>
                  <a:lnTo>
                    <a:pt x="20687" y="1615"/>
                  </a:lnTo>
                  <a:lnTo>
                    <a:pt x="20679" y="1597"/>
                  </a:lnTo>
                  <a:lnTo>
                    <a:pt x="20670" y="1589"/>
                  </a:lnTo>
                  <a:lnTo>
                    <a:pt x="20661" y="1580"/>
                  </a:lnTo>
                  <a:lnTo>
                    <a:pt x="20652" y="1580"/>
                  </a:lnTo>
                  <a:lnTo>
                    <a:pt x="20661" y="1597"/>
                  </a:lnTo>
                  <a:lnTo>
                    <a:pt x="20652" y="1606"/>
                  </a:lnTo>
                  <a:lnTo>
                    <a:pt x="20652" y="1615"/>
                  </a:lnTo>
                  <a:lnTo>
                    <a:pt x="20617" y="1615"/>
                  </a:lnTo>
                  <a:lnTo>
                    <a:pt x="20599" y="1615"/>
                  </a:lnTo>
                  <a:lnTo>
                    <a:pt x="20573" y="1615"/>
                  </a:lnTo>
                  <a:lnTo>
                    <a:pt x="20546" y="1597"/>
                  </a:lnTo>
                  <a:lnTo>
                    <a:pt x="20537" y="1589"/>
                  </a:lnTo>
                  <a:lnTo>
                    <a:pt x="20537" y="1580"/>
                  </a:lnTo>
                  <a:lnTo>
                    <a:pt x="20546" y="1580"/>
                  </a:lnTo>
                  <a:lnTo>
                    <a:pt x="20555" y="1571"/>
                  </a:lnTo>
                  <a:lnTo>
                    <a:pt x="20537" y="1571"/>
                  </a:lnTo>
                  <a:lnTo>
                    <a:pt x="20529" y="1571"/>
                  </a:lnTo>
                  <a:lnTo>
                    <a:pt x="20520" y="1589"/>
                  </a:lnTo>
                  <a:lnTo>
                    <a:pt x="20511" y="1580"/>
                  </a:lnTo>
                  <a:lnTo>
                    <a:pt x="20458" y="1571"/>
                  </a:lnTo>
                  <a:lnTo>
                    <a:pt x="20449" y="1580"/>
                  </a:lnTo>
                  <a:lnTo>
                    <a:pt x="20432" y="1589"/>
                  </a:lnTo>
                  <a:lnTo>
                    <a:pt x="20423" y="1597"/>
                  </a:lnTo>
                  <a:lnTo>
                    <a:pt x="20414" y="1606"/>
                  </a:lnTo>
                  <a:lnTo>
                    <a:pt x="20423" y="1615"/>
                  </a:lnTo>
                  <a:lnTo>
                    <a:pt x="20449" y="1615"/>
                  </a:lnTo>
                  <a:lnTo>
                    <a:pt x="20476" y="1615"/>
                  </a:lnTo>
                  <a:lnTo>
                    <a:pt x="20493" y="1606"/>
                  </a:lnTo>
                  <a:lnTo>
                    <a:pt x="20502" y="1615"/>
                  </a:lnTo>
                  <a:lnTo>
                    <a:pt x="20511" y="1615"/>
                  </a:lnTo>
                  <a:lnTo>
                    <a:pt x="20502" y="1624"/>
                  </a:lnTo>
                  <a:lnTo>
                    <a:pt x="20476" y="1633"/>
                  </a:lnTo>
                  <a:lnTo>
                    <a:pt x="20432" y="1650"/>
                  </a:lnTo>
                  <a:lnTo>
                    <a:pt x="20414" y="1650"/>
                  </a:lnTo>
                  <a:lnTo>
                    <a:pt x="20396" y="1650"/>
                  </a:lnTo>
                  <a:lnTo>
                    <a:pt x="20379" y="1659"/>
                  </a:lnTo>
                  <a:lnTo>
                    <a:pt x="20379" y="1668"/>
                  </a:lnTo>
                  <a:lnTo>
                    <a:pt x="20335" y="1677"/>
                  </a:lnTo>
                  <a:lnTo>
                    <a:pt x="20326" y="1677"/>
                  </a:lnTo>
                  <a:lnTo>
                    <a:pt x="20317" y="1677"/>
                  </a:lnTo>
                  <a:lnTo>
                    <a:pt x="20308" y="1686"/>
                  </a:lnTo>
                  <a:lnTo>
                    <a:pt x="20299" y="1686"/>
                  </a:lnTo>
                  <a:lnTo>
                    <a:pt x="20282" y="1695"/>
                  </a:lnTo>
                  <a:lnTo>
                    <a:pt x="20246" y="1695"/>
                  </a:lnTo>
                  <a:lnTo>
                    <a:pt x="20229" y="1695"/>
                  </a:lnTo>
                  <a:lnTo>
                    <a:pt x="20185" y="1695"/>
                  </a:lnTo>
                  <a:lnTo>
                    <a:pt x="20176" y="1703"/>
                  </a:lnTo>
                  <a:lnTo>
                    <a:pt x="20167" y="1712"/>
                  </a:lnTo>
                  <a:lnTo>
                    <a:pt x="20158" y="1721"/>
                  </a:lnTo>
                  <a:lnTo>
                    <a:pt x="20158" y="1730"/>
                  </a:lnTo>
                  <a:lnTo>
                    <a:pt x="20132" y="1739"/>
                  </a:lnTo>
                  <a:lnTo>
                    <a:pt x="20105" y="1747"/>
                  </a:lnTo>
                  <a:lnTo>
                    <a:pt x="20088" y="1747"/>
                  </a:lnTo>
                  <a:lnTo>
                    <a:pt x="20105" y="1739"/>
                  </a:lnTo>
                  <a:lnTo>
                    <a:pt x="20123" y="1721"/>
                  </a:lnTo>
                  <a:lnTo>
                    <a:pt x="20167" y="1677"/>
                  </a:lnTo>
                  <a:lnTo>
                    <a:pt x="20202" y="1668"/>
                  </a:lnTo>
                  <a:lnTo>
                    <a:pt x="20211" y="1668"/>
                  </a:lnTo>
                  <a:lnTo>
                    <a:pt x="20238" y="1633"/>
                  </a:lnTo>
                  <a:lnTo>
                    <a:pt x="20246" y="1633"/>
                  </a:lnTo>
                  <a:lnTo>
                    <a:pt x="20282" y="1633"/>
                  </a:lnTo>
                  <a:lnTo>
                    <a:pt x="20308" y="1624"/>
                  </a:lnTo>
                  <a:lnTo>
                    <a:pt x="20379" y="1571"/>
                  </a:lnTo>
                  <a:lnTo>
                    <a:pt x="20405" y="1562"/>
                  </a:lnTo>
                  <a:lnTo>
                    <a:pt x="20432" y="1553"/>
                  </a:lnTo>
                  <a:lnTo>
                    <a:pt x="20432" y="1544"/>
                  </a:lnTo>
                  <a:lnTo>
                    <a:pt x="20440" y="1536"/>
                  </a:lnTo>
                  <a:lnTo>
                    <a:pt x="20432" y="1536"/>
                  </a:lnTo>
                  <a:lnTo>
                    <a:pt x="20432" y="1527"/>
                  </a:lnTo>
                  <a:lnTo>
                    <a:pt x="20458" y="1518"/>
                  </a:lnTo>
                  <a:lnTo>
                    <a:pt x="20467" y="1509"/>
                  </a:lnTo>
                  <a:lnTo>
                    <a:pt x="20511" y="1500"/>
                  </a:lnTo>
                  <a:lnTo>
                    <a:pt x="20537" y="1483"/>
                  </a:lnTo>
                  <a:lnTo>
                    <a:pt x="20582" y="1465"/>
                  </a:lnTo>
                  <a:lnTo>
                    <a:pt x="20608" y="1456"/>
                  </a:lnTo>
                  <a:lnTo>
                    <a:pt x="20661" y="1430"/>
                  </a:lnTo>
                  <a:lnTo>
                    <a:pt x="20705" y="1386"/>
                  </a:lnTo>
                  <a:lnTo>
                    <a:pt x="20714" y="1359"/>
                  </a:lnTo>
                  <a:lnTo>
                    <a:pt x="20705" y="1359"/>
                  </a:lnTo>
                  <a:lnTo>
                    <a:pt x="20687" y="1350"/>
                  </a:lnTo>
                  <a:lnTo>
                    <a:pt x="20679" y="1341"/>
                  </a:lnTo>
                  <a:lnTo>
                    <a:pt x="20661" y="1341"/>
                  </a:lnTo>
                  <a:lnTo>
                    <a:pt x="20643" y="1324"/>
                  </a:lnTo>
                  <a:lnTo>
                    <a:pt x="20626" y="1306"/>
                  </a:lnTo>
                  <a:lnTo>
                    <a:pt x="20635" y="1306"/>
                  </a:lnTo>
                  <a:lnTo>
                    <a:pt x="20670" y="1324"/>
                  </a:lnTo>
                  <a:lnTo>
                    <a:pt x="20696" y="1333"/>
                  </a:lnTo>
                  <a:lnTo>
                    <a:pt x="20705" y="1341"/>
                  </a:lnTo>
                  <a:lnTo>
                    <a:pt x="20696" y="1350"/>
                  </a:lnTo>
                  <a:lnTo>
                    <a:pt x="20705" y="1341"/>
                  </a:lnTo>
                  <a:lnTo>
                    <a:pt x="20723" y="1324"/>
                  </a:lnTo>
                  <a:lnTo>
                    <a:pt x="20732" y="1306"/>
                  </a:lnTo>
                  <a:lnTo>
                    <a:pt x="20723" y="1289"/>
                  </a:lnTo>
                  <a:lnTo>
                    <a:pt x="20705" y="1297"/>
                  </a:lnTo>
                  <a:lnTo>
                    <a:pt x="20696" y="1262"/>
                  </a:lnTo>
                  <a:lnTo>
                    <a:pt x="20687" y="1253"/>
                  </a:lnTo>
                  <a:lnTo>
                    <a:pt x="20687" y="1244"/>
                  </a:lnTo>
                  <a:lnTo>
                    <a:pt x="20670" y="1244"/>
                  </a:lnTo>
                  <a:lnTo>
                    <a:pt x="20661" y="1244"/>
                  </a:lnTo>
                  <a:lnTo>
                    <a:pt x="20670" y="1244"/>
                  </a:lnTo>
                  <a:lnTo>
                    <a:pt x="20679" y="1253"/>
                  </a:lnTo>
                  <a:lnTo>
                    <a:pt x="20670" y="1262"/>
                  </a:lnTo>
                  <a:lnTo>
                    <a:pt x="20652" y="1271"/>
                  </a:lnTo>
                  <a:lnTo>
                    <a:pt x="20635" y="1271"/>
                  </a:lnTo>
                  <a:lnTo>
                    <a:pt x="20643" y="1271"/>
                  </a:lnTo>
                  <a:lnTo>
                    <a:pt x="20652" y="1262"/>
                  </a:lnTo>
                  <a:lnTo>
                    <a:pt x="20643" y="1253"/>
                  </a:lnTo>
                  <a:lnTo>
                    <a:pt x="20643" y="1244"/>
                  </a:lnTo>
                  <a:lnTo>
                    <a:pt x="20635" y="1227"/>
                  </a:lnTo>
                  <a:lnTo>
                    <a:pt x="20617" y="1218"/>
                  </a:lnTo>
                  <a:lnTo>
                    <a:pt x="20608" y="1218"/>
                  </a:lnTo>
                  <a:lnTo>
                    <a:pt x="20599" y="1218"/>
                  </a:lnTo>
                  <a:lnTo>
                    <a:pt x="20582" y="1227"/>
                  </a:lnTo>
                  <a:lnTo>
                    <a:pt x="20590" y="1218"/>
                  </a:lnTo>
                  <a:lnTo>
                    <a:pt x="20599" y="1209"/>
                  </a:lnTo>
                  <a:lnTo>
                    <a:pt x="20582" y="1200"/>
                  </a:lnTo>
                  <a:lnTo>
                    <a:pt x="20573" y="1191"/>
                  </a:lnTo>
                  <a:lnTo>
                    <a:pt x="20564" y="1183"/>
                  </a:lnTo>
                  <a:lnTo>
                    <a:pt x="20546" y="1174"/>
                  </a:lnTo>
                  <a:lnTo>
                    <a:pt x="20529" y="1174"/>
                  </a:lnTo>
                  <a:lnTo>
                    <a:pt x="20476" y="1165"/>
                  </a:lnTo>
                  <a:lnTo>
                    <a:pt x="20440" y="1174"/>
                  </a:lnTo>
                  <a:lnTo>
                    <a:pt x="20396" y="1165"/>
                  </a:lnTo>
                  <a:lnTo>
                    <a:pt x="20343" y="1174"/>
                  </a:lnTo>
                  <a:lnTo>
                    <a:pt x="20326" y="1174"/>
                  </a:lnTo>
                  <a:lnTo>
                    <a:pt x="20308" y="1165"/>
                  </a:lnTo>
                  <a:lnTo>
                    <a:pt x="20299" y="1174"/>
                  </a:lnTo>
                  <a:lnTo>
                    <a:pt x="20290" y="1183"/>
                  </a:lnTo>
                  <a:lnTo>
                    <a:pt x="20290" y="1191"/>
                  </a:lnTo>
                  <a:lnTo>
                    <a:pt x="20273" y="1200"/>
                  </a:lnTo>
                  <a:lnTo>
                    <a:pt x="20264" y="1200"/>
                  </a:lnTo>
                  <a:lnTo>
                    <a:pt x="20238" y="1200"/>
                  </a:lnTo>
                  <a:lnTo>
                    <a:pt x="20211" y="1209"/>
                  </a:lnTo>
                  <a:lnTo>
                    <a:pt x="20202" y="1200"/>
                  </a:lnTo>
                  <a:lnTo>
                    <a:pt x="20176" y="1200"/>
                  </a:lnTo>
                  <a:lnTo>
                    <a:pt x="20176" y="1191"/>
                  </a:lnTo>
                  <a:lnTo>
                    <a:pt x="20185" y="1191"/>
                  </a:lnTo>
                  <a:lnTo>
                    <a:pt x="20193" y="1191"/>
                  </a:lnTo>
                  <a:lnTo>
                    <a:pt x="20220" y="1165"/>
                  </a:lnTo>
                  <a:lnTo>
                    <a:pt x="20238" y="1156"/>
                  </a:lnTo>
                  <a:lnTo>
                    <a:pt x="20255" y="1139"/>
                  </a:lnTo>
                  <a:lnTo>
                    <a:pt x="20246" y="1130"/>
                  </a:lnTo>
                  <a:lnTo>
                    <a:pt x="20220" y="1121"/>
                  </a:lnTo>
                  <a:lnTo>
                    <a:pt x="20202" y="1121"/>
                  </a:lnTo>
                  <a:lnTo>
                    <a:pt x="20202" y="1130"/>
                  </a:lnTo>
                  <a:lnTo>
                    <a:pt x="20176" y="1121"/>
                  </a:lnTo>
                  <a:lnTo>
                    <a:pt x="20158" y="1121"/>
                  </a:lnTo>
                  <a:lnTo>
                    <a:pt x="20132" y="1130"/>
                  </a:lnTo>
                  <a:lnTo>
                    <a:pt x="20123" y="1112"/>
                  </a:lnTo>
                  <a:lnTo>
                    <a:pt x="20096" y="1112"/>
                  </a:lnTo>
                  <a:lnTo>
                    <a:pt x="20017" y="1112"/>
                  </a:lnTo>
                  <a:lnTo>
                    <a:pt x="20026" y="1103"/>
                  </a:lnTo>
                  <a:lnTo>
                    <a:pt x="20070" y="1103"/>
                  </a:lnTo>
                  <a:lnTo>
                    <a:pt x="20105" y="1094"/>
                  </a:lnTo>
                  <a:lnTo>
                    <a:pt x="20132" y="1077"/>
                  </a:lnTo>
                  <a:lnTo>
                    <a:pt x="20149" y="1068"/>
                  </a:lnTo>
                  <a:lnTo>
                    <a:pt x="20149" y="1059"/>
                  </a:lnTo>
                  <a:lnTo>
                    <a:pt x="20140" y="1050"/>
                  </a:lnTo>
                  <a:lnTo>
                    <a:pt x="20132" y="1041"/>
                  </a:lnTo>
                  <a:lnTo>
                    <a:pt x="20096" y="1041"/>
                  </a:lnTo>
                  <a:lnTo>
                    <a:pt x="20070" y="1033"/>
                  </a:lnTo>
                  <a:lnTo>
                    <a:pt x="20061" y="1024"/>
                  </a:lnTo>
                  <a:lnTo>
                    <a:pt x="20017" y="1015"/>
                  </a:lnTo>
                  <a:lnTo>
                    <a:pt x="19999" y="1015"/>
                  </a:lnTo>
                  <a:lnTo>
                    <a:pt x="19973" y="1033"/>
                  </a:lnTo>
                  <a:lnTo>
                    <a:pt x="19955" y="1024"/>
                  </a:lnTo>
                  <a:lnTo>
                    <a:pt x="19938" y="1033"/>
                  </a:lnTo>
                  <a:lnTo>
                    <a:pt x="19902" y="1050"/>
                  </a:lnTo>
                  <a:lnTo>
                    <a:pt x="19823" y="1094"/>
                  </a:lnTo>
                  <a:lnTo>
                    <a:pt x="19805" y="1112"/>
                  </a:lnTo>
                  <a:lnTo>
                    <a:pt x="19796" y="1121"/>
                  </a:lnTo>
                  <a:lnTo>
                    <a:pt x="19779" y="1130"/>
                  </a:lnTo>
                  <a:lnTo>
                    <a:pt x="19770" y="1147"/>
                  </a:lnTo>
                  <a:lnTo>
                    <a:pt x="19779" y="1156"/>
                  </a:lnTo>
                  <a:lnTo>
                    <a:pt x="19779" y="1165"/>
                  </a:lnTo>
                  <a:lnTo>
                    <a:pt x="19788" y="1174"/>
                  </a:lnTo>
                  <a:lnTo>
                    <a:pt x="19779" y="1191"/>
                  </a:lnTo>
                  <a:lnTo>
                    <a:pt x="19779" y="1200"/>
                  </a:lnTo>
                  <a:lnTo>
                    <a:pt x="19796" y="1200"/>
                  </a:lnTo>
                  <a:lnTo>
                    <a:pt x="19832" y="1209"/>
                  </a:lnTo>
                  <a:lnTo>
                    <a:pt x="19823" y="1218"/>
                  </a:lnTo>
                  <a:lnTo>
                    <a:pt x="19805" y="1209"/>
                  </a:lnTo>
                  <a:lnTo>
                    <a:pt x="19788" y="1209"/>
                  </a:lnTo>
                  <a:lnTo>
                    <a:pt x="19770" y="1200"/>
                  </a:lnTo>
                  <a:lnTo>
                    <a:pt x="19735" y="1209"/>
                  </a:lnTo>
                  <a:lnTo>
                    <a:pt x="19699" y="1209"/>
                  </a:lnTo>
                  <a:lnTo>
                    <a:pt x="19673" y="1209"/>
                  </a:lnTo>
                  <a:lnTo>
                    <a:pt x="19629" y="1200"/>
                  </a:lnTo>
                  <a:lnTo>
                    <a:pt x="19620" y="1209"/>
                  </a:lnTo>
                  <a:lnTo>
                    <a:pt x="19629" y="1218"/>
                  </a:lnTo>
                  <a:lnTo>
                    <a:pt x="19638" y="1227"/>
                  </a:lnTo>
                  <a:lnTo>
                    <a:pt x="19664" y="1236"/>
                  </a:lnTo>
                  <a:lnTo>
                    <a:pt x="19682" y="1244"/>
                  </a:lnTo>
                  <a:lnTo>
                    <a:pt x="19691" y="1262"/>
                  </a:lnTo>
                  <a:lnTo>
                    <a:pt x="19699" y="1289"/>
                  </a:lnTo>
                  <a:lnTo>
                    <a:pt x="19691" y="1297"/>
                  </a:lnTo>
                  <a:lnTo>
                    <a:pt x="19682" y="1306"/>
                  </a:lnTo>
                  <a:lnTo>
                    <a:pt x="19673" y="1315"/>
                  </a:lnTo>
                  <a:lnTo>
                    <a:pt x="19664" y="1315"/>
                  </a:lnTo>
                  <a:lnTo>
                    <a:pt x="19682" y="1306"/>
                  </a:lnTo>
                  <a:lnTo>
                    <a:pt x="19682" y="1289"/>
                  </a:lnTo>
                  <a:lnTo>
                    <a:pt x="19691" y="1280"/>
                  </a:lnTo>
                  <a:lnTo>
                    <a:pt x="19682" y="1271"/>
                  </a:lnTo>
                  <a:lnTo>
                    <a:pt x="19673" y="1262"/>
                  </a:lnTo>
                  <a:lnTo>
                    <a:pt x="19646" y="1253"/>
                  </a:lnTo>
                  <a:lnTo>
                    <a:pt x="19629" y="1253"/>
                  </a:lnTo>
                  <a:lnTo>
                    <a:pt x="19620" y="1244"/>
                  </a:lnTo>
                  <a:lnTo>
                    <a:pt x="19611" y="1244"/>
                  </a:lnTo>
                  <a:lnTo>
                    <a:pt x="19585" y="1253"/>
                  </a:lnTo>
                  <a:lnTo>
                    <a:pt x="19576" y="1253"/>
                  </a:lnTo>
                  <a:lnTo>
                    <a:pt x="19558" y="1262"/>
                  </a:lnTo>
                  <a:lnTo>
                    <a:pt x="19558" y="1271"/>
                  </a:lnTo>
                  <a:lnTo>
                    <a:pt x="19541" y="1271"/>
                  </a:lnTo>
                  <a:lnTo>
                    <a:pt x="19532" y="1280"/>
                  </a:lnTo>
                  <a:lnTo>
                    <a:pt x="19523" y="1280"/>
                  </a:lnTo>
                  <a:lnTo>
                    <a:pt x="19514" y="1280"/>
                  </a:lnTo>
                  <a:lnTo>
                    <a:pt x="19505" y="1280"/>
                  </a:lnTo>
                  <a:lnTo>
                    <a:pt x="19479" y="1289"/>
                  </a:lnTo>
                  <a:lnTo>
                    <a:pt x="19452" y="1297"/>
                  </a:lnTo>
                  <a:lnTo>
                    <a:pt x="19452" y="1289"/>
                  </a:lnTo>
                  <a:lnTo>
                    <a:pt x="19461" y="1280"/>
                  </a:lnTo>
                  <a:lnTo>
                    <a:pt x="19452" y="1280"/>
                  </a:lnTo>
                  <a:lnTo>
                    <a:pt x="19408" y="1289"/>
                  </a:lnTo>
                  <a:lnTo>
                    <a:pt x="19391" y="1297"/>
                  </a:lnTo>
                  <a:lnTo>
                    <a:pt x="19417" y="1280"/>
                  </a:lnTo>
                  <a:lnTo>
                    <a:pt x="19417" y="1271"/>
                  </a:lnTo>
                  <a:lnTo>
                    <a:pt x="19408" y="1262"/>
                  </a:lnTo>
                  <a:lnTo>
                    <a:pt x="19382" y="1262"/>
                  </a:lnTo>
                  <a:lnTo>
                    <a:pt x="19364" y="1262"/>
                  </a:lnTo>
                  <a:lnTo>
                    <a:pt x="19346" y="1262"/>
                  </a:lnTo>
                  <a:lnTo>
                    <a:pt x="19311" y="1262"/>
                  </a:lnTo>
                  <a:lnTo>
                    <a:pt x="19302" y="1262"/>
                  </a:lnTo>
                  <a:lnTo>
                    <a:pt x="19294" y="1262"/>
                  </a:lnTo>
                  <a:lnTo>
                    <a:pt x="19276" y="1262"/>
                  </a:lnTo>
                  <a:lnTo>
                    <a:pt x="19258" y="1262"/>
                  </a:lnTo>
                  <a:lnTo>
                    <a:pt x="19241" y="1271"/>
                  </a:lnTo>
                  <a:lnTo>
                    <a:pt x="19223" y="1262"/>
                  </a:lnTo>
                  <a:lnTo>
                    <a:pt x="19214" y="1262"/>
                  </a:lnTo>
                  <a:lnTo>
                    <a:pt x="19205" y="1280"/>
                  </a:lnTo>
                  <a:lnTo>
                    <a:pt x="19188" y="1271"/>
                  </a:lnTo>
                  <a:lnTo>
                    <a:pt x="19179" y="1280"/>
                  </a:lnTo>
                  <a:lnTo>
                    <a:pt x="19188" y="1297"/>
                  </a:lnTo>
                  <a:lnTo>
                    <a:pt x="19196" y="1297"/>
                  </a:lnTo>
                  <a:lnTo>
                    <a:pt x="19205" y="1289"/>
                  </a:lnTo>
                  <a:lnTo>
                    <a:pt x="19223" y="1297"/>
                  </a:lnTo>
                  <a:lnTo>
                    <a:pt x="19232" y="1289"/>
                  </a:lnTo>
                  <a:lnTo>
                    <a:pt x="19241" y="1289"/>
                  </a:lnTo>
                  <a:lnTo>
                    <a:pt x="19276" y="1289"/>
                  </a:lnTo>
                  <a:lnTo>
                    <a:pt x="19276" y="1297"/>
                  </a:lnTo>
                  <a:lnTo>
                    <a:pt x="19232" y="1306"/>
                  </a:lnTo>
                  <a:lnTo>
                    <a:pt x="19161" y="1315"/>
                  </a:lnTo>
                  <a:lnTo>
                    <a:pt x="19152" y="1315"/>
                  </a:lnTo>
                  <a:lnTo>
                    <a:pt x="19108" y="1324"/>
                  </a:lnTo>
                  <a:lnTo>
                    <a:pt x="19082" y="1333"/>
                  </a:lnTo>
                  <a:lnTo>
                    <a:pt x="19046" y="1333"/>
                  </a:lnTo>
                  <a:lnTo>
                    <a:pt x="18985" y="1341"/>
                  </a:lnTo>
                  <a:lnTo>
                    <a:pt x="18941" y="1359"/>
                  </a:lnTo>
                  <a:lnTo>
                    <a:pt x="18923" y="1359"/>
                  </a:lnTo>
                  <a:lnTo>
                    <a:pt x="18879" y="1377"/>
                  </a:lnTo>
                  <a:lnTo>
                    <a:pt x="18861" y="1386"/>
                  </a:lnTo>
                  <a:lnTo>
                    <a:pt x="18799" y="1412"/>
                  </a:lnTo>
                  <a:lnTo>
                    <a:pt x="18764" y="1403"/>
                  </a:lnTo>
                  <a:lnTo>
                    <a:pt x="18755" y="1403"/>
                  </a:lnTo>
                  <a:lnTo>
                    <a:pt x="18747" y="1412"/>
                  </a:lnTo>
                  <a:lnTo>
                    <a:pt x="18747" y="1421"/>
                  </a:lnTo>
                  <a:lnTo>
                    <a:pt x="18764" y="1421"/>
                  </a:lnTo>
                  <a:lnTo>
                    <a:pt x="18773" y="1421"/>
                  </a:lnTo>
                  <a:lnTo>
                    <a:pt x="18791" y="1430"/>
                  </a:lnTo>
                  <a:lnTo>
                    <a:pt x="18782" y="1439"/>
                  </a:lnTo>
                  <a:lnTo>
                    <a:pt x="18755" y="1465"/>
                  </a:lnTo>
                  <a:lnTo>
                    <a:pt x="18738" y="1474"/>
                  </a:lnTo>
                  <a:lnTo>
                    <a:pt x="18729" y="1474"/>
                  </a:lnTo>
                  <a:lnTo>
                    <a:pt x="18694" y="1456"/>
                  </a:lnTo>
                  <a:lnTo>
                    <a:pt x="18685" y="1465"/>
                  </a:lnTo>
                  <a:lnTo>
                    <a:pt x="18685" y="1474"/>
                  </a:lnTo>
                  <a:lnTo>
                    <a:pt x="18667" y="1465"/>
                  </a:lnTo>
                  <a:lnTo>
                    <a:pt x="18667" y="1483"/>
                  </a:lnTo>
                  <a:lnTo>
                    <a:pt x="18685" y="1483"/>
                  </a:lnTo>
                  <a:lnTo>
                    <a:pt x="18711" y="1492"/>
                  </a:lnTo>
                  <a:lnTo>
                    <a:pt x="18729" y="1500"/>
                  </a:lnTo>
                  <a:lnTo>
                    <a:pt x="18747" y="1509"/>
                  </a:lnTo>
                  <a:lnTo>
                    <a:pt x="18764" y="1518"/>
                  </a:lnTo>
                  <a:lnTo>
                    <a:pt x="18773" y="1527"/>
                  </a:lnTo>
                  <a:lnTo>
                    <a:pt x="18747" y="1527"/>
                  </a:lnTo>
                  <a:lnTo>
                    <a:pt x="18729" y="1518"/>
                  </a:lnTo>
                  <a:lnTo>
                    <a:pt x="18720" y="1509"/>
                  </a:lnTo>
                  <a:lnTo>
                    <a:pt x="18711" y="1509"/>
                  </a:lnTo>
                  <a:lnTo>
                    <a:pt x="18694" y="1518"/>
                  </a:lnTo>
                  <a:lnTo>
                    <a:pt x="18676" y="1527"/>
                  </a:lnTo>
                  <a:lnTo>
                    <a:pt x="18694" y="1536"/>
                  </a:lnTo>
                  <a:lnTo>
                    <a:pt x="18720" y="1544"/>
                  </a:lnTo>
                  <a:lnTo>
                    <a:pt x="18729" y="1544"/>
                  </a:lnTo>
                  <a:lnTo>
                    <a:pt x="18764" y="1597"/>
                  </a:lnTo>
                  <a:lnTo>
                    <a:pt x="18773" y="1597"/>
                  </a:lnTo>
                  <a:lnTo>
                    <a:pt x="18791" y="1597"/>
                  </a:lnTo>
                  <a:lnTo>
                    <a:pt x="18791" y="1606"/>
                  </a:lnTo>
                  <a:lnTo>
                    <a:pt x="18782" y="1615"/>
                  </a:lnTo>
                  <a:lnTo>
                    <a:pt x="18773" y="1615"/>
                  </a:lnTo>
                  <a:lnTo>
                    <a:pt x="18764" y="1633"/>
                  </a:lnTo>
                  <a:lnTo>
                    <a:pt x="18702" y="1642"/>
                  </a:lnTo>
                  <a:lnTo>
                    <a:pt x="18694" y="1642"/>
                  </a:lnTo>
                  <a:lnTo>
                    <a:pt x="18685" y="1642"/>
                  </a:lnTo>
                  <a:lnTo>
                    <a:pt x="18676" y="1650"/>
                  </a:lnTo>
                  <a:lnTo>
                    <a:pt x="18676" y="1659"/>
                  </a:lnTo>
                  <a:lnTo>
                    <a:pt x="18676" y="1668"/>
                  </a:lnTo>
                  <a:lnTo>
                    <a:pt x="18685" y="1677"/>
                  </a:lnTo>
                  <a:lnTo>
                    <a:pt x="18729" y="1703"/>
                  </a:lnTo>
                  <a:lnTo>
                    <a:pt x="18720" y="1695"/>
                  </a:lnTo>
                  <a:lnTo>
                    <a:pt x="18702" y="1695"/>
                  </a:lnTo>
                  <a:lnTo>
                    <a:pt x="18685" y="1677"/>
                  </a:lnTo>
                  <a:lnTo>
                    <a:pt x="18667" y="1668"/>
                  </a:lnTo>
                  <a:lnTo>
                    <a:pt x="18667" y="1659"/>
                  </a:lnTo>
                  <a:lnTo>
                    <a:pt x="18667" y="1650"/>
                  </a:lnTo>
                  <a:lnTo>
                    <a:pt x="18685" y="1633"/>
                  </a:lnTo>
                  <a:lnTo>
                    <a:pt x="18702" y="1633"/>
                  </a:lnTo>
                  <a:lnTo>
                    <a:pt x="18729" y="1615"/>
                  </a:lnTo>
                  <a:lnTo>
                    <a:pt x="18755" y="1597"/>
                  </a:lnTo>
                  <a:lnTo>
                    <a:pt x="18747" y="1597"/>
                  </a:lnTo>
                  <a:lnTo>
                    <a:pt x="18747" y="1589"/>
                  </a:lnTo>
                  <a:lnTo>
                    <a:pt x="18720" y="1589"/>
                  </a:lnTo>
                  <a:lnTo>
                    <a:pt x="18676" y="1597"/>
                  </a:lnTo>
                  <a:lnTo>
                    <a:pt x="18649" y="1597"/>
                  </a:lnTo>
                  <a:lnTo>
                    <a:pt x="18641" y="1615"/>
                  </a:lnTo>
                  <a:lnTo>
                    <a:pt x="18623" y="1615"/>
                  </a:lnTo>
                  <a:lnTo>
                    <a:pt x="18614" y="1615"/>
                  </a:lnTo>
                  <a:lnTo>
                    <a:pt x="18588" y="1606"/>
                  </a:lnTo>
                  <a:lnTo>
                    <a:pt x="18561" y="1615"/>
                  </a:lnTo>
                  <a:lnTo>
                    <a:pt x="18508" y="1624"/>
                  </a:lnTo>
                  <a:lnTo>
                    <a:pt x="18500" y="1624"/>
                  </a:lnTo>
                  <a:lnTo>
                    <a:pt x="18367" y="1624"/>
                  </a:lnTo>
                  <a:lnTo>
                    <a:pt x="18350" y="1624"/>
                  </a:lnTo>
                  <a:lnTo>
                    <a:pt x="18279" y="1642"/>
                  </a:lnTo>
                  <a:lnTo>
                    <a:pt x="18279" y="1650"/>
                  </a:lnTo>
                  <a:lnTo>
                    <a:pt x="18270" y="1659"/>
                  </a:lnTo>
                  <a:lnTo>
                    <a:pt x="18270" y="1668"/>
                  </a:lnTo>
                  <a:lnTo>
                    <a:pt x="18270" y="1677"/>
                  </a:lnTo>
                  <a:lnTo>
                    <a:pt x="18270" y="1686"/>
                  </a:lnTo>
                  <a:lnTo>
                    <a:pt x="18270" y="1695"/>
                  </a:lnTo>
                  <a:lnTo>
                    <a:pt x="18279" y="1703"/>
                  </a:lnTo>
                  <a:lnTo>
                    <a:pt x="18288" y="1712"/>
                  </a:lnTo>
                  <a:lnTo>
                    <a:pt x="18297" y="1712"/>
                  </a:lnTo>
                  <a:lnTo>
                    <a:pt x="18297" y="1730"/>
                  </a:lnTo>
                  <a:lnTo>
                    <a:pt x="18297" y="1739"/>
                  </a:lnTo>
                  <a:lnTo>
                    <a:pt x="18288" y="1756"/>
                  </a:lnTo>
                  <a:lnTo>
                    <a:pt x="18288" y="1765"/>
                  </a:lnTo>
                  <a:lnTo>
                    <a:pt x="18297" y="1783"/>
                  </a:lnTo>
                  <a:lnTo>
                    <a:pt x="18297" y="1792"/>
                  </a:lnTo>
                  <a:lnTo>
                    <a:pt x="18314" y="1800"/>
                  </a:lnTo>
                  <a:lnTo>
                    <a:pt x="18332" y="1809"/>
                  </a:lnTo>
                  <a:lnTo>
                    <a:pt x="18358" y="1809"/>
                  </a:lnTo>
                  <a:lnTo>
                    <a:pt x="18367" y="1809"/>
                  </a:lnTo>
                  <a:lnTo>
                    <a:pt x="18394" y="1818"/>
                  </a:lnTo>
                  <a:lnTo>
                    <a:pt x="18402" y="1827"/>
                  </a:lnTo>
                  <a:lnTo>
                    <a:pt x="18402" y="1845"/>
                  </a:lnTo>
                  <a:lnTo>
                    <a:pt x="18411" y="1845"/>
                  </a:lnTo>
                  <a:lnTo>
                    <a:pt x="18429" y="1871"/>
                  </a:lnTo>
                  <a:lnTo>
                    <a:pt x="18438" y="1871"/>
                  </a:lnTo>
                  <a:lnTo>
                    <a:pt x="18473" y="1871"/>
                  </a:lnTo>
                  <a:lnTo>
                    <a:pt x="18482" y="1880"/>
                  </a:lnTo>
                  <a:lnTo>
                    <a:pt x="18500" y="1898"/>
                  </a:lnTo>
                  <a:lnTo>
                    <a:pt x="18500" y="1906"/>
                  </a:lnTo>
                  <a:lnTo>
                    <a:pt x="18500" y="1915"/>
                  </a:lnTo>
                  <a:lnTo>
                    <a:pt x="18500" y="1924"/>
                  </a:lnTo>
                  <a:lnTo>
                    <a:pt x="18491" y="1933"/>
                  </a:lnTo>
                  <a:lnTo>
                    <a:pt x="18482" y="1959"/>
                  </a:lnTo>
                  <a:lnTo>
                    <a:pt x="18473" y="1977"/>
                  </a:lnTo>
                  <a:lnTo>
                    <a:pt x="18482" y="1995"/>
                  </a:lnTo>
                  <a:lnTo>
                    <a:pt x="18500" y="2021"/>
                  </a:lnTo>
                  <a:lnTo>
                    <a:pt x="18508" y="2039"/>
                  </a:lnTo>
                  <a:lnTo>
                    <a:pt x="18508" y="2056"/>
                  </a:lnTo>
                  <a:lnTo>
                    <a:pt x="18508" y="2065"/>
                  </a:lnTo>
                  <a:lnTo>
                    <a:pt x="18508" y="2074"/>
                  </a:lnTo>
                  <a:lnTo>
                    <a:pt x="18491" y="2083"/>
                  </a:lnTo>
                  <a:lnTo>
                    <a:pt x="18482" y="2083"/>
                  </a:lnTo>
                  <a:lnTo>
                    <a:pt x="18464" y="2092"/>
                  </a:lnTo>
                  <a:lnTo>
                    <a:pt x="18464" y="2101"/>
                  </a:lnTo>
                  <a:lnTo>
                    <a:pt x="18464" y="2109"/>
                  </a:lnTo>
                  <a:lnTo>
                    <a:pt x="18464" y="2118"/>
                  </a:lnTo>
                  <a:lnTo>
                    <a:pt x="18455" y="2118"/>
                  </a:lnTo>
                  <a:lnTo>
                    <a:pt x="18447" y="2109"/>
                  </a:lnTo>
                  <a:lnTo>
                    <a:pt x="18438" y="2109"/>
                  </a:lnTo>
                  <a:lnTo>
                    <a:pt x="18438" y="2101"/>
                  </a:lnTo>
                  <a:lnTo>
                    <a:pt x="18438" y="2092"/>
                  </a:lnTo>
                  <a:lnTo>
                    <a:pt x="18455" y="2074"/>
                  </a:lnTo>
                  <a:lnTo>
                    <a:pt x="18464" y="2048"/>
                  </a:lnTo>
                  <a:lnTo>
                    <a:pt x="18464" y="2039"/>
                  </a:lnTo>
                  <a:lnTo>
                    <a:pt x="18464" y="2021"/>
                  </a:lnTo>
                  <a:lnTo>
                    <a:pt x="18455" y="2012"/>
                  </a:lnTo>
                  <a:lnTo>
                    <a:pt x="18447" y="2003"/>
                  </a:lnTo>
                  <a:lnTo>
                    <a:pt x="18438" y="2003"/>
                  </a:lnTo>
                  <a:lnTo>
                    <a:pt x="18429" y="2012"/>
                  </a:lnTo>
                  <a:lnTo>
                    <a:pt x="18420" y="2039"/>
                  </a:lnTo>
                  <a:lnTo>
                    <a:pt x="18402" y="2056"/>
                  </a:lnTo>
                  <a:lnTo>
                    <a:pt x="18402" y="2065"/>
                  </a:lnTo>
                  <a:lnTo>
                    <a:pt x="18402" y="2074"/>
                  </a:lnTo>
                  <a:lnTo>
                    <a:pt x="18394" y="2056"/>
                  </a:lnTo>
                  <a:lnTo>
                    <a:pt x="18394" y="2048"/>
                  </a:lnTo>
                  <a:lnTo>
                    <a:pt x="18402" y="2030"/>
                  </a:lnTo>
                  <a:lnTo>
                    <a:pt x="18411" y="2021"/>
                  </a:lnTo>
                  <a:lnTo>
                    <a:pt x="18411" y="2012"/>
                  </a:lnTo>
                  <a:lnTo>
                    <a:pt x="18402" y="1995"/>
                  </a:lnTo>
                  <a:lnTo>
                    <a:pt x="18402" y="1986"/>
                  </a:lnTo>
                  <a:lnTo>
                    <a:pt x="18402" y="1977"/>
                  </a:lnTo>
                  <a:lnTo>
                    <a:pt x="18411" y="1959"/>
                  </a:lnTo>
                  <a:lnTo>
                    <a:pt x="18420" y="1950"/>
                  </a:lnTo>
                  <a:lnTo>
                    <a:pt x="18455" y="1933"/>
                  </a:lnTo>
                  <a:lnTo>
                    <a:pt x="18464" y="1915"/>
                  </a:lnTo>
                  <a:lnTo>
                    <a:pt x="18473" y="1915"/>
                  </a:lnTo>
                  <a:lnTo>
                    <a:pt x="18473" y="1906"/>
                  </a:lnTo>
                  <a:lnTo>
                    <a:pt x="18464" y="1898"/>
                  </a:lnTo>
                  <a:lnTo>
                    <a:pt x="18455" y="1889"/>
                  </a:lnTo>
                  <a:lnTo>
                    <a:pt x="18438" y="1889"/>
                  </a:lnTo>
                  <a:lnTo>
                    <a:pt x="18429" y="1889"/>
                  </a:lnTo>
                  <a:lnTo>
                    <a:pt x="18394" y="1898"/>
                  </a:lnTo>
                  <a:lnTo>
                    <a:pt x="18358" y="1898"/>
                  </a:lnTo>
                  <a:lnTo>
                    <a:pt x="18350" y="1889"/>
                  </a:lnTo>
                  <a:lnTo>
                    <a:pt x="18297" y="1862"/>
                  </a:lnTo>
                  <a:lnTo>
                    <a:pt x="18297" y="1853"/>
                  </a:lnTo>
                  <a:lnTo>
                    <a:pt x="18297" y="1845"/>
                  </a:lnTo>
                  <a:lnTo>
                    <a:pt x="18288" y="1845"/>
                  </a:lnTo>
                  <a:lnTo>
                    <a:pt x="18270" y="1836"/>
                  </a:lnTo>
                  <a:lnTo>
                    <a:pt x="18235" y="1827"/>
                  </a:lnTo>
                  <a:lnTo>
                    <a:pt x="18191" y="1809"/>
                  </a:lnTo>
                  <a:lnTo>
                    <a:pt x="18129" y="1800"/>
                  </a:lnTo>
                  <a:lnTo>
                    <a:pt x="18111" y="1809"/>
                  </a:lnTo>
                  <a:lnTo>
                    <a:pt x="18085" y="1809"/>
                  </a:lnTo>
                  <a:lnTo>
                    <a:pt x="18067" y="1827"/>
                  </a:lnTo>
                  <a:lnTo>
                    <a:pt x="18050" y="1827"/>
                  </a:lnTo>
                  <a:lnTo>
                    <a:pt x="18050" y="1836"/>
                  </a:lnTo>
                  <a:lnTo>
                    <a:pt x="18050" y="1845"/>
                  </a:lnTo>
                  <a:lnTo>
                    <a:pt x="18076" y="1845"/>
                  </a:lnTo>
                  <a:lnTo>
                    <a:pt x="18094" y="1845"/>
                  </a:lnTo>
                  <a:lnTo>
                    <a:pt x="18103" y="1853"/>
                  </a:lnTo>
                  <a:lnTo>
                    <a:pt x="18111" y="1862"/>
                  </a:lnTo>
                  <a:lnTo>
                    <a:pt x="18103" y="1871"/>
                  </a:lnTo>
                  <a:lnTo>
                    <a:pt x="18076" y="1880"/>
                  </a:lnTo>
                  <a:lnTo>
                    <a:pt x="18058" y="1880"/>
                  </a:lnTo>
                  <a:lnTo>
                    <a:pt x="18023" y="1853"/>
                  </a:lnTo>
                  <a:lnTo>
                    <a:pt x="18005" y="1853"/>
                  </a:lnTo>
                  <a:lnTo>
                    <a:pt x="17970" y="1853"/>
                  </a:lnTo>
                  <a:lnTo>
                    <a:pt x="17953" y="1871"/>
                  </a:lnTo>
                  <a:lnTo>
                    <a:pt x="17944" y="1871"/>
                  </a:lnTo>
                  <a:lnTo>
                    <a:pt x="17953" y="1880"/>
                  </a:lnTo>
                  <a:lnTo>
                    <a:pt x="17961" y="1898"/>
                  </a:lnTo>
                  <a:lnTo>
                    <a:pt x="17970" y="1915"/>
                  </a:lnTo>
                  <a:lnTo>
                    <a:pt x="17979" y="1915"/>
                  </a:lnTo>
                  <a:lnTo>
                    <a:pt x="18005" y="1933"/>
                  </a:lnTo>
                  <a:lnTo>
                    <a:pt x="18023" y="1942"/>
                  </a:lnTo>
                  <a:lnTo>
                    <a:pt x="18050" y="1950"/>
                  </a:lnTo>
                  <a:lnTo>
                    <a:pt x="18067" y="1950"/>
                  </a:lnTo>
                  <a:lnTo>
                    <a:pt x="18085" y="1950"/>
                  </a:lnTo>
                  <a:lnTo>
                    <a:pt x="18103" y="1959"/>
                  </a:lnTo>
                  <a:lnTo>
                    <a:pt x="18120" y="1986"/>
                  </a:lnTo>
                  <a:lnTo>
                    <a:pt x="18129" y="1995"/>
                  </a:lnTo>
                  <a:lnTo>
                    <a:pt x="18138" y="1995"/>
                  </a:lnTo>
                  <a:lnTo>
                    <a:pt x="18147" y="1995"/>
                  </a:lnTo>
                  <a:lnTo>
                    <a:pt x="18155" y="1995"/>
                  </a:lnTo>
                  <a:lnTo>
                    <a:pt x="18173" y="1995"/>
                  </a:lnTo>
                  <a:lnTo>
                    <a:pt x="18164" y="2003"/>
                  </a:lnTo>
                  <a:lnTo>
                    <a:pt x="18155" y="2003"/>
                  </a:lnTo>
                  <a:lnTo>
                    <a:pt x="18129" y="2003"/>
                  </a:lnTo>
                  <a:lnTo>
                    <a:pt x="18111" y="2003"/>
                  </a:lnTo>
                  <a:lnTo>
                    <a:pt x="18094" y="1995"/>
                  </a:lnTo>
                  <a:lnTo>
                    <a:pt x="18058" y="1968"/>
                  </a:lnTo>
                  <a:lnTo>
                    <a:pt x="18014" y="1968"/>
                  </a:lnTo>
                  <a:lnTo>
                    <a:pt x="18014" y="1977"/>
                  </a:lnTo>
                  <a:lnTo>
                    <a:pt x="17997" y="1968"/>
                  </a:lnTo>
                  <a:lnTo>
                    <a:pt x="17953" y="1968"/>
                  </a:lnTo>
                  <a:lnTo>
                    <a:pt x="17926" y="1959"/>
                  </a:lnTo>
                  <a:lnTo>
                    <a:pt x="17891" y="1950"/>
                  </a:lnTo>
                  <a:lnTo>
                    <a:pt x="17891" y="1942"/>
                  </a:lnTo>
                  <a:lnTo>
                    <a:pt x="17891" y="1933"/>
                  </a:lnTo>
                  <a:lnTo>
                    <a:pt x="17900" y="1924"/>
                  </a:lnTo>
                  <a:lnTo>
                    <a:pt x="17908" y="1924"/>
                  </a:lnTo>
                  <a:lnTo>
                    <a:pt x="17908" y="1906"/>
                  </a:lnTo>
                  <a:lnTo>
                    <a:pt x="17891" y="1880"/>
                  </a:lnTo>
                  <a:lnTo>
                    <a:pt x="17891" y="1862"/>
                  </a:lnTo>
                  <a:lnTo>
                    <a:pt x="17900" y="1862"/>
                  </a:lnTo>
                  <a:lnTo>
                    <a:pt x="17908" y="1836"/>
                  </a:lnTo>
                  <a:lnTo>
                    <a:pt x="17917" y="1827"/>
                  </a:lnTo>
                  <a:lnTo>
                    <a:pt x="17926" y="1818"/>
                  </a:lnTo>
                  <a:lnTo>
                    <a:pt x="17917" y="1809"/>
                  </a:lnTo>
                  <a:lnTo>
                    <a:pt x="17917" y="1792"/>
                  </a:lnTo>
                  <a:lnTo>
                    <a:pt x="17917" y="1783"/>
                  </a:lnTo>
                  <a:lnTo>
                    <a:pt x="17917" y="1774"/>
                  </a:lnTo>
                  <a:lnTo>
                    <a:pt x="17908" y="1765"/>
                  </a:lnTo>
                  <a:lnTo>
                    <a:pt x="17900" y="1747"/>
                  </a:lnTo>
                  <a:lnTo>
                    <a:pt x="17882" y="1739"/>
                  </a:lnTo>
                  <a:lnTo>
                    <a:pt x="17864" y="1739"/>
                  </a:lnTo>
                  <a:lnTo>
                    <a:pt x="17855" y="1747"/>
                  </a:lnTo>
                  <a:lnTo>
                    <a:pt x="17864" y="1756"/>
                  </a:lnTo>
                  <a:lnTo>
                    <a:pt x="17873" y="1774"/>
                  </a:lnTo>
                  <a:lnTo>
                    <a:pt x="17873" y="1783"/>
                  </a:lnTo>
                  <a:lnTo>
                    <a:pt x="17873" y="1800"/>
                  </a:lnTo>
                  <a:lnTo>
                    <a:pt x="17873" y="1818"/>
                  </a:lnTo>
                  <a:lnTo>
                    <a:pt x="17873" y="1827"/>
                  </a:lnTo>
                  <a:lnTo>
                    <a:pt x="17873" y="1836"/>
                  </a:lnTo>
                  <a:lnTo>
                    <a:pt x="17855" y="1845"/>
                  </a:lnTo>
                  <a:lnTo>
                    <a:pt x="17829" y="1862"/>
                  </a:lnTo>
                  <a:lnTo>
                    <a:pt x="17820" y="1862"/>
                  </a:lnTo>
                  <a:lnTo>
                    <a:pt x="17794" y="1871"/>
                  </a:lnTo>
                  <a:lnTo>
                    <a:pt x="17776" y="1880"/>
                  </a:lnTo>
                  <a:lnTo>
                    <a:pt x="17732" y="1933"/>
                  </a:lnTo>
                  <a:lnTo>
                    <a:pt x="17732" y="1942"/>
                  </a:lnTo>
                  <a:lnTo>
                    <a:pt x="17750" y="1950"/>
                  </a:lnTo>
                  <a:lnTo>
                    <a:pt x="17758" y="1959"/>
                  </a:lnTo>
                  <a:lnTo>
                    <a:pt x="17767" y="1968"/>
                  </a:lnTo>
                  <a:lnTo>
                    <a:pt x="17776" y="1986"/>
                  </a:lnTo>
                  <a:lnTo>
                    <a:pt x="17820" y="2039"/>
                  </a:lnTo>
                  <a:lnTo>
                    <a:pt x="17820" y="2048"/>
                  </a:lnTo>
                  <a:lnTo>
                    <a:pt x="17811" y="2065"/>
                  </a:lnTo>
                  <a:lnTo>
                    <a:pt x="17794" y="2092"/>
                  </a:lnTo>
                  <a:lnTo>
                    <a:pt x="17785" y="2101"/>
                  </a:lnTo>
                  <a:lnTo>
                    <a:pt x="17767" y="2153"/>
                  </a:lnTo>
                  <a:lnTo>
                    <a:pt x="17767" y="2162"/>
                  </a:lnTo>
                  <a:lnTo>
                    <a:pt x="17776" y="2180"/>
                  </a:lnTo>
                  <a:lnTo>
                    <a:pt x="17785" y="2189"/>
                  </a:lnTo>
                  <a:lnTo>
                    <a:pt x="17785" y="2206"/>
                  </a:lnTo>
                  <a:lnTo>
                    <a:pt x="17776" y="2233"/>
                  </a:lnTo>
                  <a:lnTo>
                    <a:pt x="17785" y="2242"/>
                  </a:lnTo>
                  <a:lnTo>
                    <a:pt x="17794" y="2242"/>
                  </a:lnTo>
                  <a:lnTo>
                    <a:pt x="17820" y="2242"/>
                  </a:lnTo>
                  <a:lnTo>
                    <a:pt x="17855" y="2242"/>
                  </a:lnTo>
                  <a:lnTo>
                    <a:pt x="17873" y="2242"/>
                  </a:lnTo>
                  <a:lnTo>
                    <a:pt x="17900" y="2224"/>
                  </a:lnTo>
                  <a:lnTo>
                    <a:pt x="17908" y="2224"/>
                  </a:lnTo>
                  <a:lnTo>
                    <a:pt x="17944" y="2224"/>
                  </a:lnTo>
                  <a:lnTo>
                    <a:pt x="17988" y="2242"/>
                  </a:lnTo>
                  <a:lnTo>
                    <a:pt x="18041" y="2259"/>
                  </a:lnTo>
                  <a:lnTo>
                    <a:pt x="18050" y="2268"/>
                  </a:lnTo>
                  <a:lnTo>
                    <a:pt x="18067" y="2268"/>
                  </a:lnTo>
                  <a:lnTo>
                    <a:pt x="18076" y="2303"/>
                  </a:lnTo>
                  <a:lnTo>
                    <a:pt x="18085" y="2321"/>
                  </a:lnTo>
                  <a:lnTo>
                    <a:pt x="18085" y="2339"/>
                  </a:lnTo>
                  <a:lnTo>
                    <a:pt x="18094" y="2356"/>
                  </a:lnTo>
                  <a:lnTo>
                    <a:pt x="18085" y="2356"/>
                  </a:lnTo>
                  <a:lnTo>
                    <a:pt x="18076" y="2356"/>
                  </a:lnTo>
                  <a:lnTo>
                    <a:pt x="18067" y="2365"/>
                  </a:lnTo>
                  <a:lnTo>
                    <a:pt x="18058" y="2383"/>
                  </a:lnTo>
                  <a:lnTo>
                    <a:pt x="18058" y="2401"/>
                  </a:lnTo>
                  <a:lnTo>
                    <a:pt x="18058" y="2418"/>
                  </a:lnTo>
                  <a:lnTo>
                    <a:pt x="18103" y="2427"/>
                  </a:lnTo>
                  <a:lnTo>
                    <a:pt x="18129" y="2427"/>
                  </a:lnTo>
                  <a:lnTo>
                    <a:pt x="18155" y="2436"/>
                  </a:lnTo>
                  <a:lnTo>
                    <a:pt x="18138" y="2436"/>
                  </a:lnTo>
                  <a:lnTo>
                    <a:pt x="18094" y="2445"/>
                  </a:lnTo>
                  <a:lnTo>
                    <a:pt x="18076" y="2436"/>
                  </a:lnTo>
                  <a:lnTo>
                    <a:pt x="18067" y="2436"/>
                  </a:lnTo>
                  <a:lnTo>
                    <a:pt x="18058" y="2427"/>
                  </a:lnTo>
                  <a:lnTo>
                    <a:pt x="18050" y="2427"/>
                  </a:lnTo>
                  <a:lnTo>
                    <a:pt x="18041" y="2418"/>
                  </a:lnTo>
                  <a:lnTo>
                    <a:pt x="18032" y="2409"/>
                  </a:lnTo>
                  <a:lnTo>
                    <a:pt x="18032" y="2392"/>
                  </a:lnTo>
                  <a:lnTo>
                    <a:pt x="18032" y="2348"/>
                  </a:lnTo>
                  <a:lnTo>
                    <a:pt x="18032" y="2330"/>
                  </a:lnTo>
                  <a:lnTo>
                    <a:pt x="18023" y="2312"/>
                  </a:lnTo>
                  <a:lnTo>
                    <a:pt x="17997" y="2286"/>
                  </a:lnTo>
                  <a:lnTo>
                    <a:pt x="17988" y="2268"/>
                  </a:lnTo>
                  <a:lnTo>
                    <a:pt x="17979" y="2259"/>
                  </a:lnTo>
                  <a:lnTo>
                    <a:pt x="17970" y="2259"/>
                  </a:lnTo>
                  <a:lnTo>
                    <a:pt x="17953" y="2259"/>
                  </a:lnTo>
                  <a:lnTo>
                    <a:pt x="17917" y="2268"/>
                  </a:lnTo>
                  <a:lnTo>
                    <a:pt x="17882" y="2277"/>
                  </a:lnTo>
                  <a:lnTo>
                    <a:pt x="17838" y="2286"/>
                  </a:lnTo>
                  <a:lnTo>
                    <a:pt x="17829" y="2303"/>
                  </a:lnTo>
                  <a:lnTo>
                    <a:pt x="17829" y="2330"/>
                  </a:lnTo>
                  <a:lnTo>
                    <a:pt x="17838" y="2348"/>
                  </a:lnTo>
                  <a:lnTo>
                    <a:pt x="17847" y="2356"/>
                  </a:lnTo>
                  <a:lnTo>
                    <a:pt x="17855" y="2374"/>
                  </a:lnTo>
                  <a:lnTo>
                    <a:pt x="17855" y="2383"/>
                  </a:lnTo>
                  <a:lnTo>
                    <a:pt x="17855" y="2401"/>
                  </a:lnTo>
                  <a:lnTo>
                    <a:pt x="17855" y="2418"/>
                  </a:lnTo>
                  <a:lnTo>
                    <a:pt x="17847" y="2427"/>
                  </a:lnTo>
                  <a:lnTo>
                    <a:pt x="17803" y="2462"/>
                  </a:lnTo>
                  <a:lnTo>
                    <a:pt x="17794" y="2471"/>
                  </a:lnTo>
                  <a:lnTo>
                    <a:pt x="17785" y="2498"/>
                  </a:lnTo>
                  <a:lnTo>
                    <a:pt x="17785" y="2515"/>
                  </a:lnTo>
                  <a:lnTo>
                    <a:pt x="17758" y="2524"/>
                  </a:lnTo>
                  <a:lnTo>
                    <a:pt x="17750" y="2533"/>
                  </a:lnTo>
                  <a:lnTo>
                    <a:pt x="17679" y="2568"/>
                  </a:lnTo>
                  <a:lnTo>
                    <a:pt x="17670" y="2595"/>
                  </a:lnTo>
                  <a:lnTo>
                    <a:pt x="17653" y="2604"/>
                  </a:lnTo>
                  <a:lnTo>
                    <a:pt x="17644" y="2604"/>
                  </a:lnTo>
                  <a:lnTo>
                    <a:pt x="17617" y="2595"/>
                  </a:lnTo>
                  <a:lnTo>
                    <a:pt x="17600" y="2586"/>
                  </a:lnTo>
                  <a:lnTo>
                    <a:pt x="17591" y="2586"/>
                  </a:lnTo>
                  <a:lnTo>
                    <a:pt x="17529" y="2595"/>
                  </a:lnTo>
                  <a:lnTo>
                    <a:pt x="17503" y="2586"/>
                  </a:lnTo>
                  <a:lnTo>
                    <a:pt x="17476" y="2577"/>
                  </a:lnTo>
                  <a:lnTo>
                    <a:pt x="17458" y="2568"/>
                  </a:lnTo>
                  <a:lnTo>
                    <a:pt x="17441" y="2559"/>
                  </a:lnTo>
                  <a:lnTo>
                    <a:pt x="17432" y="2542"/>
                  </a:lnTo>
                  <a:lnTo>
                    <a:pt x="17432" y="2533"/>
                  </a:lnTo>
                  <a:lnTo>
                    <a:pt x="17441" y="2533"/>
                  </a:lnTo>
                  <a:lnTo>
                    <a:pt x="17485" y="2533"/>
                  </a:lnTo>
                  <a:lnTo>
                    <a:pt x="17494" y="2533"/>
                  </a:lnTo>
                  <a:lnTo>
                    <a:pt x="17503" y="2533"/>
                  </a:lnTo>
                  <a:lnTo>
                    <a:pt x="17511" y="2542"/>
                  </a:lnTo>
                  <a:lnTo>
                    <a:pt x="17520" y="2551"/>
                  </a:lnTo>
                  <a:lnTo>
                    <a:pt x="17538" y="2551"/>
                  </a:lnTo>
                  <a:lnTo>
                    <a:pt x="17547" y="2542"/>
                  </a:lnTo>
                  <a:lnTo>
                    <a:pt x="17556" y="2542"/>
                  </a:lnTo>
                  <a:lnTo>
                    <a:pt x="17547" y="2551"/>
                  </a:lnTo>
                  <a:lnTo>
                    <a:pt x="17538" y="2551"/>
                  </a:lnTo>
                  <a:lnTo>
                    <a:pt x="17529" y="2551"/>
                  </a:lnTo>
                  <a:lnTo>
                    <a:pt x="17529" y="2559"/>
                  </a:lnTo>
                  <a:lnTo>
                    <a:pt x="17547" y="2568"/>
                  </a:lnTo>
                  <a:lnTo>
                    <a:pt x="17556" y="2568"/>
                  </a:lnTo>
                  <a:lnTo>
                    <a:pt x="17573" y="2568"/>
                  </a:lnTo>
                  <a:lnTo>
                    <a:pt x="17582" y="2559"/>
                  </a:lnTo>
                  <a:lnTo>
                    <a:pt x="17600" y="2551"/>
                  </a:lnTo>
                  <a:lnTo>
                    <a:pt x="17617" y="2551"/>
                  </a:lnTo>
                  <a:lnTo>
                    <a:pt x="17617" y="2542"/>
                  </a:lnTo>
                  <a:lnTo>
                    <a:pt x="17608" y="2524"/>
                  </a:lnTo>
                  <a:lnTo>
                    <a:pt x="17600" y="2515"/>
                  </a:lnTo>
                  <a:lnTo>
                    <a:pt x="17626" y="2515"/>
                  </a:lnTo>
                  <a:lnTo>
                    <a:pt x="17635" y="2506"/>
                  </a:lnTo>
                  <a:lnTo>
                    <a:pt x="17697" y="2436"/>
                  </a:lnTo>
                  <a:lnTo>
                    <a:pt x="17723" y="2427"/>
                  </a:lnTo>
                  <a:lnTo>
                    <a:pt x="17732" y="2418"/>
                  </a:lnTo>
                  <a:lnTo>
                    <a:pt x="17732" y="2401"/>
                  </a:lnTo>
                  <a:lnTo>
                    <a:pt x="17732" y="2392"/>
                  </a:lnTo>
                  <a:lnTo>
                    <a:pt x="17732" y="2374"/>
                  </a:lnTo>
                  <a:lnTo>
                    <a:pt x="17732" y="2365"/>
                  </a:lnTo>
                  <a:lnTo>
                    <a:pt x="17741" y="2348"/>
                  </a:lnTo>
                  <a:lnTo>
                    <a:pt x="17758" y="2330"/>
                  </a:lnTo>
                  <a:lnTo>
                    <a:pt x="17767" y="2321"/>
                  </a:lnTo>
                  <a:lnTo>
                    <a:pt x="17767" y="2312"/>
                  </a:lnTo>
                  <a:lnTo>
                    <a:pt x="17741" y="2295"/>
                  </a:lnTo>
                  <a:lnTo>
                    <a:pt x="17705" y="2286"/>
                  </a:lnTo>
                  <a:lnTo>
                    <a:pt x="17697" y="2277"/>
                  </a:lnTo>
                  <a:lnTo>
                    <a:pt x="17688" y="2259"/>
                  </a:lnTo>
                  <a:lnTo>
                    <a:pt x="17688" y="2251"/>
                  </a:lnTo>
                  <a:lnTo>
                    <a:pt x="17688" y="2242"/>
                  </a:lnTo>
                  <a:lnTo>
                    <a:pt x="17688" y="2206"/>
                  </a:lnTo>
                  <a:lnTo>
                    <a:pt x="17697" y="2198"/>
                  </a:lnTo>
                  <a:lnTo>
                    <a:pt x="17697" y="2153"/>
                  </a:lnTo>
                  <a:lnTo>
                    <a:pt x="17688" y="2101"/>
                  </a:lnTo>
                  <a:lnTo>
                    <a:pt x="17688" y="2092"/>
                  </a:lnTo>
                  <a:lnTo>
                    <a:pt x="17688" y="2083"/>
                  </a:lnTo>
                  <a:lnTo>
                    <a:pt x="17697" y="2074"/>
                  </a:lnTo>
                  <a:lnTo>
                    <a:pt x="17697" y="2065"/>
                  </a:lnTo>
                  <a:lnTo>
                    <a:pt x="17705" y="2021"/>
                  </a:lnTo>
                  <a:lnTo>
                    <a:pt x="17705" y="1995"/>
                  </a:lnTo>
                  <a:lnTo>
                    <a:pt x="17688" y="1977"/>
                  </a:lnTo>
                  <a:lnTo>
                    <a:pt x="17653" y="1950"/>
                  </a:lnTo>
                  <a:lnTo>
                    <a:pt x="17644" y="1933"/>
                  </a:lnTo>
                  <a:lnTo>
                    <a:pt x="17644" y="1924"/>
                  </a:lnTo>
                  <a:lnTo>
                    <a:pt x="17661" y="1915"/>
                  </a:lnTo>
                  <a:lnTo>
                    <a:pt x="17670" y="1898"/>
                  </a:lnTo>
                  <a:lnTo>
                    <a:pt x="17679" y="1880"/>
                  </a:lnTo>
                  <a:lnTo>
                    <a:pt x="17688" y="1853"/>
                  </a:lnTo>
                  <a:lnTo>
                    <a:pt x="17697" y="1845"/>
                  </a:lnTo>
                  <a:lnTo>
                    <a:pt x="17705" y="1809"/>
                  </a:lnTo>
                  <a:lnTo>
                    <a:pt x="17705" y="1792"/>
                  </a:lnTo>
                  <a:lnTo>
                    <a:pt x="17705" y="1765"/>
                  </a:lnTo>
                  <a:lnTo>
                    <a:pt x="17697" y="1756"/>
                  </a:lnTo>
                  <a:lnTo>
                    <a:pt x="17679" y="1747"/>
                  </a:lnTo>
                  <a:lnTo>
                    <a:pt x="17653" y="1739"/>
                  </a:lnTo>
                  <a:lnTo>
                    <a:pt x="17644" y="1747"/>
                  </a:lnTo>
                  <a:lnTo>
                    <a:pt x="17617" y="1730"/>
                  </a:lnTo>
                  <a:lnTo>
                    <a:pt x="17608" y="1730"/>
                  </a:lnTo>
                  <a:lnTo>
                    <a:pt x="17547" y="1730"/>
                  </a:lnTo>
                  <a:lnTo>
                    <a:pt x="17511" y="1730"/>
                  </a:lnTo>
                  <a:lnTo>
                    <a:pt x="17494" y="1739"/>
                  </a:lnTo>
                  <a:lnTo>
                    <a:pt x="17485" y="1739"/>
                  </a:lnTo>
                  <a:lnTo>
                    <a:pt x="17476" y="1730"/>
                  </a:lnTo>
                  <a:lnTo>
                    <a:pt x="17485" y="1721"/>
                  </a:lnTo>
                  <a:lnTo>
                    <a:pt x="17476" y="1721"/>
                  </a:lnTo>
                  <a:lnTo>
                    <a:pt x="17458" y="1721"/>
                  </a:lnTo>
                  <a:lnTo>
                    <a:pt x="17432" y="1765"/>
                  </a:lnTo>
                  <a:lnTo>
                    <a:pt x="17414" y="1800"/>
                  </a:lnTo>
                  <a:lnTo>
                    <a:pt x="17397" y="1853"/>
                  </a:lnTo>
                  <a:lnTo>
                    <a:pt x="17388" y="1880"/>
                  </a:lnTo>
                  <a:lnTo>
                    <a:pt x="17379" y="1898"/>
                  </a:lnTo>
                  <a:lnTo>
                    <a:pt x="17353" y="1924"/>
                  </a:lnTo>
                  <a:lnTo>
                    <a:pt x="17326" y="1942"/>
                  </a:lnTo>
                  <a:lnTo>
                    <a:pt x="17300" y="1950"/>
                  </a:lnTo>
                  <a:lnTo>
                    <a:pt x="17273" y="1959"/>
                  </a:lnTo>
                  <a:lnTo>
                    <a:pt x="17264" y="1977"/>
                  </a:lnTo>
                  <a:lnTo>
                    <a:pt x="17256" y="1986"/>
                  </a:lnTo>
                  <a:lnTo>
                    <a:pt x="17273" y="1986"/>
                  </a:lnTo>
                  <a:lnTo>
                    <a:pt x="17264" y="1995"/>
                  </a:lnTo>
                  <a:lnTo>
                    <a:pt x="17256" y="2003"/>
                  </a:lnTo>
                  <a:lnTo>
                    <a:pt x="17256" y="2012"/>
                  </a:lnTo>
                  <a:lnTo>
                    <a:pt x="17264" y="2021"/>
                  </a:lnTo>
                  <a:lnTo>
                    <a:pt x="17273" y="2021"/>
                  </a:lnTo>
                  <a:lnTo>
                    <a:pt x="17291" y="2012"/>
                  </a:lnTo>
                  <a:lnTo>
                    <a:pt x="17300" y="2021"/>
                  </a:lnTo>
                  <a:lnTo>
                    <a:pt x="17300" y="2030"/>
                  </a:lnTo>
                  <a:lnTo>
                    <a:pt x="17300" y="2065"/>
                  </a:lnTo>
                  <a:lnTo>
                    <a:pt x="17291" y="2092"/>
                  </a:lnTo>
                  <a:lnTo>
                    <a:pt x="17291" y="2101"/>
                  </a:lnTo>
                  <a:lnTo>
                    <a:pt x="17300" y="2101"/>
                  </a:lnTo>
                  <a:lnTo>
                    <a:pt x="17300" y="2109"/>
                  </a:lnTo>
                  <a:lnTo>
                    <a:pt x="17291" y="2127"/>
                  </a:lnTo>
                  <a:lnTo>
                    <a:pt x="17273" y="2127"/>
                  </a:lnTo>
                  <a:lnTo>
                    <a:pt x="17273" y="2145"/>
                  </a:lnTo>
                  <a:lnTo>
                    <a:pt x="17264" y="2162"/>
                  </a:lnTo>
                  <a:lnTo>
                    <a:pt x="17264" y="2171"/>
                  </a:lnTo>
                  <a:lnTo>
                    <a:pt x="17273" y="2180"/>
                  </a:lnTo>
                  <a:lnTo>
                    <a:pt x="17273" y="2189"/>
                  </a:lnTo>
                  <a:lnTo>
                    <a:pt x="17273" y="2180"/>
                  </a:lnTo>
                  <a:lnTo>
                    <a:pt x="17282" y="2171"/>
                  </a:lnTo>
                  <a:lnTo>
                    <a:pt x="17291" y="2171"/>
                  </a:lnTo>
                  <a:lnTo>
                    <a:pt x="17326" y="2180"/>
                  </a:lnTo>
                  <a:lnTo>
                    <a:pt x="17335" y="2189"/>
                  </a:lnTo>
                  <a:lnTo>
                    <a:pt x="17353" y="2198"/>
                  </a:lnTo>
                  <a:lnTo>
                    <a:pt x="17361" y="2206"/>
                  </a:lnTo>
                  <a:lnTo>
                    <a:pt x="17361" y="2224"/>
                  </a:lnTo>
                  <a:lnTo>
                    <a:pt x="17379" y="2251"/>
                  </a:lnTo>
                  <a:lnTo>
                    <a:pt x="17397" y="2259"/>
                  </a:lnTo>
                  <a:lnTo>
                    <a:pt x="17406" y="2268"/>
                  </a:lnTo>
                  <a:lnTo>
                    <a:pt x="17414" y="2268"/>
                  </a:lnTo>
                  <a:lnTo>
                    <a:pt x="17423" y="2259"/>
                  </a:lnTo>
                  <a:lnTo>
                    <a:pt x="17441" y="2268"/>
                  </a:lnTo>
                  <a:lnTo>
                    <a:pt x="17432" y="2277"/>
                  </a:lnTo>
                  <a:lnTo>
                    <a:pt x="17414" y="2312"/>
                  </a:lnTo>
                  <a:lnTo>
                    <a:pt x="17397" y="2339"/>
                  </a:lnTo>
                  <a:lnTo>
                    <a:pt x="17379" y="2348"/>
                  </a:lnTo>
                  <a:lnTo>
                    <a:pt x="17370" y="2330"/>
                  </a:lnTo>
                  <a:lnTo>
                    <a:pt x="17335" y="2321"/>
                  </a:lnTo>
                  <a:lnTo>
                    <a:pt x="17326" y="2312"/>
                  </a:lnTo>
                  <a:lnTo>
                    <a:pt x="17291" y="2286"/>
                  </a:lnTo>
                  <a:lnTo>
                    <a:pt x="17282" y="2277"/>
                  </a:lnTo>
                  <a:lnTo>
                    <a:pt x="17264" y="2268"/>
                  </a:lnTo>
                  <a:lnTo>
                    <a:pt x="17238" y="2268"/>
                  </a:lnTo>
                  <a:lnTo>
                    <a:pt x="17211" y="2251"/>
                  </a:lnTo>
                  <a:lnTo>
                    <a:pt x="17194" y="2251"/>
                  </a:lnTo>
                  <a:lnTo>
                    <a:pt x="17185" y="2242"/>
                  </a:lnTo>
                  <a:lnTo>
                    <a:pt x="17176" y="2233"/>
                  </a:lnTo>
                  <a:lnTo>
                    <a:pt x="17159" y="2233"/>
                  </a:lnTo>
                  <a:lnTo>
                    <a:pt x="17141" y="2224"/>
                  </a:lnTo>
                  <a:lnTo>
                    <a:pt x="17123" y="2224"/>
                  </a:lnTo>
                  <a:lnTo>
                    <a:pt x="17132" y="2215"/>
                  </a:lnTo>
                  <a:lnTo>
                    <a:pt x="17106" y="2198"/>
                  </a:lnTo>
                  <a:lnTo>
                    <a:pt x="17079" y="2189"/>
                  </a:lnTo>
                  <a:lnTo>
                    <a:pt x="17017" y="2171"/>
                  </a:lnTo>
                  <a:lnTo>
                    <a:pt x="16964" y="2162"/>
                  </a:lnTo>
                  <a:lnTo>
                    <a:pt x="16894" y="2162"/>
                  </a:lnTo>
                  <a:lnTo>
                    <a:pt x="16841" y="2145"/>
                  </a:lnTo>
                  <a:lnTo>
                    <a:pt x="16832" y="2145"/>
                  </a:lnTo>
                  <a:lnTo>
                    <a:pt x="16823" y="2153"/>
                  </a:lnTo>
                  <a:lnTo>
                    <a:pt x="16806" y="2171"/>
                  </a:lnTo>
                  <a:lnTo>
                    <a:pt x="16788" y="2171"/>
                  </a:lnTo>
                  <a:lnTo>
                    <a:pt x="16779" y="2180"/>
                  </a:lnTo>
                  <a:lnTo>
                    <a:pt x="16788" y="2198"/>
                  </a:lnTo>
                  <a:lnTo>
                    <a:pt x="16814" y="2242"/>
                  </a:lnTo>
                  <a:lnTo>
                    <a:pt x="16832" y="2242"/>
                  </a:lnTo>
                  <a:lnTo>
                    <a:pt x="16832" y="2259"/>
                  </a:lnTo>
                  <a:lnTo>
                    <a:pt x="16823" y="2268"/>
                  </a:lnTo>
                  <a:lnTo>
                    <a:pt x="16814" y="2286"/>
                  </a:lnTo>
                  <a:lnTo>
                    <a:pt x="16806" y="2295"/>
                  </a:lnTo>
                  <a:lnTo>
                    <a:pt x="16779" y="2295"/>
                  </a:lnTo>
                  <a:lnTo>
                    <a:pt x="16762" y="2295"/>
                  </a:lnTo>
                  <a:lnTo>
                    <a:pt x="16762" y="2312"/>
                  </a:lnTo>
                  <a:lnTo>
                    <a:pt x="16762" y="2321"/>
                  </a:lnTo>
                  <a:lnTo>
                    <a:pt x="16762" y="2330"/>
                  </a:lnTo>
                  <a:lnTo>
                    <a:pt x="16753" y="2339"/>
                  </a:lnTo>
                  <a:lnTo>
                    <a:pt x="16744" y="2339"/>
                  </a:lnTo>
                  <a:lnTo>
                    <a:pt x="16735" y="2339"/>
                  </a:lnTo>
                  <a:lnTo>
                    <a:pt x="16717" y="2339"/>
                  </a:lnTo>
                  <a:lnTo>
                    <a:pt x="16700" y="2330"/>
                  </a:lnTo>
                  <a:lnTo>
                    <a:pt x="16700" y="2303"/>
                  </a:lnTo>
                  <a:lnTo>
                    <a:pt x="16709" y="2295"/>
                  </a:lnTo>
                  <a:lnTo>
                    <a:pt x="16717" y="2295"/>
                  </a:lnTo>
                  <a:lnTo>
                    <a:pt x="16709" y="2277"/>
                  </a:lnTo>
                  <a:lnTo>
                    <a:pt x="16700" y="2268"/>
                  </a:lnTo>
                  <a:lnTo>
                    <a:pt x="16700" y="2259"/>
                  </a:lnTo>
                  <a:lnTo>
                    <a:pt x="16691" y="2259"/>
                  </a:lnTo>
                  <a:lnTo>
                    <a:pt x="16647" y="2268"/>
                  </a:lnTo>
                  <a:lnTo>
                    <a:pt x="16638" y="2277"/>
                  </a:lnTo>
                  <a:lnTo>
                    <a:pt x="16629" y="2268"/>
                  </a:lnTo>
                  <a:lnTo>
                    <a:pt x="16576" y="2303"/>
                  </a:lnTo>
                  <a:lnTo>
                    <a:pt x="16559" y="2312"/>
                  </a:lnTo>
                  <a:lnTo>
                    <a:pt x="16541" y="2312"/>
                  </a:lnTo>
                  <a:lnTo>
                    <a:pt x="16523" y="2303"/>
                  </a:lnTo>
                  <a:lnTo>
                    <a:pt x="16497" y="2303"/>
                  </a:lnTo>
                  <a:lnTo>
                    <a:pt x="16479" y="2303"/>
                  </a:lnTo>
                  <a:lnTo>
                    <a:pt x="16470" y="2303"/>
                  </a:lnTo>
                  <a:lnTo>
                    <a:pt x="16453" y="2312"/>
                  </a:lnTo>
                  <a:lnTo>
                    <a:pt x="16426" y="2312"/>
                  </a:lnTo>
                  <a:lnTo>
                    <a:pt x="16409" y="2321"/>
                  </a:lnTo>
                  <a:lnTo>
                    <a:pt x="16391" y="2339"/>
                  </a:lnTo>
                  <a:lnTo>
                    <a:pt x="16391" y="2356"/>
                  </a:lnTo>
                  <a:lnTo>
                    <a:pt x="16382" y="2365"/>
                  </a:lnTo>
                  <a:lnTo>
                    <a:pt x="16364" y="2348"/>
                  </a:lnTo>
                  <a:lnTo>
                    <a:pt x="16356" y="2348"/>
                  </a:lnTo>
                  <a:lnTo>
                    <a:pt x="16347" y="2348"/>
                  </a:lnTo>
                  <a:lnTo>
                    <a:pt x="16329" y="2356"/>
                  </a:lnTo>
                  <a:lnTo>
                    <a:pt x="16320" y="2356"/>
                  </a:lnTo>
                  <a:lnTo>
                    <a:pt x="16294" y="2356"/>
                  </a:lnTo>
                  <a:lnTo>
                    <a:pt x="16285" y="2356"/>
                  </a:lnTo>
                  <a:lnTo>
                    <a:pt x="16276" y="2348"/>
                  </a:lnTo>
                  <a:lnTo>
                    <a:pt x="16276" y="2339"/>
                  </a:lnTo>
                  <a:lnTo>
                    <a:pt x="16294" y="2339"/>
                  </a:lnTo>
                  <a:lnTo>
                    <a:pt x="16303" y="2330"/>
                  </a:lnTo>
                  <a:lnTo>
                    <a:pt x="16312" y="2339"/>
                  </a:lnTo>
                  <a:lnTo>
                    <a:pt x="16320" y="2330"/>
                  </a:lnTo>
                  <a:lnTo>
                    <a:pt x="16320" y="2321"/>
                  </a:lnTo>
                  <a:lnTo>
                    <a:pt x="16312" y="2303"/>
                  </a:lnTo>
                  <a:lnTo>
                    <a:pt x="16312" y="2295"/>
                  </a:lnTo>
                  <a:lnTo>
                    <a:pt x="16320" y="2286"/>
                  </a:lnTo>
                  <a:lnTo>
                    <a:pt x="16320" y="2277"/>
                  </a:lnTo>
                  <a:lnTo>
                    <a:pt x="16312" y="2268"/>
                  </a:lnTo>
                  <a:lnTo>
                    <a:pt x="16320" y="2268"/>
                  </a:lnTo>
                  <a:lnTo>
                    <a:pt x="16356" y="2259"/>
                  </a:lnTo>
                  <a:lnTo>
                    <a:pt x="16364" y="2259"/>
                  </a:lnTo>
                  <a:lnTo>
                    <a:pt x="16338" y="2259"/>
                  </a:lnTo>
                  <a:lnTo>
                    <a:pt x="16312" y="2259"/>
                  </a:lnTo>
                  <a:lnTo>
                    <a:pt x="16285" y="2268"/>
                  </a:lnTo>
                  <a:lnTo>
                    <a:pt x="16232" y="2295"/>
                  </a:lnTo>
                  <a:lnTo>
                    <a:pt x="16206" y="2312"/>
                  </a:lnTo>
                  <a:lnTo>
                    <a:pt x="16215" y="2303"/>
                  </a:lnTo>
                  <a:lnTo>
                    <a:pt x="16223" y="2312"/>
                  </a:lnTo>
                  <a:lnTo>
                    <a:pt x="16223" y="2321"/>
                  </a:lnTo>
                  <a:lnTo>
                    <a:pt x="16232" y="2321"/>
                  </a:lnTo>
                  <a:lnTo>
                    <a:pt x="16232" y="2330"/>
                  </a:lnTo>
                  <a:lnTo>
                    <a:pt x="16215" y="2339"/>
                  </a:lnTo>
                  <a:lnTo>
                    <a:pt x="16206" y="2339"/>
                  </a:lnTo>
                  <a:lnTo>
                    <a:pt x="16197" y="2339"/>
                  </a:lnTo>
                  <a:lnTo>
                    <a:pt x="16197" y="2330"/>
                  </a:lnTo>
                  <a:lnTo>
                    <a:pt x="16188" y="2321"/>
                  </a:lnTo>
                  <a:lnTo>
                    <a:pt x="16179" y="2312"/>
                  </a:lnTo>
                  <a:lnTo>
                    <a:pt x="16179" y="2321"/>
                  </a:lnTo>
                  <a:lnTo>
                    <a:pt x="16153" y="2321"/>
                  </a:lnTo>
                  <a:lnTo>
                    <a:pt x="16126" y="2339"/>
                  </a:lnTo>
                  <a:lnTo>
                    <a:pt x="16109" y="2339"/>
                  </a:lnTo>
                  <a:lnTo>
                    <a:pt x="16091" y="2339"/>
                  </a:lnTo>
                  <a:lnTo>
                    <a:pt x="16082" y="2348"/>
                  </a:lnTo>
                  <a:lnTo>
                    <a:pt x="16065" y="2356"/>
                  </a:lnTo>
                  <a:lnTo>
                    <a:pt x="16047" y="2365"/>
                  </a:lnTo>
                  <a:lnTo>
                    <a:pt x="16029" y="2374"/>
                  </a:lnTo>
                  <a:lnTo>
                    <a:pt x="15967" y="2401"/>
                  </a:lnTo>
                  <a:lnTo>
                    <a:pt x="15959" y="2401"/>
                  </a:lnTo>
                  <a:lnTo>
                    <a:pt x="15950" y="2401"/>
                  </a:lnTo>
                  <a:lnTo>
                    <a:pt x="15941" y="2401"/>
                  </a:lnTo>
                  <a:lnTo>
                    <a:pt x="15932" y="2401"/>
                  </a:lnTo>
                  <a:lnTo>
                    <a:pt x="15941" y="2409"/>
                  </a:lnTo>
                  <a:lnTo>
                    <a:pt x="15950" y="2418"/>
                  </a:lnTo>
                  <a:lnTo>
                    <a:pt x="15950" y="2427"/>
                  </a:lnTo>
                  <a:lnTo>
                    <a:pt x="15932" y="2427"/>
                  </a:lnTo>
                  <a:lnTo>
                    <a:pt x="15906" y="2427"/>
                  </a:lnTo>
                  <a:lnTo>
                    <a:pt x="15879" y="2436"/>
                  </a:lnTo>
                  <a:lnTo>
                    <a:pt x="15879" y="2445"/>
                  </a:lnTo>
                  <a:lnTo>
                    <a:pt x="15879" y="2454"/>
                  </a:lnTo>
                  <a:lnTo>
                    <a:pt x="15870" y="2462"/>
                  </a:lnTo>
                  <a:lnTo>
                    <a:pt x="15870" y="2480"/>
                  </a:lnTo>
                  <a:lnTo>
                    <a:pt x="15862" y="2506"/>
                  </a:lnTo>
                  <a:lnTo>
                    <a:pt x="15862" y="2515"/>
                  </a:lnTo>
                  <a:lnTo>
                    <a:pt x="15844" y="2515"/>
                  </a:lnTo>
                  <a:lnTo>
                    <a:pt x="15791" y="2533"/>
                  </a:lnTo>
                  <a:lnTo>
                    <a:pt x="15782" y="2533"/>
                  </a:lnTo>
                  <a:lnTo>
                    <a:pt x="15773" y="2533"/>
                  </a:lnTo>
                  <a:lnTo>
                    <a:pt x="15756" y="2533"/>
                  </a:lnTo>
                  <a:lnTo>
                    <a:pt x="15747" y="2533"/>
                  </a:lnTo>
                  <a:lnTo>
                    <a:pt x="15738" y="2533"/>
                  </a:lnTo>
                  <a:lnTo>
                    <a:pt x="15729" y="2524"/>
                  </a:lnTo>
                  <a:lnTo>
                    <a:pt x="15720" y="2515"/>
                  </a:lnTo>
                  <a:lnTo>
                    <a:pt x="15703" y="2489"/>
                  </a:lnTo>
                  <a:lnTo>
                    <a:pt x="15676" y="2471"/>
                  </a:lnTo>
                  <a:lnTo>
                    <a:pt x="15659" y="2471"/>
                  </a:lnTo>
                  <a:lnTo>
                    <a:pt x="15659" y="2462"/>
                  </a:lnTo>
                  <a:lnTo>
                    <a:pt x="15659" y="2454"/>
                  </a:lnTo>
                  <a:lnTo>
                    <a:pt x="15694" y="2427"/>
                  </a:lnTo>
                  <a:lnTo>
                    <a:pt x="15703" y="2418"/>
                  </a:lnTo>
                  <a:lnTo>
                    <a:pt x="15747" y="2409"/>
                  </a:lnTo>
                  <a:lnTo>
                    <a:pt x="15773" y="2409"/>
                  </a:lnTo>
                  <a:lnTo>
                    <a:pt x="15791" y="2401"/>
                  </a:lnTo>
                  <a:lnTo>
                    <a:pt x="15791" y="2392"/>
                  </a:lnTo>
                  <a:lnTo>
                    <a:pt x="15773" y="2374"/>
                  </a:lnTo>
                  <a:lnTo>
                    <a:pt x="15747" y="2348"/>
                  </a:lnTo>
                  <a:lnTo>
                    <a:pt x="15729" y="2321"/>
                  </a:lnTo>
                  <a:lnTo>
                    <a:pt x="15703" y="2312"/>
                  </a:lnTo>
                  <a:lnTo>
                    <a:pt x="15668" y="2312"/>
                  </a:lnTo>
                  <a:lnTo>
                    <a:pt x="15606" y="2312"/>
                  </a:lnTo>
                  <a:lnTo>
                    <a:pt x="15597" y="2312"/>
                  </a:lnTo>
                  <a:lnTo>
                    <a:pt x="15553" y="2295"/>
                  </a:lnTo>
                  <a:lnTo>
                    <a:pt x="15544" y="2295"/>
                  </a:lnTo>
                  <a:lnTo>
                    <a:pt x="15544" y="2303"/>
                  </a:lnTo>
                  <a:lnTo>
                    <a:pt x="15544" y="2312"/>
                  </a:lnTo>
                  <a:lnTo>
                    <a:pt x="15606" y="2348"/>
                  </a:lnTo>
                  <a:lnTo>
                    <a:pt x="15606" y="2356"/>
                  </a:lnTo>
                  <a:lnTo>
                    <a:pt x="15606" y="2365"/>
                  </a:lnTo>
                  <a:lnTo>
                    <a:pt x="15606" y="2374"/>
                  </a:lnTo>
                  <a:lnTo>
                    <a:pt x="15606" y="2383"/>
                  </a:lnTo>
                  <a:lnTo>
                    <a:pt x="15597" y="2427"/>
                  </a:lnTo>
                  <a:lnTo>
                    <a:pt x="15579" y="2454"/>
                  </a:lnTo>
                  <a:lnTo>
                    <a:pt x="15579" y="2471"/>
                  </a:lnTo>
                  <a:lnTo>
                    <a:pt x="15579" y="2480"/>
                  </a:lnTo>
                  <a:lnTo>
                    <a:pt x="15579" y="2489"/>
                  </a:lnTo>
                  <a:lnTo>
                    <a:pt x="15597" y="2489"/>
                  </a:lnTo>
                  <a:lnTo>
                    <a:pt x="15615" y="2498"/>
                  </a:lnTo>
                  <a:lnTo>
                    <a:pt x="15623" y="2506"/>
                  </a:lnTo>
                  <a:lnTo>
                    <a:pt x="15623" y="2515"/>
                  </a:lnTo>
                  <a:lnTo>
                    <a:pt x="15623" y="2533"/>
                  </a:lnTo>
                  <a:lnTo>
                    <a:pt x="15623" y="2551"/>
                  </a:lnTo>
                  <a:lnTo>
                    <a:pt x="15615" y="2577"/>
                  </a:lnTo>
                  <a:lnTo>
                    <a:pt x="15606" y="2586"/>
                  </a:lnTo>
                  <a:lnTo>
                    <a:pt x="15597" y="2604"/>
                  </a:lnTo>
                  <a:lnTo>
                    <a:pt x="15606" y="2621"/>
                  </a:lnTo>
                  <a:lnTo>
                    <a:pt x="15597" y="2630"/>
                  </a:lnTo>
                  <a:lnTo>
                    <a:pt x="15588" y="2630"/>
                  </a:lnTo>
                  <a:lnTo>
                    <a:pt x="15588" y="2621"/>
                  </a:lnTo>
                  <a:lnTo>
                    <a:pt x="15579" y="2612"/>
                  </a:lnTo>
                  <a:lnTo>
                    <a:pt x="15570" y="2612"/>
                  </a:lnTo>
                  <a:lnTo>
                    <a:pt x="15562" y="2612"/>
                  </a:lnTo>
                  <a:lnTo>
                    <a:pt x="15562" y="2621"/>
                  </a:lnTo>
                  <a:lnTo>
                    <a:pt x="15562" y="2612"/>
                  </a:lnTo>
                  <a:lnTo>
                    <a:pt x="15562" y="2604"/>
                  </a:lnTo>
                  <a:lnTo>
                    <a:pt x="15562" y="2595"/>
                  </a:lnTo>
                  <a:lnTo>
                    <a:pt x="15535" y="2586"/>
                  </a:lnTo>
                  <a:lnTo>
                    <a:pt x="15518" y="2586"/>
                  </a:lnTo>
                  <a:lnTo>
                    <a:pt x="15500" y="2586"/>
                  </a:lnTo>
                  <a:lnTo>
                    <a:pt x="15491" y="2586"/>
                  </a:lnTo>
                  <a:lnTo>
                    <a:pt x="15473" y="2577"/>
                  </a:lnTo>
                  <a:lnTo>
                    <a:pt x="15465" y="2568"/>
                  </a:lnTo>
                  <a:lnTo>
                    <a:pt x="15456" y="2568"/>
                  </a:lnTo>
                  <a:lnTo>
                    <a:pt x="15447" y="2577"/>
                  </a:lnTo>
                  <a:lnTo>
                    <a:pt x="15429" y="2604"/>
                  </a:lnTo>
                  <a:lnTo>
                    <a:pt x="15403" y="2621"/>
                  </a:lnTo>
                  <a:lnTo>
                    <a:pt x="15376" y="2630"/>
                  </a:lnTo>
                  <a:lnTo>
                    <a:pt x="15350" y="2639"/>
                  </a:lnTo>
                  <a:lnTo>
                    <a:pt x="15332" y="2657"/>
                  </a:lnTo>
                  <a:lnTo>
                    <a:pt x="15323" y="2665"/>
                  </a:lnTo>
                  <a:lnTo>
                    <a:pt x="15279" y="2683"/>
                  </a:lnTo>
                  <a:lnTo>
                    <a:pt x="15279" y="2692"/>
                  </a:lnTo>
                  <a:lnTo>
                    <a:pt x="15279" y="2701"/>
                  </a:lnTo>
                  <a:lnTo>
                    <a:pt x="15279" y="2709"/>
                  </a:lnTo>
                  <a:lnTo>
                    <a:pt x="15288" y="2727"/>
                  </a:lnTo>
                  <a:lnTo>
                    <a:pt x="15306" y="2745"/>
                  </a:lnTo>
                  <a:lnTo>
                    <a:pt x="15315" y="2754"/>
                  </a:lnTo>
                  <a:lnTo>
                    <a:pt x="15323" y="2771"/>
                  </a:lnTo>
                  <a:lnTo>
                    <a:pt x="15332" y="2780"/>
                  </a:lnTo>
                  <a:lnTo>
                    <a:pt x="15323" y="2780"/>
                  </a:lnTo>
                  <a:lnTo>
                    <a:pt x="15315" y="2780"/>
                  </a:lnTo>
                  <a:lnTo>
                    <a:pt x="15306" y="2780"/>
                  </a:lnTo>
                  <a:lnTo>
                    <a:pt x="15288" y="2789"/>
                  </a:lnTo>
                  <a:lnTo>
                    <a:pt x="15288" y="2798"/>
                  </a:lnTo>
                  <a:lnTo>
                    <a:pt x="15279" y="2807"/>
                  </a:lnTo>
                  <a:lnTo>
                    <a:pt x="15262" y="2807"/>
                  </a:lnTo>
                  <a:lnTo>
                    <a:pt x="15226" y="2789"/>
                  </a:lnTo>
                  <a:lnTo>
                    <a:pt x="15191" y="2780"/>
                  </a:lnTo>
                  <a:lnTo>
                    <a:pt x="15182" y="2771"/>
                  </a:lnTo>
                  <a:lnTo>
                    <a:pt x="15165" y="2771"/>
                  </a:lnTo>
                  <a:lnTo>
                    <a:pt x="15156" y="2771"/>
                  </a:lnTo>
                  <a:lnTo>
                    <a:pt x="15147" y="2771"/>
                  </a:lnTo>
                  <a:lnTo>
                    <a:pt x="15112" y="2745"/>
                  </a:lnTo>
                  <a:lnTo>
                    <a:pt x="15085" y="2727"/>
                  </a:lnTo>
                  <a:lnTo>
                    <a:pt x="15076" y="2727"/>
                  </a:lnTo>
                  <a:lnTo>
                    <a:pt x="15068" y="2736"/>
                  </a:lnTo>
                  <a:lnTo>
                    <a:pt x="15059" y="2754"/>
                  </a:lnTo>
                  <a:lnTo>
                    <a:pt x="15050" y="2762"/>
                  </a:lnTo>
                  <a:lnTo>
                    <a:pt x="15041" y="2762"/>
                  </a:lnTo>
                  <a:lnTo>
                    <a:pt x="15041" y="2771"/>
                  </a:lnTo>
                  <a:lnTo>
                    <a:pt x="15050" y="2780"/>
                  </a:lnTo>
                  <a:lnTo>
                    <a:pt x="15059" y="2789"/>
                  </a:lnTo>
                  <a:lnTo>
                    <a:pt x="15076" y="2815"/>
                  </a:lnTo>
                  <a:lnTo>
                    <a:pt x="15094" y="2824"/>
                  </a:lnTo>
                  <a:lnTo>
                    <a:pt x="15094" y="2833"/>
                  </a:lnTo>
                  <a:lnTo>
                    <a:pt x="15112" y="2833"/>
                  </a:lnTo>
                  <a:lnTo>
                    <a:pt x="15129" y="2824"/>
                  </a:lnTo>
                  <a:lnTo>
                    <a:pt x="15138" y="2833"/>
                  </a:lnTo>
                  <a:lnTo>
                    <a:pt x="15147" y="2833"/>
                  </a:lnTo>
                  <a:lnTo>
                    <a:pt x="15147" y="2851"/>
                  </a:lnTo>
                  <a:lnTo>
                    <a:pt x="15156" y="2860"/>
                  </a:lnTo>
                  <a:lnTo>
                    <a:pt x="15156" y="2868"/>
                  </a:lnTo>
                  <a:lnTo>
                    <a:pt x="15147" y="2877"/>
                  </a:lnTo>
                  <a:lnTo>
                    <a:pt x="15121" y="2886"/>
                  </a:lnTo>
                  <a:lnTo>
                    <a:pt x="15112" y="2895"/>
                  </a:lnTo>
                  <a:lnTo>
                    <a:pt x="15103" y="2895"/>
                  </a:lnTo>
                  <a:lnTo>
                    <a:pt x="15076" y="2886"/>
                  </a:lnTo>
                  <a:lnTo>
                    <a:pt x="15059" y="2877"/>
                  </a:lnTo>
                  <a:lnTo>
                    <a:pt x="15032" y="2877"/>
                  </a:lnTo>
                  <a:lnTo>
                    <a:pt x="15023" y="2868"/>
                  </a:lnTo>
                  <a:lnTo>
                    <a:pt x="15015" y="2851"/>
                  </a:lnTo>
                  <a:lnTo>
                    <a:pt x="14988" y="2833"/>
                  </a:lnTo>
                  <a:lnTo>
                    <a:pt x="14979" y="2833"/>
                  </a:lnTo>
                  <a:lnTo>
                    <a:pt x="14962" y="2833"/>
                  </a:lnTo>
                  <a:lnTo>
                    <a:pt x="14953" y="2833"/>
                  </a:lnTo>
                  <a:lnTo>
                    <a:pt x="14935" y="2824"/>
                  </a:lnTo>
                  <a:lnTo>
                    <a:pt x="14918" y="2807"/>
                  </a:lnTo>
                  <a:lnTo>
                    <a:pt x="14918" y="2789"/>
                  </a:lnTo>
                  <a:lnTo>
                    <a:pt x="14926" y="2789"/>
                  </a:lnTo>
                  <a:lnTo>
                    <a:pt x="14926" y="2780"/>
                  </a:lnTo>
                  <a:lnTo>
                    <a:pt x="14918" y="2780"/>
                  </a:lnTo>
                  <a:lnTo>
                    <a:pt x="14918" y="2762"/>
                  </a:lnTo>
                  <a:lnTo>
                    <a:pt x="14918" y="2754"/>
                  </a:lnTo>
                  <a:lnTo>
                    <a:pt x="14909" y="2736"/>
                  </a:lnTo>
                  <a:lnTo>
                    <a:pt x="14891" y="2718"/>
                  </a:lnTo>
                  <a:lnTo>
                    <a:pt x="14882" y="2709"/>
                  </a:lnTo>
                  <a:lnTo>
                    <a:pt x="14900" y="2701"/>
                  </a:lnTo>
                  <a:lnTo>
                    <a:pt x="14900" y="2692"/>
                  </a:lnTo>
                  <a:lnTo>
                    <a:pt x="14909" y="2674"/>
                  </a:lnTo>
                  <a:lnTo>
                    <a:pt x="14909" y="2665"/>
                  </a:lnTo>
                  <a:lnTo>
                    <a:pt x="14918" y="2665"/>
                  </a:lnTo>
                  <a:lnTo>
                    <a:pt x="14918" y="2657"/>
                  </a:lnTo>
                  <a:lnTo>
                    <a:pt x="14918" y="2648"/>
                  </a:lnTo>
                  <a:lnTo>
                    <a:pt x="14909" y="2639"/>
                  </a:lnTo>
                  <a:lnTo>
                    <a:pt x="14882" y="2621"/>
                  </a:lnTo>
                  <a:lnTo>
                    <a:pt x="14865" y="2604"/>
                  </a:lnTo>
                  <a:lnTo>
                    <a:pt x="14821" y="2595"/>
                  </a:lnTo>
                  <a:lnTo>
                    <a:pt x="14812" y="2595"/>
                  </a:lnTo>
                  <a:lnTo>
                    <a:pt x="14821" y="2595"/>
                  </a:lnTo>
                  <a:lnTo>
                    <a:pt x="14829" y="2586"/>
                  </a:lnTo>
                  <a:lnTo>
                    <a:pt x="14829" y="2577"/>
                  </a:lnTo>
                  <a:lnTo>
                    <a:pt x="14821" y="2577"/>
                  </a:lnTo>
                  <a:lnTo>
                    <a:pt x="14812" y="2577"/>
                  </a:lnTo>
                  <a:lnTo>
                    <a:pt x="14803" y="2568"/>
                  </a:lnTo>
                  <a:lnTo>
                    <a:pt x="14794" y="2559"/>
                  </a:lnTo>
                  <a:lnTo>
                    <a:pt x="14803" y="2559"/>
                  </a:lnTo>
                  <a:lnTo>
                    <a:pt x="14794" y="2551"/>
                  </a:lnTo>
                  <a:lnTo>
                    <a:pt x="14776" y="2551"/>
                  </a:lnTo>
                  <a:lnTo>
                    <a:pt x="14776" y="2542"/>
                  </a:lnTo>
                  <a:lnTo>
                    <a:pt x="14759" y="2533"/>
                  </a:lnTo>
                  <a:lnTo>
                    <a:pt x="14741" y="2524"/>
                  </a:lnTo>
                  <a:lnTo>
                    <a:pt x="14750" y="2506"/>
                  </a:lnTo>
                  <a:lnTo>
                    <a:pt x="14732" y="2506"/>
                  </a:lnTo>
                  <a:lnTo>
                    <a:pt x="14724" y="2498"/>
                  </a:lnTo>
                  <a:lnTo>
                    <a:pt x="14706" y="2498"/>
                  </a:lnTo>
                  <a:lnTo>
                    <a:pt x="14697" y="2489"/>
                  </a:lnTo>
                  <a:lnTo>
                    <a:pt x="14741" y="2489"/>
                  </a:lnTo>
                  <a:lnTo>
                    <a:pt x="14776" y="2498"/>
                  </a:lnTo>
                  <a:lnTo>
                    <a:pt x="14776" y="2506"/>
                  </a:lnTo>
                  <a:lnTo>
                    <a:pt x="14768" y="2506"/>
                  </a:lnTo>
                  <a:lnTo>
                    <a:pt x="14785" y="2524"/>
                  </a:lnTo>
                  <a:lnTo>
                    <a:pt x="14794" y="2533"/>
                  </a:lnTo>
                  <a:lnTo>
                    <a:pt x="14821" y="2542"/>
                  </a:lnTo>
                  <a:lnTo>
                    <a:pt x="14829" y="2542"/>
                  </a:lnTo>
                  <a:lnTo>
                    <a:pt x="14838" y="2542"/>
                  </a:lnTo>
                  <a:lnTo>
                    <a:pt x="14847" y="2551"/>
                  </a:lnTo>
                  <a:lnTo>
                    <a:pt x="14865" y="2551"/>
                  </a:lnTo>
                  <a:lnTo>
                    <a:pt x="14891" y="2551"/>
                  </a:lnTo>
                  <a:lnTo>
                    <a:pt x="14891" y="2559"/>
                  </a:lnTo>
                  <a:lnTo>
                    <a:pt x="14882" y="2559"/>
                  </a:lnTo>
                  <a:lnTo>
                    <a:pt x="14891" y="2568"/>
                  </a:lnTo>
                  <a:lnTo>
                    <a:pt x="14900" y="2568"/>
                  </a:lnTo>
                  <a:lnTo>
                    <a:pt x="14918" y="2559"/>
                  </a:lnTo>
                  <a:lnTo>
                    <a:pt x="14953" y="2577"/>
                  </a:lnTo>
                  <a:lnTo>
                    <a:pt x="14971" y="2586"/>
                  </a:lnTo>
                  <a:lnTo>
                    <a:pt x="15032" y="2595"/>
                  </a:lnTo>
                  <a:lnTo>
                    <a:pt x="15059" y="2595"/>
                  </a:lnTo>
                  <a:lnTo>
                    <a:pt x="15076" y="2604"/>
                  </a:lnTo>
                  <a:lnTo>
                    <a:pt x="15094" y="2604"/>
                  </a:lnTo>
                  <a:lnTo>
                    <a:pt x="15121" y="2621"/>
                  </a:lnTo>
                  <a:lnTo>
                    <a:pt x="15147" y="2621"/>
                  </a:lnTo>
                  <a:lnTo>
                    <a:pt x="15182" y="2630"/>
                  </a:lnTo>
                  <a:lnTo>
                    <a:pt x="15200" y="2621"/>
                  </a:lnTo>
                  <a:lnTo>
                    <a:pt x="15244" y="2621"/>
                  </a:lnTo>
                  <a:lnTo>
                    <a:pt x="15306" y="2595"/>
                  </a:lnTo>
                  <a:lnTo>
                    <a:pt x="15332" y="2577"/>
                  </a:lnTo>
                  <a:lnTo>
                    <a:pt x="15385" y="2533"/>
                  </a:lnTo>
                  <a:lnTo>
                    <a:pt x="15394" y="2524"/>
                  </a:lnTo>
                  <a:lnTo>
                    <a:pt x="15394" y="2498"/>
                  </a:lnTo>
                  <a:lnTo>
                    <a:pt x="15394" y="2489"/>
                  </a:lnTo>
                  <a:lnTo>
                    <a:pt x="15394" y="2480"/>
                  </a:lnTo>
                  <a:lnTo>
                    <a:pt x="15376" y="2480"/>
                  </a:lnTo>
                  <a:lnTo>
                    <a:pt x="15376" y="2462"/>
                  </a:lnTo>
                  <a:lnTo>
                    <a:pt x="15376" y="2454"/>
                  </a:lnTo>
                  <a:lnTo>
                    <a:pt x="15368" y="2418"/>
                  </a:lnTo>
                  <a:lnTo>
                    <a:pt x="15350" y="2418"/>
                  </a:lnTo>
                  <a:lnTo>
                    <a:pt x="15341" y="2418"/>
                  </a:lnTo>
                  <a:lnTo>
                    <a:pt x="15332" y="2409"/>
                  </a:lnTo>
                  <a:lnTo>
                    <a:pt x="15323" y="2409"/>
                  </a:lnTo>
                  <a:lnTo>
                    <a:pt x="15315" y="2392"/>
                  </a:lnTo>
                  <a:lnTo>
                    <a:pt x="15297" y="2383"/>
                  </a:lnTo>
                  <a:lnTo>
                    <a:pt x="15288" y="2374"/>
                  </a:lnTo>
                  <a:lnTo>
                    <a:pt x="15279" y="2365"/>
                  </a:lnTo>
                  <a:lnTo>
                    <a:pt x="15279" y="2374"/>
                  </a:lnTo>
                  <a:lnTo>
                    <a:pt x="15288" y="2374"/>
                  </a:lnTo>
                  <a:lnTo>
                    <a:pt x="15262" y="2374"/>
                  </a:lnTo>
                  <a:lnTo>
                    <a:pt x="15209" y="2348"/>
                  </a:lnTo>
                  <a:lnTo>
                    <a:pt x="15200" y="2339"/>
                  </a:lnTo>
                  <a:lnTo>
                    <a:pt x="15200" y="2348"/>
                  </a:lnTo>
                  <a:lnTo>
                    <a:pt x="15182" y="2339"/>
                  </a:lnTo>
                  <a:lnTo>
                    <a:pt x="15173" y="2330"/>
                  </a:lnTo>
                  <a:lnTo>
                    <a:pt x="15129" y="2295"/>
                  </a:lnTo>
                  <a:lnTo>
                    <a:pt x="15050" y="2259"/>
                  </a:lnTo>
                  <a:lnTo>
                    <a:pt x="14997" y="2233"/>
                  </a:lnTo>
                  <a:lnTo>
                    <a:pt x="14953" y="2224"/>
                  </a:lnTo>
                  <a:lnTo>
                    <a:pt x="14944" y="2224"/>
                  </a:lnTo>
                  <a:lnTo>
                    <a:pt x="14926" y="2233"/>
                  </a:lnTo>
                  <a:lnTo>
                    <a:pt x="14918" y="2224"/>
                  </a:lnTo>
                  <a:lnTo>
                    <a:pt x="14882" y="2215"/>
                  </a:lnTo>
                  <a:lnTo>
                    <a:pt x="14874" y="2215"/>
                  </a:lnTo>
                  <a:lnTo>
                    <a:pt x="14829" y="2215"/>
                  </a:lnTo>
                  <a:lnTo>
                    <a:pt x="14829" y="2224"/>
                  </a:lnTo>
                  <a:lnTo>
                    <a:pt x="14812" y="2242"/>
                  </a:lnTo>
                  <a:lnTo>
                    <a:pt x="14803" y="2242"/>
                  </a:lnTo>
                  <a:lnTo>
                    <a:pt x="14794" y="2251"/>
                  </a:lnTo>
                  <a:lnTo>
                    <a:pt x="14794" y="2242"/>
                  </a:lnTo>
                  <a:lnTo>
                    <a:pt x="14803" y="2242"/>
                  </a:lnTo>
                  <a:lnTo>
                    <a:pt x="14812" y="2224"/>
                  </a:lnTo>
                  <a:lnTo>
                    <a:pt x="14812" y="2215"/>
                  </a:lnTo>
                  <a:lnTo>
                    <a:pt x="14821" y="2206"/>
                  </a:lnTo>
                  <a:lnTo>
                    <a:pt x="14812" y="2206"/>
                  </a:lnTo>
                  <a:lnTo>
                    <a:pt x="14812" y="2198"/>
                  </a:lnTo>
                  <a:lnTo>
                    <a:pt x="14803" y="2206"/>
                  </a:lnTo>
                  <a:lnTo>
                    <a:pt x="14785" y="2206"/>
                  </a:lnTo>
                  <a:lnTo>
                    <a:pt x="14776" y="2206"/>
                  </a:lnTo>
                  <a:lnTo>
                    <a:pt x="14785" y="2198"/>
                  </a:lnTo>
                  <a:lnTo>
                    <a:pt x="14776" y="2198"/>
                  </a:lnTo>
                  <a:lnTo>
                    <a:pt x="14759" y="2198"/>
                  </a:lnTo>
                  <a:lnTo>
                    <a:pt x="14741" y="2198"/>
                  </a:lnTo>
                  <a:lnTo>
                    <a:pt x="14732" y="2189"/>
                  </a:lnTo>
                  <a:lnTo>
                    <a:pt x="14724" y="2180"/>
                  </a:lnTo>
                  <a:lnTo>
                    <a:pt x="14715" y="2171"/>
                  </a:lnTo>
                  <a:lnTo>
                    <a:pt x="14724" y="2171"/>
                  </a:lnTo>
                  <a:lnTo>
                    <a:pt x="14768" y="2180"/>
                  </a:lnTo>
                  <a:lnTo>
                    <a:pt x="14776" y="2180"/>
                  </a:lnTo>
                  <a:lnTo>
                    <a:pt x="14785" y="2180"/>
                  </a:lnTo>
                  <a:lnTo>
                    <a:pt x="14785" y="2171"/>
                  </a:lnTo>
                  <a:lnTo>
                    <a:pt x="14785" y="2162"/>
                  </a:lnTo>
                  <a:lnTo>
                    <a:pt x="14776" y="2162"/>
                  </a:lnTo>
                  <a:lnTo>
                    <a:pt x="14750" y="2153"/>
                  </a:lnTo>
                  <a:lnTo>
                    <a:pt x="14741" y="2145"/>
                  </a:lnTo>
                  <a:lnTo>
                    <a:pt x="14706" y="2136"/>
                  </a:lnTo>
                  <a:lnTo>
                    <a:pt x="14715" y="2145"/>
                  </a:lnTo>
                  <a:lnTo>
                    <a:pt x="14706" y="2153"/>
                  </a:lnTo>
                  <a:lnTo>
                    <a:pt x="14697" y="2153"/>
                  </a:lnTo>
                  <a:lnTo>
                    <a:pt x="14688" y="2162"/>
                  </a:lnTo>
                  <a:lnTo>
                    <a:pt x="14679" y="2171"/>
                  </a:lnTo>
                  <a:lnTo>
                    <a:pt x="14671" y="2171"/>
                  </a:lnTo>
                  <a:lnTo>
                    <a:pt x="14635" y="2153"/>
                  </a:lnTo>
                  <a:lnTo>
                    <a:pt x="14626" y="2153"/>
                  </a:lnTo>
                  <a:lnTo>
                    <a:pt x="14618" y="2153"/>
                  </a:lnTo>
                  <a:lnTo>
                    <a:pt x="14609" y="2153"/>
                  </a:lnTo>
                  <a:lnTo>
                    <a:pt x="14600" y="2153"/>
                  </a:lnTo>
                  <a:lnTo>
                    <a:pt x="14591" y="2162"/>
                  </a:lnTo>
                  <a:lnTo>
                    <a:pt x="14591" y="2145"/>
                  </a:lnTo>
                  <a:lnTo>
                    <a:pt x="14582" y="2145"/>
                  </a:lnTo>
                  <a:lnTo>
                    <a:pt x="14574" y="2145"/>
                  </a:lnTo>
                  <a:lnTo>
                    <a:pt x="14574" y="2162"/>
                  </a:lnTo>
                  <a:lnTo>
                    <a:pt x="14565" y="2162"/>
                  </a:lnTo>
                  <a:lnTo>
                    <a:pt x="14547" y="2162"/>
                  </a:lnTo>
                  <a:lnTo>
                    <a:pt x="14538" y="2162"/>
                  </a:lnTo>
                  <a:lnTo>
                    <a:pt x="14538" y="2153"/>
                  </a:lnTo>
                  <a:lnTo>
                    <a:pt x="14538" y="2145"/>
                  </a:lnTo>
                  <a:lnTo>
                    <a:pt x="14538" y="2136"/>
                  </a:lnTo>
                  <a:lnTo>
                    <a:pt x="14529" y="2127"/>
                  </a:lnTo>
                  <a:lnTo>
                    <a:pt x="14477" y="2118"/>
                  </a:lnTo>
                  <a:lnTo>
                    <a:pt x="14477" y="2109"/>
                  </a:lnTo>
                  <a:lnTo>
                    <a:pt x="14556" y="2118"/>
                  </a:lnTo>
                  <a:lnTo>
                    <a:pt x="14582" y="2109"/>
                  </a:lnTo>
                  <a:lnTo>
                    <a:pt x="14600" y="2101"/>
                  </a:lnTo>
                  <a:lnTo>
                    <a:pt x="14635" y="2092"/>
                  </a:lnTo>
                  <a:lnTo>
                    <a:pt x="14635" y="2083"/>
                  </a:lnTo>
                  <a:lnTo>
                    <a:pt x="14626" y="2074"/>
                  </a:lnTo>
                  <a:lnTo>
                    <a:pt x="14609" y="2056"/>
                  </a:lnTo>
                  <a:lnTo>
                    <a:pt x="14591" y="2056"/>
                  </a:lnTo>
                  <a:lnTo>
                    <a:pt x="14574" y="2056"/>
                  </a:lnTo>
                  <a:lnTo>
                    <a:pt x="14582" y="2048"/>
                  </a:lnTo>
                  <a:lnTo>
                    <a:pt x="14565" y="2030"/>
                  </a:lnTo>
                  <a:lnTo>
                    <a:pt x="14556" y="2039"/>
                  </a:lnTo>
                  <a:lnTo>
                    <a:pt x="14547" y="2039"/>
                  </a:lnTo>
                  <a:lnTo>
                    <a:pt x="14538" y="2039"/>
                  </a:lnTo>
                  <a:lnTo>
                    <a:pt x="14538" y="2030"/>
                  </a:lnTo>
                  <a:lnTo>
                    <a:pt x="14521" y="2030"/>
                  </a:lnTo>
                  <a:lnTo>
                    <a:pt x="14512" y="2030"/>
                  </a:lnTo>
                  <a:lnTo>
                    <a:pt x="14503" y="2021"/>
                  </a:lnTo>
                  <a:lnTo>
                    <a:pt x="14494" y="2012"/>
                  </a:lnTo>
                  <a:lnTo>
                    <a:pt x="14477" y="2012"/>
                  </a:lnTo>
                  <a:lnTo>
                    <a:pt x="14468" y="2012"/>
                  </a:lnTo>
                  <a:lnTo>
                    <a:pt x="14459" y="2030"/>
                  </a:lnTo>
                  <a:lnTo>
                    <a:pt x="14450" y="2048"/>
                  </a:lnTo>
                  <a:lnTo>
                    <a:pt x="14450" y="2056"/>
                  </a:lnTo>
                  <a:lnTo>
                    <a:pt x="14441" y="2065"/>
                  </a:lnTo>
                  <a:lnTo>
                    <a:pt x="14432" y="2074"/>
                  </a:lnTo>
                  <a:lnTo>
                    <a:pt x="14432" y="2092"/>
                  </a:lnTo>
                  <a:lnTo>
                    <a:pt x="14424" y="2092"/>
                  </a:lnTo>
                  <a:lnTo>
                    <a:pt x="14424" y="2083"/>
                  </a:lnTo>
                  <a:lnTo>
                    <a:pt x="14432" y="2065"/>
                  </a:lnTo>
                  <a:lnTo>
                    <a:pt x="14432" y="2048"/>
                  </a:lnTo>
                  <a:lnTo>
                    <a:pt x="14432" y="2039"/>
                  </a:lnTo>
                  <a:lnTo>
                    <a:pt x="14432" y="2030"/>
                  </a:lnTo>
                  <a:lnTo>
                    <a:pt x="14415" y="2039"/>
                  </a:lnTo>
                  <a:lnTo>
                    <a:pt x="14406" y="2039"/>
                  </a:lnTo>
                  <a:lnTo>
                    <a:pt x="14415" y="2030"/>
                  </a:lnTo>
                  <a:lnTo>
                    <a:pt x="14432" y="2021"/>
                  </a:lnTo>
                  <a:lnTo>
                    <a:pt x="14441" y="2021"/>
                  </a:lnTo>
                  <a:lnTo>
                    <a:pt x="14441" y="2012"/>
                  </a:lnTo>
                  <a:lnTo>
                    <a:pt x="14441" y="1995"/>
                  </a:lnTo>
                  <a:lnTo>
                    <a:pt x="14424" y="1986"/>
                  </a:lnTo>
                  <a:lnTo>
                    <a:pt x="14397" y="1986"/>
                  </a:lnTo>
                  <a:lnTo>
                    <a:pt x="14388" y="1986"/>
                  </a:lnTo>
                  <a:lnTo>
                    <a:pt x="14362" y="1995"/>
                  </a:lnTo>
                  <a:lnTo>
                    <a:pt x="14362" y="2003"/>
                  </a:lnTo>
                  <a:lnTo>
                    <a:pt x="14379" y="2021"/>
                  </a:lnTo>
                  <a:lnTo>
                    <a:pt x="14362" y="2021"/>
                  </a:lnTo>
                  <a:lnTo>
                    <a:pt x="14353" y="2030"/>
                  </a:lnTo>
                  <a:lnTo>
                    <a:pt x="14353" y="2039"/>
                  </a:lnTo>
                  <a:lnTo>
                    <a:pt x="14344" y="2048"/>
                  </a:lnTo>
                  <a:lnTo>
                    <a:pt x="14344" y="2056"/>
                  </a:lnTo>
                  <a:lnTo>
                    <a:pt x="14318" y="2074"/>
                  </a:lnTo>
                  <a:lnTo>
                    <a:pt x="14309" y="2074"/>
                  </a:lnTo>
                  <a:lnTo>
                    <a:pt x="14309" y="2065"/>
                  </a:lnTo>
                  <a:lnTo>
                    <a:pt x="14309" y="2056"/>
                  </a:lnTo>
                  <a:lnTo>
                    <a:pt x="14318" y="2056"/>
                  </a:lnTo>
                  <a:lnTo>
                    <a:pt x="14318" y="2039"/>
                  </a:lnTo>
                  <a:lnTo>
                    <a:pt x="14309" y="2039"/>
                  </a:lnTo>
                  <a:lnTo>
                    <a:pt x="14318" y="2030"/>
                  </a:lnTo>
                  <a:lnTo>
                    <a:pt x="14318" y="2012"/>
                  </a:lnTo>
                  <a:lnTo>
                    <a:pt x="14318" y="2003"/>
                  </a:lnTo>
                  <a:lnTo>
                    <a:pt x="14309" y="2003"/>
                  </a:lnTo>
                  <a:lnTo>
                    <a:pt x="14282" y="2021"/>
                  </a:lnTo>
                  <a:lnTo>
                    <a:pt x="14265" y="2048"/>
                  </a:lnTo>
                  <a:lnTo>
                    <a:pt x="14229" y="2083"/>
                  </a:lnTo>
                  <a:lnTo>
                    <a:pt x="14229" y="2092"/>
                  </a:lnTo>
                  <a:lnTo>
                    <a:pt x="14212" y="2109"/>
                  </a:lnTo>
                  <a:lnTo>
                    <a:pt x="14194" y="2109"/>
                  </a:lnTo>
                  <a:lnTo>
                    <a:pt x="14194" y="2101"/>
                  </a:lnTo>
                  <a:lnTo>
                    <a:pt x="14203" y="2083"/>
                  </a:lnTo>
                  <a:lnTo>
                    <a:pt x="14212" y="2065"/>
                  </a:lnTo>
                  <a:lnTo>
                    <a:pt x="14212" y="2056"/>
                  </a:lnTo>
                  <a:lnTo>
                    <a:pt x="14229" y="2039"/>
                  </a:lnTo>
                  <a:lnTo>
                    <a:pt x="14247" y="2021"/>
                  </a:lnTo>
                  <a:lnTo>
                    <a:pt x="14256" y="2021"/>
                  </a:lnTo>
                  <a:lnTo>
                    <a:pt x="14247" y="2012"/>
                  </a:lnTo>
                  <a:lnTo>
                    <a:pt x="14238" y="2012"/>
                  </a:lnTo>
                  <a:lnTo>
                    <a:pt x="14238" y="2003"/>
                  </a:lnTo>
                  <a:lnTo>
                    <a:pt x="14229" y="2003"/>
                  </a:lnTo>
                  <a:lnTo>
                    <a:pt x="14221" y="2012"/>
                  </a:lnTo>
                  <a:lnTo>
                    <a:pt x="14212" y="2012"/>
                  </a:lnTo>
                  <a:lnTo>
                    <a:pt x="14203" y="2012"/>
                  </a:lnTo>
                  <a:lnTo>
                    <a:pt x="14194" y="2003"/>
                  </a:lnTo>
                  <a:lnTo>
                    <a:pt x="14185" y="1995"/>
                  </a:lnTo>
                  <a:lnTo>
                    <a:pt x="14177" y="1995"/>
                  </a:lnTo>
                  <a:lnTo>
                    <a:pt x="14168" y="1995"/>
                  </a:lnTo>
                  <a:lnTo>
                    <a:pt x="14150" y="2012"/>
                  </a:lnTo>
                  <a:lnTo>
                    <a:pt x="14141" y="2021"/>
                  </a:lnTo>
                  <a:lnTo>
                    <a:pt x="14150" y="2030"/>
                  </a:lnTo>
                  <a:lnTo>
                    <a:pt x="14150" y="2039"/>
                  </a:lnTo>
                  <a:lnTo>
                    <a:pt x="14141" y="2039"/>
                  </a:lnTo>
                  <a:lnTo>
                    <a:pt x="14124" y="2065"/>
                  </a:lnTo>
                  <a:lnTo>
                    <a:pt x="14115" y="2065"/>
                  </a:lnTo>
                  <a:lnTo>
                    <a:pt x="14097" y="2074"/>
                  </a:lnTo>
                  <a:lnTo>
                    <a:pt x="14080" y="2092"/>
                  </a:lnTo>
                  <a:lnTo>
                    <a:pt x="14071" y="2101"/>
                  </a:lnTo>
                  <a:lnTo>
                    <a:pt x="14071" y="2109"/>
                  </a:lnTo>
                  <a:lnTo>
                    <a:pt x="14071" y="2118"/>
                  </a:lnTo>
                  <a:lnTo>
                    <a:pt x="14080" y="2127"/>
                  </a:lnTo>
                  <a:lnTo>
                    <a:pt x="14071" y="2127"/>
                  </a:lnTo>
                  <a:lnTo>
                    <a:pt x="14062" y="2127"/>
                  </a:lnTo>
                  <a:lnTo>
                    <a:pt x="14053" y="2109"/>
                  </a:lnTo>
                  <a:lnTo>
                    <a:pt x="14044" y="2092"/>
                  </a:lnTo>
                  <a:lnTo>
                    <a:pt x="14044" y="2083"/>
                  </a:lnTo>
                  <a:lnTo>
                    <a:pt x="14035" y="2083"/>
                  </a:lnTo>
                  <a:lnTo>
                    <a:pt x="14027" y="2074"/>
                  </a:lnTo>
                  <a:lnTo>
                    <a:pt x="14009" y="2083"/>
                  </a:lnTo>
                  <a:lnTo>
                    <a:pt x="14000" y="2092"/>
                  </a:lnTo>
                  <a:lnTo>
                    <a:pt x="13991" y="2083"/>
                  </a:lnTo>
                  <a:lnTo>
                    <a:pt x="13974" y="2092"/>
                  </a:lnTo>
                  <a:lnTo>
                    <a:pt x="13956" y="2101"/>
                  </a:lnTo>
                  <a:lnTo>
                    <a:pt x="13938" y="2092"/>
                  </a:lnTo>
                  <a:lnTo>
                    <a:pt x="13930" y="2101"/>
                  </a:lnTo>
                  <a:lnTo>
                    <a:pt x="13947" y="2118"/>
                  </a:lnTo>
                  <a:lnTo>
                    <a:pt x="13956" y="2118"/>
                  </a:lnTo>
                  <a:lnTo>
                    <a:pt x="13965" y="2127"/>
                  </a:lnTo>
                  <a:lnTo>
                    <a:pt x="13974" y="2145"/>
                  </a:lnTo>
                  <a:lnTo>
                    <a:pt x="13965" y="2153"/>
                  </a:lnTo>
                  <a:lnTo>
                    <a:pt x="13956" y="2145"/>
                  </a:lnTo>
                  <a:lnTo>
                    <a:pt x="13947" y="2136"/>
                  </a:lnTo>
                  <a:lnTo>
                    <a:pt x="13930" y="2127"/>
                  </a:lnTo>
                  <a:lnTo>
                    <a:pt x="13921" y="2127"/>
                  </a:lnTo>
                  <a:lnTo>
                    <a:pt x="13912" y="2145"/>
                  </a:lnTo>
                  <a:lnTo>
                    <a:pt x="13903" y="2145"/>
                  </a:lnTo>
                  <a:lnTo>
                    <a:pt x="13894" y="2136"/>
                  </a:lnTo>
                  <a:lnTo>
                    <a:pt x="13885" y="2136"/>
                  </a:lnTo>
                  <a:lnTo>
                    <a:pt x="13877" y="2136"/>
                  </a:lnTo>
                  <a:lnTo>
                    <a:pt x="13868" y="2145"/>
                  </a:lnTo>
                  <a:lnTo>
                    <a:pt x="13868" y="2171"/>
                  </a:lnTo>
                  <a:lnTo>
                    <a:pt x="13877" y="2180"/>
                  </a:lnTo>
                  <a:lnTo>
                    <a:pt x="13885" y="2189"/>
                  </a:lnTo>
                  <a:lnTo>
                    <a:pt x="13859" y="2189"/>
                  </a:lnTo>
                  <a:lnTo>
                    <a:pt x="13841" y="2206"/>
                  </a:lnTo>
                  <a:lnTo>
                    <a:pt x="13832" y="2215"/>
                  </a:lnTo>
                  <a:lnTo>
                    <a:pt x="13850" y="2189"/>
                  </a:lnTo>
                  <a:lnTo>
                    <a:pt x="13850" y="2180"/>
                  </a:lnTo>
                  <a:lnTo>
                    <a:pt x="13850" y="2171"/>
                  </a:lnTo>
                  <a:lnTo>
                    <a:pt x="13859" y="2145"/>
                  </a:lnTo>
                  <a:lnTo>
                    <a:pt x="13850" y="2136"/>
                  </a:lnTo>
                  <a:lnTo>
                    <a:pt x="13841" y="2136"/>
                  </a:lnTo>
                  <a:lnTo>
                    <a:pt x="13841" y="2145"/>
                  </a:lnTo>
                  <a:lnTo>
                    <a:pt x="13832" y="2145"/>
                  </a:lnTo>
                  <a:lnTo>
                    <a:pt x="13824" y="2153"/>
                  </a:lnTo>
                  <a:lnTo>
                    <a:pt x="13815" y="2162"/>
                  </a:lnTo>
                  <a:lnTo>
                    <a:pt x="13806" y="2189"/>
                  </a:lnTo>
                  <a:lnTo>
                    <a:pt x="13797" y="2206"/>
                  </a:lnTo>
                  <a:lnTo>
                    <a:pt x="13797" y="2189"/>
                  </a:lnTo>
                  <a:lnTo>
                    <a:pt x="13806" y="2180"/>
                  </a:lnTo>
                  <a:lnTo>
                    <a:pt x="13806" y="2153"/>
                  </a:lnTo>
                  <a:lnTo>
                    <a:pt x="13771" y="2162"/>
                  </a:lnTo>
                  <a:lnTo>
                    <a:pt x="13753" y="2171"/>
                  </a:lnTo>
                  <a:lnTo>
                    <a:pt x="13753" y="2180"/>
                  </a:lnTo>
                  <a:lnTo>
                    <a:pt x="13753" y="2189"/>
                  </a:lnTo>
                  <a:lnTo>
                    <a:pt x="13744" y="2189"/>
                  </a:lnTo>
                  <a:lnTo>
                    <a:pt x="13735" y="2189"/>
                  </a:lnTo>
                  <a:lnTo>
                    <a:pt x="13727" y="2189"/>
                  </a:lnTo>
                  <a:lnTo>
                    <a:pt x="13727" y="2198"/>
                  </a:lnTo>
                  <a:lnTo>
                    <a:pt x="13735" y="2206"/>
                  </a:lnTo>
                  <a:lnTo>
                    <a:pt x="13744" y="2215"/>
                  </a:lnTo>
                  <a:lnTo>
                    <a:pt x="13727" y="2215"/>
                  </a:lnTo>
                  <a:lnTo>
                    <a:pt x="13718" y="2206"/>
                  </a:lnTo>
                  <a:lnTo>
                    <a:pt x="13709" y="2198"/>
                  </a:lnTo>
                  <a:lnTo>
                    <a:pt x="13700" y="2198"/>
                  </a:lnTo>
                  <a:lnTo>
                    <a:pt x="13691" y="2198"/>
                  </a:lnTo>
                  <a:lnTo>
                    <a:pt x="13682" y="2215"/>
                  </a:lnTo>
                  <a:lnTo>
                    <a:pt x="13682" y="2224"/>
                  </a:lnTo>
                  <a:lnTo>
                    <a:pt x="13691" y="2233"/>
                  </a:lnTo>
                  <a:lnTo>
                    <a:pt x="13691" y="2242"/>
                  </a:lnTo>
                  <a:lnTo>
                    <a:pt x="13656" y="2242"/>
                  </a:lnTo>
                  <a:lnTo>
                    <a:pt x="13647" y="2259"/>
                  </a:lnTo>
                  <a:lnTo>
                    <a:pt x="13638" y="2277"/>
                  </a:lnTo>
                  <a:lnTo>
                    <a:pt x="13638" y="2286"/>
                  </a:lnTo>
                  <a:lnTo>
                    <a:pt x="13612" y="2295"/>
                  </a:lnTo>
                  <a:lnTo>
                    <a:pt x="13594" y="2295"/>
                  </a:lnTo>
                  <a:lnTo>
                    <a:pt x="13577" y="2303"/>
                  </a:lnTo>
                  <a:lnTo>
                    <a:pt x="13577" y="2312"/>
                  </a:lnTo>
                  <a:lnTo>
                    <a:pt x="13568" y="2321"/>
                  </a:lnTo>
                  <a:lnTo>
                    <a:pt x="13577" y="2330"/>
                  </a:lnTo>
                  <a:lnTo>
                    <a:pt x="13621" y="2330"/>
                  </a:lnTo>
                  <a:lnTo>
                    <a:pt x="13638" y="2321"/>
                  </a:lnTo>
                  <a:lnTo>
                    <a:pt x="13647" y="2330"/>
                  </a:lnTo>
                  <a:lnTo>
                    <a:pt x="13638" y="2330"/>
                  </a:lnTo>
                  <a:lnTo>
                    <a:pt x="13630" y="2330"/>
                  </a:lnTo>
                  <a:lnTo>
                    <a:pt x="13612" y="2339"/>
                  </a:lnTo>
                  <a:lnTo>
                    <a:pt x="13603" y="2339"/>
                  </a:lnTo>
                  <a:lnTo>
                    <a:pt x="13594" y="2339"/>
                  </a:lnTo>
                  <a:lnTo>
                    <a:pt x="13577" y="2330"/>
                  </a:lnTo>
                  <a:lnTo>
                    <a:pt x="13559" y="2339"/>
                  </a:lnTo>
                  <a:lnTo>
                    <a:pt x="13550" y="2348"/>
                  </a:lnTo>
                  <a:lnTo>
                    <a:pt x="13550" y="2365"/>
                  </a:lnTo>
                  <a:lnTo>
                    <a:pt x="13559" y="2374"/>
                  </a:lnTo>
                  <a:lnTo>
                    <a:pt x="13559" y="2383"/>
                  </a:lnTo>
                  <a:lnTo>
                    <a:pt x="13550" y="2383"/>
                  </a:lnTo>
                  <a:lnTo>
                    <a:pt x="13559" y="2401"/>
                  </a:lnTo>
                  <a:lnTo>
                    <a:pt x="13550" y="2401"/>
                  </a:lnTo>
                  <a:lnTo>
                    <a:pt x="13541" y="2383"/>
                  </a:lnTo>
                  <a:lnTo>
                    <a:pt x="13541" y="2356"/>
                  </a:lnTo>
                  <a:lnTo>
                    <a:pt x="13533" y="2356"/>
                  </a:lnTo>
                  <a:lnTo>
                    <a:pt x="13524" y="2365"/>
                  </a:lnTo>
                  <a:lnTo>
                    <a:pt x="13506" y="2365"/>
                  </a:lnTo>
                  <a:lnTo>
                    <a:pt x="13497" y="2374"/>
                  </a:lnTo>
                  <a:lnTo>
                    <a:pt x="13480" y="2374"/>
                  </a:lnTo>
                  <a:lnTo>
                    <a:pt x="13480" y="2383"/>
                  </a:lnTo>
                  <a:lnTo>
                    <a:pt x="13488" y="2383"/>
                  </a:lnTo>
                  <a:lnTo>
                    <a:pt x="13506" y="2383"/>
                  </a:lnTo>
                  <a:lnTo>
                    <a:pt x="13506" y="2392"/>
                  </a:lnTo>
                  <a:lnTo>
                    <a:pt x="13497" y="2392"/>
                  </a:lnTo>
                  <a:lnTo>
                    <a:pt x="13488" y="2392"/>
                  </a:lnTo>
                  <a:lnTo>
                    <a:pt x="13480" y="2392"/>
                  </a:lnTo>
                  <a:lnTo>
                    <a:pt x="13471" y="2392"/>
                  </a:lnTo>
                  <a:lnTo>
                    <a:pt x="13462" y="2392"/>
                  </a:lnTo>
                  <a:lnTo>
                    <a:pt x="13444" y="2409"/>
                  </a:lnTo>
                  <a:lnTo>
                    <a:pt x="13444" y="2418"/>
                  </a:lnTo>
                  <a:lnTo>
                    <a:pt x="13444" y="2427"/>
                  </a:lnTo>
                  <a:lnTo>
                    <a:pt x="13453" y="2427"/>
                  </a:lnTo>
                  <a:lnTo>
                    <a:pt x="13462" y="2427"/>
                  </a:lnTo>
                  <a:lnTo>
                    <a:pt x="13480" y="2418"/>
                  </a:lnTo>
                  <a:lnTo>
                    <a:pt x="13488" y="2418"/>
                  </a:lnTo>
                  <a:lnTo>
                    <a:pt x="13480" y="2418"/>
                  </a:lnTo>
                  <a:lnTo>
                    <a:pt x="13480" y="2427"/>
                  </a:lnTo>
                  <a:lnTo>
                    <a:pt x="13480" y="2436"/>
                  </a:lnTo>
                  <a:lnTo>
                    <a:pt x="13488" y="2445"/>
                  </a:lnTo>
                  <a:lnTo>
                    <a:pt x="13497" y="2445"/>
                  </a:lnTo>
                  <a:lnTo>
                    <a:pt x="13506" y="2445"/>
                  </a:lnTo>
                  <a:lnTo>
                    <a:pt x="13506" y="2454"/>
                  </a:lnTo>
                  <a:lnTo>
                    <a:pt x="13506" y="2471"/>
                  </a:lnTo>
                  <a:lnTo>
                    <a:pt x="13497" y="2471"/>
                  </a:lnTo>
                  <a:lnTo>
                    <a:pt x="13497" y="2454"/>
                  </a:lnTo>
                  <a:lnTo>
                    <a:pt x="13488" y="2454"/>
                  </a:lnTo>
                  <a:lnTo>
                    <a:pt x="13480" y="2454"/>
                  </a:lnTo>
                  <a:lnTo>
                    <a:pt x="13471" y="2445"/>
                  </a:lnTo>
                  <a:lnTo>
                    <a:pt x="13453" y="2436"/>
                  </a:lnTo>
                  <a:lnTo>
                    <a:pt x="13444" y="2445"/>
                  </a:lnTo>
                  <a:lnTo>
                    <a:pt x="13427" y="2462"/>
                  </a:lnTo>
                  <a:lnTo>
                    <a:pt x="13427" y="2471"/>
                  </a:lnTo>
                  <a:lnTo>
                    <a:pt x="13418" y="2471"/>
                  </a:lnTo>
                  <a:lnTo>
                    <a:pt x="13418" y="2480"/>
                  </a:lnTo>
                  <a:lnTo>
                    <a:pt x="13427" y="2480"/>
                  </a:lnTo>
                  <a:lnTo>
                    <a:pt x="13444" y="2480"/>
                  </a:lnTo>
                  <a:lnTo>
                    <a:pt x="13480" y="2480"/>
                  </a:lnTo>
                  <a:lnTo>
                    <a:pt x="13488" y="2480"/>
                  </a:lnTo>
                  <a:lnTo>
                    <a:pt x="13488" y="2489"/>
                  </a:lnTo>
                  <a:lnTo>
                    <a:pt x="13444" y="2489"/>
                  </a:lnTo>
                  <a:lnTo>
                    <a:pt x="13427" y="2489"/>
                  </a:lnTo>
                  <a:lnTo>
                    <a:pt x="13418" y="2489"/>
                  </a:lnTo>
                  <a:lnTo>
                    <a:pt x="13409" y="2489"/>
                  </a:lnTo>
                  <a:lnTo>
                    <a:pt x="13400" y="2498"/>
                  </a:lnTo>
                  <a:lnTo>
                    <a:pt x="13391" y="2498"/>
                  </a:lnTo>
                  <a:lnTo>
                    <a:pt x="13374" y="2515"/>
                  </a:lnTo>
                  <a:lnTo>
                    <a:pt x="13365" y="2515"/>
                  </a:lnTo>
                  <a:lnTo>
                    <a:pt x="13356" y="2524"/>
                  </a:lnTo>
                  <a:lnTo>
                    <a:pt x="13365" y="2533"/>
                  </a:lnTo>
                  <a:lnTo>
                    <a:pt x="13383" y="2533"/>
                  </a:lnTo>
                  <a:lnTo>
                    <a:pt x="13374" y="2542"/>
                  </a:lnTo>
                  <a:lnTo>
                    <a:pt x="13356" y="2533"/>
                  </a:lnTo>
                  <a:lnTo>
                    <a:pt x="13347" y="2542"/>
                  </a:lnTo>
                  <a:lnTo>
                    <a:pt x="13338" y="2551"/>
                  </a:lnTo>
                  <a:lnTo>
                    <a:pt x="13330" y="2559"/>
                  </a:lnTo>
                  <a:lnTo>
                    <a:pt x="13330" y="2568"/>
                  </a:lnTo>
                  <a:lnTo>
                    <a:pt x="13321" y="2568"/>
                  </a:lnTo>
                  <a:lnTo>
                    <a:pt x="13321" y="2577"/>
                  </a:lnTo>
                  <a:lnTo>
                    <a:pt x="13321" y="2604"/>
                  </a:lnTo>
                  <a:lnTo>
                    <a:pt x="13338" y="2604"/>
                  </a:lnTo>
                  <a:lnTo>
                    <a:pt x="13347" y="2604"/>
                  </a:lnTo>
                  <a:lnTo>
                    <a:pt x="13365" y="2604"/>
                  </a:lnTo>
                  <a:lnTo>
                    <a:pt x="13383" y="2595"/>
                  </a:lnTo>
                  <a:lnTo>
                    <a:pt x="13391" y="2595"/>
                  </a:lnTo>
                  <a:lnTo>
                    <a:pt x="13383" y="2604"/>
                  </a:lnTo>
                  <a:lnTo>
                    <a:pt x="13365" y="2604"/>
                  </a:lnTo>
                  <a:lnTo>
                    <a:pt x="13365" y="2612"/>
                  </a:lnTo>
                  <a:lnTo>
                    <a:pt x="13338" y="2612"/>
                  </a:lnTo>
                  <a:lnTo>
                    <a:pt x="13294" y="2621"/>
                  </a:lnTo>
                  <a:lnTo>
                    <a:pt x="13312" y="2630"/>
                  </a:lnTo>
                  <a:lnTo>
                    <a:pt x="13312" y="2639"/>
                  </a:lnTo>
                  <a:lnTo>
                    <a:pt x="13303" y="2639"/>
                  </a:lnTo>
                  <a:lnTo>
                    <a:pt x="13285" y="2648"/>
                  </a:lnTo>
                  <a:lnTo>
                    <a:pt x="13285" y="2657"/>
                  </a:lnTo>
                  <a:lnTo>
                    <a:pt x="13268" y="2683"/>
                  </a:lnTo>
                  <a:lnTo>
                    <a:pt x="13259" y="2683"/>
                  </a:lnTo>
                  <a:lnTo>
                    <a:pt x="13250" y="2692"/>
                  </a:lnTo>
                  <a:lnTo>
                    <a:pt x="13250" y="2709"/>
                  </a:lnTo>
                  <a:lnTo>
                    <a:pt x="13250" y="2718"/>
                  </a:lnTo>
                  <a:lnTo>
                    <a:pt x="13250" y="2727"/>
                  </a:lnTo>
                  <a:lnTo>
                    <a:pt x="13259" y="2727"/>
                  </a:lnTo>
                  <a:lnTo>
                    <a:pt x="13268" y="2727"/>
                  </a:lnTo>
                  <a:lnTo>
                    <a:pt x="13268" y="2736"/>
                  </a:lnTo>
                  <a:lnTo>
                    <a:pt x="13277" y="2727"/>
                  </a:lnTo>
                  <a:lnTo>
                    <a:pt x="13294" y="2727"/>
                  </a:lnTo>
                  <a:lnTo>
                    <a:pt x="13303" y="2718"/>
                  </a:lnTo>
                  <a:lnTo>
                    <a:pt x="13294" y="2727"/>
                  </a:lnTo>
                  <a:lnTo>
                    <a:pt x="13277" y="2745"/>
                  </a:lnTo>
                  <a:lnTo>
                    <a:pt x="13259" y="2745"/>
                  </a:lnTo>
                  <a:lnTo>
                    <a:pt x="13259" y="2736"/>
                  </a:lnTo>
                  <a:lnTo>
                    <a:pt x="13250" y="2736"/>
                  </a:lnTo>
                  <a:lnTo>
                    <a:pt x="13198" y="2754"/>
                  </a:lnTo>
                  <a:lnTo>
                    <a:pt x="13189" y="2762"/>
                  </a:lnTo>
                  <a:lnTo>
                    <a:pt x="13189" y="2771"/>
                  </a:lnTo>
                  <a:lnTo>
                    <a:pt x="13189" y="2780"/>
                  </a:lnTo>
                  <a:lnTo>
                    <a:pt x="13198" y="2780"/>
                  </a:lnTo>
                  <a:lnTo>
                    <a:pt x="13207" y="2780"/>
                  </a:lnTo>
                  <a:lnTo>
                    <a:pt x="13215" y="2780"/>
                  </a:lnTo>
                  <a:lnTo>
                    <a:pt x="13207" y="2789"/>
                  </a:lnTo>
                  <a:lnTo>
                    <a:pt x="13189" y="2789"/>
                  </a:lnTo>
                  <a:lnTo>
                    <a:pt x="13181" y="2789"/>
                  </a:lnTo>
                  <a:lnTo>
                    <a:pt x="13172" y="2798"/>
                  </a:lnTo>
                  <a:lnTo>
                    <a:pt x="13163" y="2807"/>
                  </a:lnTo>
                  <a:lnTo>
                    <a:pt x="13154" y="2815"/>
                  </a:lnTo>
                  <a:lnTo>
                    <a:pt x="13137" y="2824"/>
                  </a:lnTo>
                  <a:lnTo>
                    <a:pt x="13110" y="2851"/>
                  </a:lnTo>
                  <a:lnTo>
                    <a:pt x="13092" y="2860"/>
                  </a:lnTo>
                  <a:lnTo>
                    <a:pt x="13092" y="2877"/>
                  </a:lnTo>
                  <a:lnTo>
                    <a:pt x="13084" y="2886"/>
                  </a:lnTo>
                  <a:lnTo>
                    <a:pt x="13075" y="2886"/>
                  </a:lnTo>
                  <a:lnTo>
                    <a:pt x="13066" y="2895"/>
                  </a:lnTo>
                  <a:lnTo>
                    <a:pt x="13057" y="2904"/>
                  </a:lnTo>
                  <a:lnTo>
                    <a:pt x="13066" y="2912"/>
                  </a:lnTo>
                  <a:lnTo>
                    <a:pt x="13075" y="2912"/>
                  </a:lnTo>
                  <a:lnTo>
                    <a:pt x="13084" y="2921"/>
                  </a:lnTo>
                  <a:lnTo>
                    <a:pt x="13084" y="2930"/>
                  </a:lnTo>
                  <a:lnTo>
                    <a:pt x="13101" y="2930"/>
                  </a:lnTo>
                  <a:lnTo>
                    <a:pt x="13119" y="2921"/>
                  </a:lnTo>
                  <a:lnTo>
                    <a:pt x="13163" y="2904"/>
                  </a:lnTo>
                  <a:lnTo>
                    <a:pt x="13172" y="2895"/>
                  </a:lnTo>
                  <a:lnTo>
                    <a:pt x="13163" y="2886"/>
                  </a:lnTo>
                  <a:lnTo>
                    <a:pt x="13172" y="2877"/>
                  </a:lnTo>
                  <a:lnTo>
                    <a:pt x="13181" y="2868"/>
                  </a:lnTo>
                  <a:lnTo>
                    <a:pt x="13189" y="2868"/>
                  </a:lnTo>
                  <a:lnTo>
                    <a:pt x="13198" y="2868"/>
                  </a:lnTo>
                  <a:lnTo>
                    <a:pt x="13198" y="2877"/>
                  </a:lnTo>
                  <a:lnTo>
                    <a:pt x="13189" y="2877"/>
                  </a:lnTo>
                  <a:lnTo>
                    <a:pt x="13181" y="2886"/>
                  </a:lnTo>
                  <a:lnTo>
                    <a:pt x="13189" y="2886"/>
                  </a:lnTo>
                  <a:lnTo>
                    <a:pt x="13189" y="2895"/>
                  </a:lnTo>
                  <a:lnTo>
                    <a:pt x="13181" y="2904"/>
                  </a:lnTo>
                  <a:lnTo>
                    <a:pt x="13172" y="2904"/>
                  </a:lnTo>
                  <a:lnTo>
                    <a:pt x="13163" y="2912"/>
                  </a:lnTo>
                  <a:lnTo>
                    <a:pt x="13154" y="2912"/>
                  </a:lnTo>
                  <a:lnTo>
                    <a:pt x="13145" y="2921"/>
                  </a:lnTo>
                  <a:lnTo>
                    <a:pt x="13145" y="2930"/>
                  </a:lnTo>
                  <a:lnTo>
                    <a:pt x="13145" y="2939"/>
                  </a:lnTo>
                  <a:lnTo>
                    <a:pt x="13137" y="2939"/>
                  </a:lnTo>
                  <a:lnTo>
                    <a:pt x="13119" y="2939"/>
                  </a:lnTo>
                  <a:lnTo>
                    <a:pt x="13110" y="2939"/>
                  </a:lnTo>
                  <a:lnTo>
                    <a:pt x="13101" y="2939"/>
                  </a:lnTo>
                  <a:lnTo>
                    <a:pt x="13092" y="2948"/>
                  </a:lnTo>
                  <a:lnTo>
                    <a:pt x="13092" y="2930"/>
                  </a:lnTo>
                  <a:lnTo>
                    <a:pt x="13084" y="2930"/>
                  </a:lnTo>
                  <a:lnTo>
                    <a:pt x="13075" y="2921"/>
                  </a:lnTo>
                  <a:lnTo>
                    <a:pt x="13066" y="2921"/>
                  </a:lnTo>
                  <a:lnTo>
                    <a:pt x="13057" y="2921"/>
                  </a:lnTo>
                  <a:lnTo>
                    <a:pt x="13039" y="2921"/>
                  </a:lnTo>
                  <a:lnTo>
                    <a:pt x="13031" y="2939"/>
                  </a:lnTo>
                  <a:lnTo>
                    <a:pt x="13022" y="2939"/>
                  </a:lnTo>
                  <a:lnTo>
                    <a:pt x="13022" y="2930"/>
                  </a:lnTo>
                  <a:lnTo>
                    <a:pt x="13031" y="2921"/>
                  </a:lnTo>
                  <a:lnTo>
                    <a:pt x="13004" y="2912"/>
                  </a:lnTo>
                  <a:lnTo>
                    <a:pt x="12995" y="2921"/>
                  </a:lnTo>
                  <a:lnTo>
                    <a:pt x="12987" y="2921"/>
                  </a:lnTo>
                  <a:lnTo>
                    <a:pt x="12978" y="2930"/>
                  </a:lnTo>
                  <a:lnTo>
                    <a:pt x="12969" y="2930"/>
                  </a:lnTo>
                  <a:lnTo>
                    <a:pt x="12978" y="2939"/>
                  </a:lnTo>
                  <a:lnTo>
                    <a:pt x="12987" y="2939"/>
                  </a:lnTo>
                  <a:lnTo>
                    <a:pt x="12995" y="2948"/>
                  </a:lnTo>
                  <a:lnTo>
                    <a:pt x="12987" y="2957"/>
                  </a:lnTo>
                  <a:lnTo>
                    <a:pt x="12969" y="2957"/>
                  </a:lnTo>
                  <a:lnTo>
                    <a:pt x="12960" y="2965"/>
                  </a:lnTo>
                  <a:lnTo>
                    <a:pt x="12960" y="2974"/>
                  </a:lnTo>
                  <a:lnTo>
                    <a:pt x="12960" y="2983"/>
                  </a:lnTo>
                  <a:lnTo>
                    <a:pt x="12969" y="2983"/>
                  </a:lnTo>
                  <a:lnTo>
                    <a:pt x="12987" y="3001"/>
                  </a:lnTo>
                  <a:lnTo>
                    <a:pt x="12995" y="3010"/>
                  </a:lnTo>
                  <a:lnTo>
                    <a:pt x="12969" y="2992"/>
                  </a:lnTo>
                  <a:lnTo>
                    <a:pt x="12960" y="2992"/>
                  </a:lnTo>
                  <a:lnTo>
                    <a:pt x="12951" y="2983"/>
                  </a:lnTo>
                  <a:lnTo>
                    <a:pt x="12934" y="2974"/>
                  </a:lnTo>
                  <a:lnTo>
                    <a:pt x="12925" y="2974"/>
                  </a:lnTo>
                  <a:lnTo>
                    <a:pt x="12916" y="2974"/>
                  </a:lnTo>
                  <a:lnTo>
                    <a:pt x="12898" y="2983"/>
                  </a:lnTo>
                  <a:lnTo>
                    <a:pt x="12872" y="2992"/>
                  </a:lnTo>
                  <a:lnTo>
                    <a:pt x="12872" y="3001"/>
                  </a:lnTo>
                  <a:lnTo>
                    <a:pt x="12863" y="3001"/>
                  </a:lnTo>
                  <a:lnTo>
                    <a:pt x="12854" y="3018"/>
                  </a:lnTo>
                  <a:lnTo>
                    <a:pt x="12854" y="3027"/>
                  </a:lnTo>
                  <a:lnTo>
                    <a:pt x="12872" y="3018"/>
                  </a:lnTo>
                  <a:lnTo>
                    <a:pt x="12881" y="3018"/>
                  </a:lnTo>
                  <a:lnTo>
                    <a:pt x="12889" y="3018"/>
                  </a:lnTo>
                  <a:lnTo>
                    <a:pt x="12898" y="3027"/>
                  </a:lnTo>
                  <a:lnTo>
                    <a:pt x="12951" y="3018"/>
                  </a:lnTo>
                  <a:lnTo>
                    <a:pt x="12934" y="3018"/>
                  </a:lnTo>
                  <a:lnTo>
                    <a:pt x="12916" y="3027"/>
                  </a:lnTo>
                  <a:lnTo>
                    <a:pt x="12907" y="3027"/>
                  </a:lnTo>
                  <a:lnTo>
                    <a:pt x="12907" y="3036"/>
                  </a:lnTo>
                  <a:lnTo>
                    <a:pt x="12925" y="3036"/>
                  </a:lnTo>
                  <a:lnTo>
                    <a:pt x="12916" y="3045"/>
                  </a:lnTo>
                  <a:lnTo>
                    <a:pt x="12907" y="3045"/>
                  </a:lnTo>
                  <a:lnTo>
                    <a:pt x="12889" y="3036"/>
                  </a:lnTo>
                  <a:lnTo>
                    <a:pt x="12872" y="3036"/>
                  </a:lnTo>
                  <a:lnTo>
                    <a:pt x="12854" y="3027"/>
                  </a:lnTo>
                  <a:lnTo>
                    <a:pt x="12845" y="3036"/>
                  </a:lnTo>
                  <a:lnTo>
                    <a:pt x="12828" y="3036"/>
                  </a:lnTo>
                  <a:lnTo>
                    <a:pt x="12819" y="3036"/>
                  </a:lnTo>
                  <a:lnTo>
                    <a:pt x="12819" y="3045"/>
                  </a:lnTo>
                  <a:lnTo>
                    <a:pt x="12810" y="3054"/>
                  </a:lnTo>
                  <a:lnTo>
                    <a:pt x="12819" y="3054"/>
                  </a:lnTo>
                  <a:lnTo>
                    <a:pt x="12837" y="3054"/>
                  </a:lnTo>
                  <a:lnTo>
                    <a:pt x="12845" y="3054"/>
                  </a:lnTo>
                  <a:lnTo>
                    <a:pt x="12810" y="3063"/>
                  </a:lnTo>
                  <a:lnTo>
                    <a:pt x="12801" y="3063"/>
                  </a:lnTo>
                  <a:lnTo>
                    <a:pt x="12801" y="3054"/>
                  </a:lnTo>
                  <a:lnTo>
                    <a:pt x="12792" y="3054"/>
                  </a:lnTo>
                  <a:lnTo>
                    <a:pt x="12784" y="3063"/>
                  </a:lnTo>
                  <a:lnTo>
                    <a:pt x="12775" y="3063"/>
                  </a:lnTo>
                  <a:lnTo>
                    <a:pt x="12766" y="3071"/>
                  </a:lnTo>
                  <a:lnTo>
                    <a:pt x="12757" y="3080"/>
                  </a:lnTo>
                  <a:lnTo>
                    <a:pt x="12748" y="3089"/>
                  </a:lnTo>
                  <a:lnTo>
                    <a:pt x="12740" y="3080"/>
                  </a:lnTo>
                  <a:lnTo>
                    <a:pt x="12740" y="3089"/>
                  </a:lnTo>
                  <a:lnTo>
                    <a:pt x="12731" y="3098"/>
                  </a:lnTo>
                  <a:lnTo>
                    <a:pt x="12740" y="3107"/>
                  </a:lnTo>
                  <a:lnTo>
                    <a:pt x="12748" y="3115"/>
                  </a:lnTo>
                  <a:lnTo>
                    <a:pt x="12757" y="3107"/>
                  </a:lnTo>
                  <a:lnTo>
                    <a:pt x="12775" y="3115"/>
                  </a:lnTo>
                  <a:lnTo>
                    <a:pt x="12810" y="3124"/>
                  </a:lnTo>
                  <a:lnTo>
                    <a:pt x="12828" y="3124"/>
                  </a:lnTo>
                  <a:lnTo>
                    <a:pt x="12845" y="3115"/>
                  </a:lnTo>
                  <a:lnTo>
                    <a:pt x="12854" y="3115"/>
                  </a:lnTo>
                  <a:lnTo>
                    <a:pt x="12837" y="3124"/>
                  </a:lnTo>
                  <a:lnTo>
                    <a:pt x="12801" y="3124"/>
                  </a:lnTo>
                  <a:lnTo>
                    <a:pt x="12784" y="3124"/>
                  </a:lnTo>
                  <a:lnTo>
                    <a:pt x="12757" y="3115"/>
                  </a:lnTo>
                  <a:lnTo>
                    <a:pt x="12731" y="3115"/>
                  </a:lnTo>
                  <a:lnTo>
                    <a:pt x="12722" y="3115"/>
                  </a:lnTo>
                  <a:lnTo>
                    <a:pt x="12722" y="3124"/>
                  </a:lnTo>
                  <a:lnTo>
                    <a:pt x="12722" y="3133"/>
                  </a:lnTo>
                  <a:lnTo>
                    <a:pt x="12722" y="3142"/>
                  </a:lnTo>
                  <a:lnTo>
                    <a:pt x="12731" y="3151"/>
                  </a:lnTo>
                  <a:lnTo>
                    <a:pt x="12740" y="3160"/>
                  </a:lnTo>
                  <a:lnTo>
                    <a:pt x="12748" y="3160"/>
                  </a:lnTo>
                  <a:lnTo>
                    <a:pt x="12748" y="3168"/>
                  </a:lnTo>
                  <a:lnTo>
                    <a:pt x="12740" y="3168"/>
                  </a:lnTo>
                  <a:lnTo>
                    <a:pt x="12722" y="3168"/>
                  </a:lnTo>
                  <a:lnTo>
                    <a:pt x="12722" y="3177"/>
                  </a:lnTo>
                  <a:lnTo>
                    <a:pt x="12731" y="3186"/>
                  </a:lnTo>
                  <a:lnTo>
                    <a:pt x="12731" y="3195"/>
                  </a:lnTo>
                  <a:lnTo>
                    <a:pt x="12748" y="3204"/>
                  </a:lnTo>
                  <a:lnTo>
                    <a:pt x="12757" y="3204"/>
                  </a:lnTo>
                  <a:lnTo>
                    <a:pt x="12775" y="3204"/>
                  </a:lnTo>
                  <a:lnTo>
                    <a:pt x="12801" y="3195"/>
                  </a:lnTo>
                  <a:lnTo>
                    <a:pt x="12828" y="3204"/>
                  </a:lnTo>
                  <a:lnTo>
                    <a:pt x="12837" y="3204"/>
                  </a:lnTo>
                  <a:lnTo>
                    <a:pt x="12837" y="3186"/>
                  </a:lnTo>
                  <a:lnTo>
                    <a:pt x="12845" y="3186"/>
                  </a:lnTo>
                  <a:lnTo>
                    <a:pt x="12845" y="3195"/>
                  </a:lnTo>
                  <a:lnTo>
                    <a:pt x="12854" y="3195"/>
                  </a:lnTo>
                  <a:lnTo>
                    <a:pt x="12872" y="3195"/>
                  </a:lnTo>
                  <a:lnTo>
                    <a:pt x="12889" y="3195"/>
                  </a:lnTo>
                  <a:lnTo>
                    <a:pt x="12898" y="3195"/>
                  </a:lnTo>
                  <a:lnTo>
                    <a:pt x="12889" y="3186"/>
                  </a:lnTo>
                  <a:lnTo>
                    <a:pt x="12898" y="3177"/>
                  </a:lnTo>
                  <a:lnTo>
                    <a:pt x="12907" y="3168"/>
                  </a:lnTo>
                  <a:lnTo>
                    <a:pt x="12898" y="3186"/>
                  </a:lnTo>
                  <a:lnTo>
                    <a:pt x="12898" y="3195"/>
                  </a:lnTo>
                  <a:lnTo>
                    <a:pt x="12916" y="3195"/>
                  </a:lnTo>
                  <a:lnTo>
                    <a:pt x="12872" y="3204"/>
                  </a:lnTo>
                  <a:lnTo>
                    <a:pt x="12872" y="3213"/>
                  </a:lnTo>
                  <a:lnTo>
                    <a:pt x="12881" y="3221"/>
                  </a:lnTo>
                  <a:lnTo>
                    <a:pt x="12872" y="3221"/>
                  </a:lnTo>
                  <a:lnTo>
                    <a:pt x="12872" y="3213"/>
                  </a:lnTo>
                  <a:lnTo>
                    <a:pt x="12863" y="3204"/>
                  </a:lnTo>
                  <a:lnTo>
                    <a:pt x="12854" y="3204"/>
                  </a:lnTo>
                  <a:lnTo>
                    <a:pt x="12845" y="3204"/>
                  </a:lnTo>
                  <a:lnTo>
                    <a:pt x="12828" y="3204"/>
                  </a:lnTo>
                  <a:lnTo>
                    <a:pt x="12819" y="3204"/>
                  </a:lnTo>
                  <a:lnTo>
                    <a:pt x="12801" y="3204"/>
                  </a:lnTo>
                  <a:lnTo>
                    <a:pt x="12766" y="3213"/>
                  </a:lnTo>
                  <a:lnTo>
                    <a:pt x="12748" y="3213"/>
                  </a:lnTo>
                  <a:lnTo>
                    <a:pt x="12740" y="3213"/>
                  </a:lnTo>
                  <a:lnTo>
                    <a:pt x="12731" y="3213"/>
                  </a:lnTo>
                  <a:lnTo>
                    <a:pt x="12722" y="3213"/>
                  </a:lnTo>
                  <a:lnTo>
                    <a:pt x="12731" y="3221"/>
                  </a:lnTo>
                  <a:lnTo>
                    <a:pt x="12722" y="3230"/>
                  </a:lnTo>
                  <a:lnTo>
                    <a:pt x="12731" y="3248"/>
                  </a:lnTo>
                  <a:lnTo>
                    <a:pt x="12731" y="3257"/>
                  </a:lnTo>
                  <a:lnTo>
                    <a:pt x="12740" y="3265"/>
                  </a:lnTo>
                  <a:lnTo>
                    <a:pt x="12757" y="3257"/>
                  </a:lnTo>
                  <a:lnTo>
                    <a:pt x="12766" y="3248"/>
                  </a:lnTo>
                  <a:lnTo>
                    <a:pt x="12775" y="3248"/>
                  </a:lnTo>
                  <a:lnTo>
                    <a:pt x="12766" y="3257"/>
                  </a:lnTo>
                  <a:lnTo>
                    <a:pt x="12740" y="3274"/>
                  </a:lnTo>
                  <a:lnTo>
                    <a:pt x="12740" y="3292"/>
                  </a:lnTo>
                  <a:lnTo>
                    <a:pt x="12748" y="3301"/>
                  </a:lnTo>
                  <a:lnTo>
                    <a:pt x="12757" y="3310"/>
                  </a:lnTo>
                  <a:lnTo>
                    <a:pt x="12766" y="3310"/>
                  </a:lnTo>
                  <a:lnTo>
                    <a:pt x="12775" y="3310"/>
                  </a:lnTo>
                  <a:lnTo>
                    <a:pt x="12775" y="3318"/>
                  </a:lnTo>
                  <a:lnTo>
                    <a:pt x="12766" y="3318"/>
                  </a:lnTo>
                  <a:lnTo>
                    <a:pt x="12757" y="3318"/>
                  </a:lnTo>
                  <a:lnTo>
                    <a:pt x="12748" y="3318"/>
                  </a:lnTo>
                  <a:lnTo>
                    <a:pt x="12740" y="3318"/>
                  </a:lnTo>
                  <a:lnTo>
                    <a:pt x="12740" y="3327"/>
                  </a:lnTo>
                  <a:lnTo>
                    <a:pt x="12740" y="3336"/>
                  </a:lnTo>
                  <a:lnTo>
                    <a:pt x="12731" y="3345"/>
                  </a:lnTo>
                  <a:lnTo>
                    <a:pt x="12731" y="3354"/>
                  </a:lnTo>
                  <a:lnTo>
                    <a:pt x="12731" y="3363"/>
                  </a:lnTo>
                  <a:lnTo>
                    <a:pt x="12740" y="3371"/>
                  </a:lnTo>
                  <a:lnTo>
                    <a:pt x="12740" y="3363"/>
                  </a:lnTo>
                  <a:lnTo>
                    <a:pt x="12748" y="3363"/>
                  </a:lnTo>
                  <a:lnTo>
                    <a:pt x="12748" y="3354"/>
                  </a:lnTo>
                  <a:lnTo>
                    <a:pt x="12766" y="3345"/>
                  </a:lnTo>
                  <a:lnTo>
                    <a:pt x="12766" y="3336"/>
                  </a:lnTo>
                  <a:lnTo>
                    <a:pt x="12775" y="3327"/>
                  </a:lnTo>
                  <a:lnTo>
                    <a:pt x="12784" y="3327"/>
                  </a:lnTo>
                  <a:lnTo>
                    <a:pt x="12792" y="3318"/>
                  </a:lnTo>
                  <a:lnTo>
                    <a:pt x="12792" y="3310"/>
                  </a:lnTo>
                  <a:lnTo>
                    <a:pt x="12792" y="3301"/>
                  </a:lnTo>
                  <a:lnTo>
                    <a:pt x="12810" y="3292"/>
                  </a:lnTo>
                  <a:lnTo>
                    <a:pt x="12828" y="3283"/>
                  </a:lnTo>
                  <a:lnTo>
                    <a:pt x="12854" y="3274"/>
                  </a:lnTo>
                  <a:lnTo>
                    <a:pt x="12872" y="3274"/>
                  </a:lnTo>
                  <a:lnTo>
                    <a:pt x="12854" y="3274"/>
                  </a:lnTo>
                  <a:lnTo>
                    <a:pt x="12854" y="3283"/>
                  </a:lnTo>
                  <a:lnTo>
                    <a:pt x="12845" y="3283"/>
                  </a:lnTo>
                  <a:lnTo>
                    <a:pt x="12837" y="3310"/>
                  </a:lnTo>
                  <a:lnTo>
                    <a:pt x="12837" y="3301"/>
                  </a:lnTo>
                  <a:lnTo>
                    <a:pt x="12845" y="3292"/>
                  </a:lnTo>
                  <a:lnTo>
                    <a:pt x="12837" y="3283"/>
                  </a:lnTo>
                  <a:lnTo>
                    <a:pt x="12828" y="3292"/>
                  </a:lnTo>
                  <a:lnTo>
                    <a:pt x="12810" y="3301"/>
                  </a:lnTo>
                  <a:lnTo>
                    <a:pt x="12810" y="3310"/>
                  </a:lnTo>
                  <a:lnTo>
                    <a:pt x="12801" y="3318"/>
                  </a:lnTo>
                  <a:lnTo>
                    <a:pt x="12801" y="3327"/>
                  </a:lnTo>
                  <a:lnTo>
                    <a:pt x="12784" y="3336"/>
                  </a:lnTo>
                  <a:lnTo>
                    <a:pt x="12775" y="3345"/>
                  </a:lnTo>
                  <a:lnTo>
                    <a:pt x="12784" y="3345"/>
                  </a:lnTo>
                  <a:lnTo>
                    <a:pt x="12784" y="3354"/>
                  </a:lnTo>
                  <a:lnTo>
                    <a:pt x="12792" y="3345"/>
                  </a:lnTo>
                  <a:lnTo>
                    <a:pt x="12801" y="3345"/>
                  </a:lnTo>
                  <a:lnTo>
                    <a:pt x="12810" y="3345"/>
                  </a:lnTo>
                  <a:lnTo>
                    <a:pt x="12819" y="3345"/>
                  </a:lnTo>
                  <a:lnTo>
                    <a:pt x="12801" y="3354"/>
                  </a:lnTo>
                  <a:lnTo>
                    <a:pt x="12792" y="3354"/>
                  </a:lnTo>
                  <a:lnTo>
                    <a:pt x="12784" y="3363"/>
                  </a:lnTo>
                  <a:lnTo>
                    <a:pt x="12766" y="3363"/>
                  </a:lnTo>
                  <a:lnTo>
                    <a:pt x="12757" y="3363"/>
                  </a:lnTo>
                  <a:lnTo>
                    <a:pt x="12748" y="3371"/>
                  </a:lnTo>
                  <a:lnTo>
                    <a:pt x="12740" y="3371"/>
                  </a:lnTo>
                  <a:lnTo>
                    <a:pt x="12740" y="3389"/>
                  </a:lnTo>
                  <a:lnTo>
                    <a:pt x="12731" y="3416"/>
                  </a:lnTo>
                  <a:lnTo>
                    <a:pt x="12740" y="3416"/>
                  </a:lnTo>
                  <a:lnTo>
                    <a:pt x="12748" y="3416"/>
                  </a:lnTo>
                  <a:lnTo>
                    <a:pt x="12757" y="3416"/>
                  </a:lnTo>
                  <a:lnTo>
                    <a:pt x="12766" y="3407"/>
                  </a:lnTo>
                  <a:lnTo>
                    <a:pt x="12775" y="3407"/>
                  </a:lnTo>
                  <a:lnTo>
                    <a:pt x="12775" y="3398"/>
                  </a:lnTo>
                  <a:lnTo>
                    <a:pt x="12784" y="3398"/>
                  </a:lnTo>
                  <a:lnTo>
                    <a:pt x="12801" y="3389"/>
                  </a:lnTo>
                  <a:lnTo>
                    <a:pt x="12810" y="3380"/>
                  </a:lnTo>
                  <a:lnTo>
                    <a:pt x="12819" y="3380"/>
                  </a:lnTo>
                  <a:lnTo>
                    <a:pt x="12828" y="3380"/>
                  </a:lnTo>
                  <a:lnTo>
                    <a:pt x="12819" y="3380"/>
                  </a:lnTo>
                  <a:lnTo>
                    <a:pt x="12810" y="3389"/>
                  </a:lnTo>
                  <a:lnTo>
                    <a:pt x="12801" y="3398"/>
                  </a:lnTo>
                  <a:lnTo>
                    <a:pt x="12792" y="3407"/>
                  </a:lnTo>
                  <a:lnTo>
                    <a:pt x="12792" y="3416"/>
                  </a:lnTo>
                  <a:lnTo>
                    <a:pt x="12792" y="3424"/>
                  </a:lnTo>
                  <a:lnTo>
                    <a:pt x="12792" y="3433"/>
                  </a:lnTo>
                  <a:lnTo>
                    <a:pt x="12801" y="3442"/>
                  </a:lnTo>
                  <a:lnTo>
                    <a:pt x="12810" y="3442"/>
                  </a:lnTo>
                  <a:lnTo>
                    <a:pt x="12819" y="3433"/>
                  </a:lnTo>
                  <a:lnTo>
                    <a:pt x="12828" y="3433"/>
                  </a:lnTo>
                  <a:lnTo>
                    <a:pt x="12819" y="3442"/>
                  </a:lnTo>
                  <a:lnTo>
                    <a:pt x="12810" y="3451"/>
                  </a:lnTo>
                  <a:lnTo>
                    <a:pt x="12792" y="3442"/>
                  </a:lnTo>
                  <a:lnTo>
                    <a:pt x="12766" y="3433"/>
                  </a:lnTo>
                  <a:lnTo>
                    <a:pt x="12766" y="3442"/>
                  </a:lnTo>
                  <a:lnTo>
                    <a:pt x="12766" y="3460"/>
                  </a:lnTo>
                  <a:lnTo>
                    <a:pt x="12766" y="3468"/>
                  </a:lnTo>
                  <a:lnTo>
                    <a:pt x="12766" y="3477"/>
                  </a:lnTo>
                  <a:lnTo>
                    <a:pt x="12775" y="3486"/>
                  </a:lnTo>
                  <a:lnTo>
                    <a:pt x="12801" y="3495"/>
                  </a:lnTo>
                  <a:lnTo>
                    <a:pt x="12801" y="3504"/>
                  </a:lnTo>
                  <a:lnTo>
                    <a:pt x="12828" y="3513"/>
                  </a:lnTo>
                  <a:lnTo>
                    <a:pt x="12837" y="3513"/>
                  </a:lnTo>
                  <a:lnTo>
                    <a:pt x="12845" y="3513"/>
                  </a:lnTo>
                  <a:lnTo>
                    <a:pt x="12845" y="3521"/>
                  </a:lnTo>
                  <a:lnTo>
                    <a:pt x="12837" y="3530"/>
                  </a:lnTo>
                  <a:lnTo>
                    <a:pt x="12845" y="3530"/>
                  </a:lnTo>
                  <a:lnTo>
                    <a:pt x="12854" y="3539"/>
                  </a:lnTo>
                  <a:lnTo>
                    <a:pt x="12854" y="3530"/>
                  </a:lnTo>
                  <a:lnTo>
                    <a:pt x="12863" y="3530"/>
                  </a:lnTo>
                  <a:lnTo>
                    <a:pt x="12863" y="3539"/>
                  </a:lnTo>
                  <a:lnTo>
                    <a:pt x="12872" y="3539"/>
                  </a:lnTo>
                  <a:lnTo>
                    <a:pt x="12889" y="3539"/>
                  </a:lnTo>
                  <a:lnTo>
                    <a:pt x="12907" y="3539"/>
                  </a:lnTo>
                  <a:lnTo>
                    <a:pt x="12934" y="3539"/>
                  </a:lnTo>
                  <a:lnTo>
                    <a:pt x="12951" y="3530"/>
                  </a:lnTo>
                  <a:lnTo>
                    <a:pt x="12960" y="3530"/>
                  </a:lnTo>
                  <a:lnTo>
                    <a:pt x="12969" y="3521"/>
                  </a:lnTo>
                  <a:lnTo>
                    <a:pt x="12987" y="3513"/>
                  </a:lnTo>
                  <a:lnTo>
                    <a:pt x="13013" y="3486"/>
                  </a:lnTo>
                  <a:lnTo>
                    <a:pt x="13031" y="3468"/>
                  </a:lnTo>
                  <a:lnTo>
                    <a:pt x="13039" y="3468"/>
                  </a:lnTo>
                  <a:lnTo>
                    <a:pt x="13048" y="3460"/>
                  </a:lnTo>
                  <a:lnTo>
                    <a:pt x="13039" y="3451"/>
                  </a:lnTo>
                  <a:lnTo>
                    <a:pt x="13057" y="3442"/>
                  </a:lnTo>
                  <a:lnTo>
                    <a:pt x="13066" y="3442"/>
                  </a:lnTo>
                  <a:lnTo>
                    <a:pt x="13075" y="3433"/>
                  </a:lnTo>
                  <a:lnTo>
                    <a:pt x="13066" y="3433"/>
                  </a:lnTo>
                  <a:lnTo>
                    <a:pt x="13057" y="3424"/>
                  </a:lnTo>
                  <a:lnTo>
                    <a:pt x="13066" y="3424"/>
                  </a:lnTo>
                  <a:lnTo>
                    <a:pt x="13075" y="3433"/>
                  </a:lnTo>
                  <a:lnTo>
                    <a:pt x="13084" y="3442"/>
                  </a:lnTo>
                  <a:lnTo>
                    <a:pt x="13092" y="3442"/>
                  </a:lnTo>
                  <a:lnTo>
                    <a:pt x="13101" y="3433"/>
                  </a:lnTo>
                  <a:lnTo>
                    <a:pt x="13110" y="3433"/>
                  </a:lnTo>
                  <a:lnTo>
                    <a:pt x="13128" y="3407"/>
                  </a:lnTo>
                  <a:lnTo>
                    <a:pt x="13128" y="3398"/>
                  </a:lnTo>
                  <a:lnTo>
                    <a:pt x="13128" y="3389"/>
                  </a:lnTo>
                  <a:lnTo>
                    <a:pt x="13119" y="3389"/>
                  </a:lnTo>
                  <a:lnTo>
                    <a:pt x="13119" y="3380"/>
                  </a:lnTo>
                  <a:lnTo>
                    <a:pt x="13128" y="3380"/>
                  </a:lnTo>
                  <a:lnTo>
                    <a:pt x="13137" y="3371"/>
                  </a:lnTo>
                  <a:lnTo>
                    <a:pt x="13137" y="3363"/>
                  </a:lnTo>
                  <a:lnTo>
                    <a:pt x="13137" y="3354"/>
                  </a:lnTo>
                  <a:lnTo>
                    <a:pt x="13137" y="3363"/>
                  </a:lnTo>
                  <a:lnTo>
                    <a:pt x="13137" y="3371"/>
                  </a:lnTo>
                  <a:lnTo>
                    <a:pt x="13137" y="3389"/>
                  </a:lnTo>
                  <a:lnTo>
                    <a:pt x="13137" y="3398"/>
                  </a:lnTo>
                  <a:lnTo>
                    <a:pt x="13145" y="3407"/>
                  </a:lnTo>
                  <a:lnTo>
                    <a:pt x="13154" y="3416"/>
                  </a:lnTo>
                  <a:lnTo>
                    <a:pt x="13163" y="3416"/>
                  </a:lnTo>
                  <a:lnTo>
                    <a:pt x="13172" y="3424"/>
                  </a:lnTo>
                  <a:lnTo>
                    <a:pt x="13189" y="3424"/>
                  </a:lnTo>
                  <a:lnTo>
                    <a:pt x="13198" y="3433"/>
                  </a:lnTo>
                  <a:lnTo>
                    <a:pt x="13189" y="3424"/>
                  </a:lnTo>
                  <a:lnTo>
                    <a:pt x="13181" y="3424"/>
                  </a:lnTo>
                  <a:lnTo>
                    <a:pt x="13181" y="3433"/>
                  </a:lnTo>
                  <a:lnTo>
                    <a:pt x="13181" y="3442"/>
                  </a:lnTo>
                  <a:lnTo>
                    <a:pt x="13181" y="3451"/>
                  </a:lnTo>
                  <a:lnTo>
                    <a:pt x="13181" y="3468"/>
                  </a:lnTo>
                  <a:lnTo>
                    <a:pt x="13189" y="3495"/>
                  </a:lnTo>
                  <a:lnTo>
                    <a:pt x="13181" y="3495"/>
                  </a:lnTo>
                  <a:lnTo>
                    <a:pt x="13181" y="3504"/>
                  </a:lnTo>
                  <a:lnTo>
                    <a:pt x="13189" y="3504"/>
                  </a:lnTo>
                  <a:lnTo>
                    <a:pt x="13198" y="3504"/>
                  </a:lnTo>
                  <a:lnTo>
                    <a:pt x="13198" y="3530"/>
                  </a:lnTo>
                  <a:lnTo>
                    <a:pt x="13207" y="3548"/>
                  </a:lnTo>
                  <a:lnTo>
                    <a:pt x="13215" y="3548"/>
                  </a:lnTo>
                  <a:lnTo>
                    <a:pt x="13215" y="3566"/>
                  </a:lnTo>
                  <a:lnTo>
                    <a:pt x="13224" y="3574"/>
                  </a:lnTo>
                  <a:lnTo>
                    <a:pt x="13233" y="3574"/>
                  </a:lnTo>
                  <a:lnTo>
                    <a:pt x="13233" y="3583"/>
                  </a:lnTo>
                  <a:lnTo>
                    <a:pt x="13233" y="3592"/>
                  </a:lnTo>
                  <a:lnTo>
                    <a:pt x="13233" y="3610"/>
                  </a:lnTo>
                  <a:lnTo>
                    <a:pt x="13241" y="3601"/>
                  </a:lnTo>
                  <a:lnTo>
                    <a:pt x="13250" y="3627"/>
                  </a:lnTo>
                  <a:lnTo>
                    <a:pt x="13268" y="3663"/>
                  </a:lnTo>
                  <a:lnTo>
                    <a:pt x="13277" y="3671"/>
                  </a:lnTo>
                  <a:lnTo>
                    <a:pt x="13294" y="3689"/>
                  </a:lnTo>
                  <a:lnTo>
                    <a:pt x="13303" y="3689"/>
                  </a:lnTo>
                  <a:lnTo>
                    <a:pt x="13303" y="3698"/>
                  </a:lnTo>
                  <a:lnTo>
                    <a:pt x="13303" y="3707"/>
                  </a:lnTo>
                  <a:lnTo>
                    <a:pt x="13294" y="3707"/>
                  </a:lnTo>
                  <a:lnTo>
                    <a:pt x="13285" y="3707"/>
                  </a:lnTo>
                  <a:lnTo>
                    <a:pt x="13285" y="3716"/>
                  </a:lnTo>
                  <a:lnTo>
                    <a:pt x="13294" y="3716"/>
                  </a:lnTo>
                  <a:lnTo>
                    <a:pt x="13294" y="3724"/>
                  </a:lnTo>
                  <a:lnTo>
                    <a:pt x="13294" y="3733"/>
                  </a:lnTo>
                  <a:lnTo>
                    <a:pt x="13277" y="3724"/>
                  </a:lnTo>
                  <a:lnTo>
                    <a:pt x="13277" y="3733"/>
                  </a:lnTo>
                  <a:lnTo>
                    <a:pt x="13285" y="3742"/>
                  </a:lnTo>
                  <a:lnTo>
                    <a:pt x="13303" y="3769"/>
                  </a:lnTo>
                  <a:lnTo>
                    <a:pt x="13312" y="3777"/>
                  </a:lnTo>
                  <a:lnTo>
                    <a:pt x="13312" y="3786"/>
                  </a:lnTo>
                  <a:lnTo>
                    <a:pt x="13312" y="3795"/>
                  </a:lnTo>
                  <a:lnTo>
                    <a:pt x="13312" y="3804"/>
                  </a:lnTo>
                  <a:lnTo>
                    <a:pt x="13303" y="3813"/>
                  </a:lnTo>
                  <a:lnTo>
                    <a:pt x="13338" y="3822"/>
                  </a:lnTo>
                  <a:lnTo>
                    <a:pt x="13374" y="3813"/>
                  </a:lnTo>
                  <a:lnTo>
                    <a:pt x="13391" y="3822"/>
                  </a:lnTo>
                  <a:lnTo>
                    <a:pt x="13400" y="3813"/>
                  </a:lnTo>
                  <a:lnTo>
                    <a:pt x="13409" y="3804"/>
                  </a:lnTo>
                  <a:lnTo>
                    <a:pt x="13409" y="3795"/>
                  </a:lnTo>
                  <a:lnTo>
                    <a:pt x="13400" y="3786"/>
                  </a:lnTo>
                  <a:lnTo>
                    <a:pt x="13400" y="3769"/>
                  </a:lnTo>
                  <a:lnTo>
                    <a:pt x="13409" y="3769"/>
                  </a:lnTo>
                  <a:lnTo>
                    <a:pt x="13418" y="3760"/>
                  </a:lnTo>
                  <a:lnTo>
                    <a:pt x="13418" y="3751"/>
                  </a:lnTo>
                  <a:lnTo>
                    <a:pt x="13427" y="3751"/>
                  </a:lnTo>
                  <a:lnTo>
                    <a:pt x="13435" y="3751"/>
                  </a:lnTo>
                  <a:lnTo>
                    <a:pt x="13444" y="3751"/>
                  </a:lnTo>
                  <a:lnTo>
                    <a:pt x="13435" y="3742"/>
                  </a:lnTo>
                  <a:lnTo>
                    <a:pt x="13444" y="3742"/>
                  </a:lnTo>
                  <a:lnTo>
                    <a:pt x="13462" y="3733"/>
                  </a:lnTo>
                  <a:lnTo>
                    <a:pt x="13480" y="3742"/>
                  </a:lnTo>
                  <a:lnTo>
                    <a:pt x="13497" y="3733"/>
                  </a:lnTo>
                  <a:lnTo>
                    <a:pt x="13506" y="3733"/>
                  </a:lnTo>
                  <a:lnTo>
                    <a:pt x="13515" y="3742"/>
                  </a:lnTo>
                  <a:lnTo>
                    <a:pt x="13524" y="3742"/>
                  </a:lnTo>
                  <a:lnTo>
                    <a:pt x="13524" y="3733"/>
                  </a:lnTo>
                  <a:lnTo>
                    <a:pt x="13533" y="3733"/>
                  </a:lnTo>
                  <a:lnTo>
                    <a:pt x="13541" y="3707"/>
                  </a:lnTo>
                  <a:lnTo>
                    <a:pt x="13550" y="3689"/>
                  </a:lnTo>
                  <a:lnTo>
                    <a:pt x="13559" y="3680"/>
                  </a:lnTo>
                  <a:lnTo>
                    <a:pt x="13559" y="3671"/>
                  </a:lnTo>
                  <a:lnTo>
                    <a:pt x="13568" y="3654"/>
                  </a:lnTo>
                  <a:lnTo>
                    <a:pt x="13568" y="3645"/>
                  </a:lnTo>
                  <a:lnTo>
                    <a:pt x="13568" y="3636"/>
                  </a:lnTo>
                  <a:lnTo>
                    <a:pt x="13568" y="3627"/>
                  </a:lnTo>
                  <a:lnTo>
                    <a:pt x="13568" y="3619"/>
                  </a:lnTo>
                  <a:lnTo>
                    <a:pt x="13577" y="3601"/>
                  </a:lnTo>
                  <a:lnTo>
                    <a:pt x="13577" y="3592"/>
                  </a:lnTo>
                  <a:lnTo>
                    <a:pt x="13577" y="3583"/>
                  </a:lnTo>
                  <a:lnTo>
                    <a:pt x="13577" y="3566"/>
                  </a:lnTo>
                  <a:lnTo>
                    <a:pt x="13577" y="3557"/>
                  </a:lnTo>
                  <a:lnTo>
                    <a:pt x="13585" y="3557"/>
                  </a:lnTo>
                  <a:lnTo>
                    <a:pt x="13585" y="3530"/>
                  </a:lnTo>
                  <a:lnTo>
                    <a:pt x="13585" y="3521"/>
                  </a:lnTo>
                  <a:lnTo>
                    <a:pt x="13585" y="3513"/>
                  </a:lnTo>
                  <a:lnTo>
                    <a:pt x="13577" y="3495"/>
                  </a:lnTo>
                  <a:lnTo>
                    <a:pt x="13594" y="3495"/>
                  </a:lnTo>
                  <a:lnTo>
                    <a:pt x="13603" y="3495"/>
                  </a:lnTo>
                  <a:lnTo>
                    <a:pt x="13594" y="3486"/>
                  </a:lnTo>
                  <a:lnTo>
                    <a:pt x="13585" y="3477"/>
                  </a:lnTo>
                  <a:lnTo>
                    <a:pt x="13568" y="3477"/>
                  </a:lnTo>
                  <a:lnTo>
                    <a:pt x="13559" y="3477"/>
                  </a:lnTo>
                  <a:lnTo>
                    <a:pt x="13550" y="3477"/>
                  </a:lnTo>
                  <a:lnTo>
                    <a:pt x="13559" y="3477"/>
                  </a:lnTo>
                  <a:lnTo>
                    <a:pt x="13577" y="3477"/>
                  </a:lnTo>
                  <a:lnTo>
                    <a:pt x="13603" y="3477"/>
                  </a:lnTo>
                  <a:lnTo>
                    <a:pt x="13612" y="3468"/>
                  </a:lnTo>
                  <a:lnTo>
                    <a:pt x="13630" y="3460"/>
                  </a:lnTo>
                  <a:lnTo>
                    <a:pt x="13638" y="3451"/>
                  </a:lnTo>
                  <a:lnTo>
                    <a:pt x="13656" y="3442"/>
                  </a:lnTo>
                  <a:lnTo>
                    <a:pt x="13665" y="3442"/>
                  </a:lnTo>
                  <a:lnTo>
                    <a:pt x="13682" y="3433"/>
                  </a:lnTo>
                  <a:lnTo>
                    <a:pt x="13691" y="3433"/>
                  </a:lnTo>
                  <a:lnTo>
                    <a:pt x="13700" y="3424"/>
                  </a:lnTo>
                  <a:lnTo>
                    <a:pt x="13709" y="3416"/>
                  </a:lnTo>
                  <a:lnTo>
                    <a:pt x="13709" y="3407"/>
                  </a:lnTo>
                  <a:lnTo>
                    <a:pt x="13718" y="3407"/>
                  </a:lnTo>
                  <a:lnTo>
                    <a:pt x="13727" y="3398"/>
                  </a:lnTo>
                  <a:lnTo>
                    <a:pt x="13718" y="3398"/>
                  </a:lnTo>
                  <a:lnTo>
                    <a:pt x="13718" y="3389"/>
                  </a:lnTo>
                  <a:lnTo>
                    <a:pt x="13718" y="3398"/>
                  </a:lnTo>
                  <a:lnTo>
                    <a:pt x="13709" y="3398"/>
                  </a:lnTo>
                  <a:lnTo>
                    <a:pt x="13700" y="3398"/>
                  </a:lnTo>
                  <a:lnTo>
                    <a:pt x="13691" y="3398"/>
                  </a:lnTo>
                  <a:lnTo>
                    <a:pt x="13691" y="3407"/>
                  </a:lnTo>
                  <a:lnTo>
                    <a:pt x="13682" y="3398"/>
                  </a:lnTo>
                  <a:lnTo>
                    <a:pt x="13674" y="3398"/>
                  </a:lnTo>
                  <a:lnTo>
                    <a:pt x="13691" y="3389"/>
                  </a:lnTo>
                  <a:lnTo>
                    <a:pt x="13700" y="3389"/>
                  </a:lnTo>
                  <a:lnTo>
                    <a:pt x="13709" y="3389"/>
                  </a:lnTo>
                  <a:lnTo>
                    <a:pt x="13709" y="3380"/>
                  </a:lnTo>
                  <a:lnTo>
                    <a:pt x="13727" y="3371"/>
                  </a:lnTo>
                  <a:lnTo>
                    <a:pt x="13735" y="3363"/>
                  </a:lnTo>
                  <a:lnTo>
                    <a:pt x="13744" y="3354"/>
                  </a:lnTo>
                  <a:lnTo>
                    <a:pt x="13753" y="3354"/>
                  </a:lnTo>
                  <a:lnTo>
                    <a:pt x="13753" y="3345"/>
                  </a:lnTo>
                  <a:lnTo>
                    <a:pt x="13744" y="3336"/>
                  </a:lnTo>
                  <a:lnTo>
                    <a:pt x="13744" y="3327"/>
                  </a:lnTo>
                  <a:lnTo>
                    <a:pt x="13735" y="3318"/>
                  </a:lnTo>
                  <a:lnTo>
                    <a:pt x="13727" y="3318"/>
                  </a:lnTo>
                  <a:lnTo>
                    <a:pt x="13718" y="3310"/>
                  </a:lnTo>
                  <a:lnTo>
                    <a:pt x="13718" y="3301"/>
                  </a:lnTo>
                  <a:lnTo>
                    <a:pt x="13709" y="3292"/>
                  </a:lnTo>
                  <a:lnTo>
                    <a:pt x="13700" y="3292"/>
                  </a:lnTo>
                  <a:lnTo>
                    <a:pt x="13691" y="3283"/>
                  </a:lnTo>
                  <a:lnTo>
                    <a:pt x="13682" y="3274"/>
                  </a:lnTo>
                  <a:lnTo>
                    <a:pt x="13674" y="3265"/>
                  </a:lnTo>
                  <a:lnTo>
                    <a:pt x="13665" y="3265"/>
                  </a:lnTo>
                  <a:lnTo>
                    <a:pt x="13656" y="3265"/>
                  </a:lnTo>
                  <a:lnTo>
                    <a:pt x="13647" y="3257"/>
                  </a:lnTo>
                  <a:lnTo>
                    <a:pt x="13638" y="3257"/>
                  </a:lnTo>
                  <a:lnTo>
                    <a:pt x="13630" y="3257"/>
                  </a:lnTo>
                  <a:lnTo>
                    <a:pt x="13621" y="3248"/>
                  </a:lnTo>
                  <a:lnTo>
                    <a:pt x="13630" y="3239"/>
                  </a:lnTo>
                  <a:lnTo>
                    <a:pt x="13621" y="3221"/>
                  </a:lnTo>
                  <a:lnTo>
                    <a:pt x="13621" y="3204"/>
                  </a:lnTo>
                  <a:lnTo>
                    <a:pt x="13621" y="3186"/>
                  </a:lnTo>
                  <a:lnTo>
                    <a:pt x="13621" y="3177"/>
                  </a:lnTo>
                  <a:lnTo>
                    <a:pt x="13621" y="3168"/>
                  </a:lnTo>
                  <a:lnTo>
                    <a:pt x="13621" y="3160"/>
                  </a:lnTo>
                  <a:lnTo>
                    <a:pt x="13612" y="3151"/>
                  </a:lnTo>
                  <a:lnTo>
                    <a:pt x="13621" y="3142"/>
                  </a:lnTo>
                  <a:lnTo>
                    <a:pt x="13621" y="3133"/>
                  </a:lnTo>
                  <a:lnTo>
                    <a:pt x="13630" y="3142"/>
                  </a:lnTo>
                  <a:lnTo>
                    <a:pt x="13638" y="3142"/>
                  </a:lnTo>
                  <a:lnTo>
                    <a:pt x="13638" y="3133"/>
                  </a:lnTo>
                  <a:lnTo>
                    <a:pt x="13638" y="3115"/>
                  </a:lnTo>
                  <a:lnTo>
                    <a:pt x="13638" y="3107"/>
                  </a:lnTo>
                  <a:lnTo>
                    <a:pt x="13638" y="3098"/>
                  </a:lnTo>
                  <a:lnTo>
                    <a:pt x="13647" y="3089"/>
                  </a:lnTo>
                  <a:lnTo>
                    <a:pt x="13647" y="3080"/>
                  </a:lnTo>
                  <a:lnTo>
                    <a:pt x="13656" y="3080"/>
                  </a:lnTo>
                  <a:lnTo>
                    <a:pt x="13647" y="3071"/>
                  </a:lnTo>
                  <a:lnTo>
                    <a:pt x="13638" y="3063"/>
                  </a:lnTo>
                  <a:lnTo>
                    <a:pt x="13630" y="3054"/>
                  </a:lnTo>
                  <a:lnTo>
                    <a:pt x="13638" y="3054"/>
                  </a:lnTo>
                  <a:lnTo>
                    <a:pt x="13638" y="3045"/>
                  </a:lnTo>
                  <a:lnTo>
                    <a:pt x="13647" y="3054"/>
                  </a:lnTo>
                  <a:lnTo>
                    <a:pt x="13656" y="3054"/>
                  </a:lnTo>
                  <a:lnTo>
                    <a:pt x="13656" y="3045"/>
                  </a:lnTo>
                  <a:lnTo>
                    <a:pt x="13665" y="3045"/>
                  </a:lnTo>
                  <a:lnTo>
                    <a:pt x="13674" y="3036"/>
                  </a:lnTo>
                  <a:lnTo>
                    <a:pt x="13682" y="3036"/>
                  </a:lnTo>
                  <a:lnTo>
                    <a:pt x="13674" y="3027"/>
                  </a:lnTo>
                  <a:lnTo>
                    <a:pt x="13674" y="3018"/>
                  </a:lnTo>
                  <a:lnTo>
                    <a:pt x="13674" y="3010"/>
                  </a:lnTo>
                  <a:lnTo>
                    <a:pt x="13674" y="3001"/>
                  </a:lnTo>
                  <a:lnTo>
                    <a:pt x="13674" y="3010"/>
                  </a:lnTo>
                  <a:lnTo>
                    <a:pt x="13682" y="3010"/>
                  </a:lnTo>
                  <a:lnTo>
                    <a:pt x="13691" y="3018"/>
                  </a:lnTo>
                  <a:lnTo>
                    <a:pt x="13700" y="3010"/>
                  </a:lnTo>
                  <a:lnTo>
                    <a:pt x="13718" y="3001"/>
                  </a:lnTo>
                  <a:lnTo>
                    <a:pt x="13718" y="2992"/>
                  </a:lnTo>
                  <a:lnTo>
                    <a:pt x="13700" y="2992"/>
                  </a:lnTo>
                  <a:lnTo>
                    <a:pt x="13709" y="2983"/>
                  </a:lnTo>
                  <a:lnTo>
                    <a:pt x="13718" y="2983"/>
                  </a:lnTo>
                  <a:lnTo>
                    <a:pt x="13727" y="2974"/>
                  </a:lnTo>
                  <a:lnTo>
                    <a:pt x="13727" y="2965"/>
                  </a:lnTo>
                  <a:lnTo>
                    <a:pt x="13735" y="2965"/>
                  </a:lnTo>
                  <a:lnTo>
                    <a:pt x="13744" y="2965"/>
                  </a:lnTo>
                  <a:lnTo>
                    <a:pt x="13735" y="2965"/>
                  </a:lnTo>
                  <a:lnTo>
                    <a:pt x="13744" y="2957"/>
                  </a:lnTo>
                  <a:lnTo>
                    <a:pt x="13753" y="2965"/>
                  </a:lnTo>
                  <a:lnTo>
                    <a:pt x="13771" y="2948"/>
                  </a:lnTo>
                  <a:lnTo>
                    <a:pt x="13771" y="2939"/>
                  </a:lnTo>
                  <a:lnTo>
                    <a:pt x="13780" y="2930"/>
                  </a:lnTo>
                  <a:lnTo>
                    <a:pt x="13788" y="2939"/>
                  </a:lnTo>
                  <a:lnTo>
                    <a:pt x="13788" y="2930"/>
                  </a:lnTo>
                  <a:lnTo>
                    <a:pt x="13797" y="2930"/>
                  </a:lnTo>
                  <a:lnTo>
                    <a:pt x="13806" y="2939"/>
                  </a:lnTo>
                  <a:lnTo>
                    <a:pt x="13815" y="2930"/>
                  </a:lnTo>
                  <a:lnTo>
                    <a:pt x="13824" y="2921"/>
                  </a:lnTo>
                  <a:lnTo>
                    <a:pt x="13841" y="2912"/>
                  </a:lnTo>
                  <a:lnTo>
                    <a:pt x="13850" y="2904"/>
                  </a:lnTo>
                  <a:lnTo>
                    <a:pt x="13859" y="2904"/>
                  </a:lnTo>
                  <a:lnTo>
                    <a:pt x="13877" y="2895"/>
                  </a:lnTo>
                  <a:lnTo>
                    <a:pt x="13885" y="2886"/>
                  </a:lnTo>
                  <a:lnTo>
                    <a:pt x="13903" y="2851"/>
                  </a:lnTo>
                  <a:lnTo>
                    <a:pt x="13921" y="2842"/>
                  </a:lnTo>
                  <a:lnTo>
                    <a:pt x="13938" y="2824"/>
                  </a:lnTo>
                  <a:lnTo>
                    <a:pt x="13938" y="2815"/>
                  </a:lnTo>
                  <a:lnTo>
                    <a:pt x="13930" y="2807"/>
                  </a:lnTo>
                  <a:lnTo>
                    <a:pt x="13921" y="2798"/>
                  </a:lnTo>
                  <a:lnTo>
                    <a:pt x="13921" y="2789"/>
                  </a:lnTo>
                  <a:lnTo>
                    <a:pt x="13912" y="2780"/>
                  </a:lnTo>
                  <a:lnTo>
                    <a:pt x="13912" y="2771"/>
                  </a:lnTo>
                  <a:lnTo>
                    <a:pt x="13921" y="2762"/>
                  </a:lnTo>
                  <a:lnTo>
                    <a:pt x="13930" y="2754"/>
                  </a:lnTo>
                  <a:lnTo>
                    <a:pt x="13938" y="2736"/>
                  </a:lnTo>
                  <a:lnTo>
                    <a:pt x="13947" y="2736"/>
                  </a:lnTo>
                  <a:lnTo>
                    <a:pt x="13938" y="2727"/>
                  </a:lnTo>
                  <a:lnTo>
                    <a:pt x="13930" y="2718"/>
                  </a:lnTo>
                  <a:lnTo>
                    <a:pt x="13938" y="2727"/>
                  </a:lnTo>
                  <a:lnTo>
                    <a:pt x="13947" y="2727"/>
                  </a:lnTo>
                  <a:lnTo>
                    <a:pt x="13947" y="2718"/>
                  </a:lnTo>
                  <a:lnTo>
                    <a:pt x="13938" y="2718"/>
                  </a:lnTo>
                  <a:lnTo>
                    <a:pt x="13938" y="2709"/>
                  </a:lnTo>
                  <a:lnTo>
                    <a:pt x="13947" y="2709"/>
                  </a:lnTo>
                  <a:lnTo>
                    <a:pt x="13965" y="2701"/>
                  </a:lnTo>
                  <a:lnTo>
                    <a:pt x="13974" y="2701"/>
                  </a:lnTo>
                  <a:lnTo>
                    <a:pt x="13965" y="2692"/>
                  </a:lnTo>
                  <a:lnTo>
                    <a:pt x="13982" y="2692"/>
                  </a:lnTo>
                  <a:lnTo>
                    <a:pt x="13982" y="2683"/>
                  </a:lnTo>
                  <a:lnTo>
                    <a:pt x="13991" y="2683"/>
                  </a:lnTo>
                  <a:lnTo>
                    <a:pt x="13991" y="2665"/>
                  </a:lnTo>
                  <a:lnTo>
                    <a:pt x="14000" y="2657"/>
                  </a:lnTo>
                  <a:lnTo>
                    <a:pt x="14000" y="2648"/>
                  </a:lnTo>
                  <a:lnTo>
                    <a:pt x="14009" y="2648"/>
                  </a:lnTo>
                  <a:lnTo>
                    <a:pt x="14018" y="2657"/>
                  </a:lnTo>
                  <a:lnTo>
                    <a:pt x="14027" y="2648"/>
                  </a:lnTo>
                  <a:lnTo>
                    <a:pt x="14044" y="2657"/>
                  </a:lnTo>
                  <a:lnTo>
                    <a:pt x="14053" y="2665"/>
                  </a:lnTo>
                  <a:lnTo>
                    <a:pt x="14062" y="2665"/>
                  </a:lnTo>
                  <a:lnTo>
                    <a:pt x="14062" y="2657"/>
                  </a:lnTo>
                  <a:lnTo>
                    <a:pt x="14080" y="2657"/>
                  </a:lnTo>
                  <a:lnTo>
                    <a:pt x="14088" y="2657"/>
                  </a:lnTo>
                  <a:lnTo>
                    <a:pt x="14097" y="2657"/>
                  </a:lnTo>
                  <a:lnTo>
                    <a:pt x="14115" y="2657"/>
                  </a:lnTo>
                  <a:lnTo>
                    <a:pt x="14132" y="2657"/>
                  </a:lnTo>
                  <a:lnTo>
                    <a:pt x="14141" y="2657"/>
                  </a:lnTo>
                  <a:lnTo>
                    <a:pt x="14150" y="2657"/>
                  </a:lnTo>
                  <a:lnTo>
                    <a:pt x="14159" y="2657"/>
                  </a:lnTo>
                  <a:lnTo>
                    <a:pt x="14168" y="2648"/>
                  </a:lnTo>
                  <a:lnTo>
                    <a:pt x="14168" y="2657"/>
                  </a:lnTo>
                  <a:lnTo>
                    <a:pt x="14168" y="2665"/>
                  </a:lnTo>
                  <a:lnTo>
                    <a:pt x="14168" y="2674"/>
                  </a:lnTo>
                  <a:lnTo>
                    <a:pt x="14177" y="2674"/>
                  </a:lnTo>
                  <a:lnTo>
                    <a:pt x="14185" y="2674"/>
                  </a:lnTo>
                  <a:lnTo>
                    <a:pt x="14212" y="2692"/>
                  </a:lnTo>
                  <a:lnTo>
                    <a:pt x="14221" y="2701"/>
                  </a:lnTo>
                  <a:lnTo>
                    <a:pt x="14221" y="2709"/>
                  </a:lnTo>
                  <a:lnTo>
                    <a:pt x="14221" y="2727"/>
                  </a:lnTo>
                  <a:lnTo>
                    <a:pt x="14212" y="2736"/>
                  </a:lnTo>
                  <a:lnTo>
                    <a:pt x="14221" y="2745"/>
                  </a:lnTo>
                  <a:lnTo>
                    <a:pt x="14221" y="2754"/>
                  </a:lnTo>
                  <a:lnTo>
                    <a:pt x="14212" y="2754"/>
                  </a:lnTo>
                  <a:lnTo>
                    <a:pt x="14212" y="2762"/>
                  </a:lnTo>
                  <a:lnTo>
                    <a:pt x="14212" y="2771"/>
                  </a:lnTo>
                  <a:lnTo>
                    <a:pt x="14203" y="2771"/>
                  </a:lnTo>
                  <a:lnTo>
                    <a:pt x="14194" y="2771"/>
                  </a:lnTo>
                  <a:lnTo>
                    <a:pt x="14177" y="2771"/>
                  </a:lnTo>
                  <a:lnTo>
                    <a:pt x="14168" y="2780"/>
                  </a:lnTo>
                  <a:lnTo>
                    <a:pt x="14159" y="2780"/>
                  </a:lnTo>
                  <a:lnTo>
                    <a:pt x="14159" y="2789"/>
                  </a:lnTo>
                  <a:lnTo>
                    <a:pt x="14150" y="2789"/>
                  </a:lnTo>
                  <a:lnTo>
                    <a:pt x="14141" y="2815"/>
                  </a:lnTo>
                  <a:lnTo>
                    <a:pt x="14124" y="2824"/>
                  </a:lnTo>
                  <a:lnTo>
                    <a:pt x="14115" y="2842"/>
                  </a:lnTo>
                  <a:lnTo>
                    <a:pt x="14097" y="2860"/>
                  </a:lnTo>
                  <a:lnTo>
                    <a:pt x="14088" y="2868"/>
                  </a:lnTo>
                  <a:lnTo>
                    <a:pt x="14080" y="2868"/>
                  </a:lnTo>
                  <a:lnTo>
                    <a:pt x="14062" y="2886"/>
                  </a:lnTo>
                  <a:lnTo>
                    <a:pt x="14053" y="2886"/>
                  </a:lnTo>
                  <a:lnTo>
                    <a:pt x="14044" y="2895"/>
                  </a:lnTo>
                  <a:lnTo>
                    <a:pt x="14027" y="2912"/>
                  </a:lnTo>
                  <a:lnTo>
                    <a:pt x="14009" y="2912"/>
                  </a:lnTo>
                  <a:lnTo>
                    <a:pt x="14009" y="2921"/>
                  </a:lnTo>
                  <a:lnTo>
                    <a:pt x="14000" y="2930"/>
                  </a:lnTo>
                  <a:lnTo>
                    <a:pt x="14000" y="2939"/>
                  </a:lnTo>
                  <a:lnTo>
                    <a:pt x="13991" y="2939"/>
                  </a:lnTo>
                  <a:lnTo>
                    <a:pt x="13991" y="2948"/>
                  </a:lnTo>
                  <a:lnTo>
                    <a:pt x="14000" y="2948"/>
                  </a:lnTo>
                  <a:lnTo>
                    <a:pt x="14000" y="2957"/>
                  </a:lnTo>
                  <a:lnTo>
                    <a:pt x="13982" y="2965"/>
                  </a:lnTo>
                  <a:lnTo>
                    <a:pt x="13965" y="2965"/>
                  </a:lnTo>
                  <a:lnTo>
                    <a:pt x="13956" y="2965"/>
                  </a:lnTo>
                  <a:lnTo>
                    <a:pt x="13938" y="2965"/>
                  </a:lnTo>
                  <a:lnTo>
                    <a:pt x="13938" y="2974"/>
                  </a:lnTo>
                  <a:lnTo>
                    <a:pt x="13947" y="2983"/>
                  </a:lnTo>
                  <a:lnTo>
                    <a:pt x="13938" y="2983"/>
                  </a:lnTo>
                  <a:lnTo>
                    <a:pt x="13938" y="2992"/>
                  </a:lnTo>
                  <a:lnTo>
                    <a:pt x="13912" y="3010"/>
                  </a:lnTo>
                  <a:lnTo>
                    <a:pt x="13912" y="3018"/>
                  </a:lnTo>
                  <a:lnTo>
                    <a:pt x="13912" y="3027"/>
                  </a:lnTo>
                  <a:lnTo>
                    <a:pt x="13912" y="3036"/>
                  </a:lnTo>
                  <a:lnTo>
                    <a:pt x="13912" y="3045"/>
                  </a:lnTo>
                  <a:lnTo>
                    <a:pt x="13912" y="3054"/>
                  </a:lnTo>
                  <a:lnTo>
                    <a:pt x="13921" y="3063"/>
                  </a:lnTo>
                  <a:lnTo>
                    <a:pt x="13930" y="3071"/>
                  </a:lnTo>
                  <a:lnTo>
                    <a:pt x="13930" y="3080"/>
                  </a:lnTo>
                  <a:lnTo>
                    <a:pt x="13921" y="3089"/>
                  </a:lnTo>
                  <a:lnTo>
                    <a:pt x="13921" y="3107"/>
                  </a:lnTo>
                  <a:lnTo>
                    <a:pt x="13930" y="3115"/>
                  </a:lnTo>
                  <a:lnTo>
                    <a:pt x="13938" y="3124"/>
                  </a:lnTo>
                  <a:lnTo>
                    <a:pt x="13938" y="3142"/>
                  </a:lnTo>
                  <a:lnTo>
                    <a:pt x="13947" y="3151"/>
                  </a:lnTo>
                  <a:lnTo>
                    <a:pt x="13938" y="3151"/>
                  </a:lnTo>
                  <a:lnTo>
                    <a:pt x="13938" y="3160"/>
                  </a:lnTo>
                  <a:lnTo>
                    <a:pt x="13938" y="3168"/>
                  </a:lnTo>
                  <a:lnTo>
                    <a:pt x="13938" y="3186"/>
                  </a:lnTo>
                  <a:lnTo>
                    <a:pt x="13938" y="3195"/>
                  </a:lnTo>
                  <a:lnTo>
                    <a:pt x="13930" y="3204"/>
                  </a:lnTo>
                  <a:lnTo>
                    <a:pt x="13930" y="3213"/>
                  </a:lnTo>
                  <a:lnTo>
                    <a:pt x="13930" y="3221"/>
                  </a:lnTo>
                  <a:lnTo>
                    <a:pt x="13930" y="3230"/>
                  </a:lnTo>
                  <a:lnTo>
                    <a:pt x="13930" y="3239"/>
                  </a:lnTo>
                  <a:lnTo>
                    <a:pt x="13930" y="3248"/>
                  </a:lnTo>
                  <a:lnTo>
                    <a:pt x="13930" y="3257"/>
                  </a:lnTo>
                  <a:lnTo>
                    <a:pt x="13930" y="3265"/>
                  </a:lnTo>
                  <a:lnTo>
                    <a:pt x="13938" y="3265"/>
                  </a:lnTo>
                  <a:lnTo>
                    <a:pt x="13947" y="3265"/>
                  </a:lnTo>
                  <a:lnTo>
                    <a:pt x="13956" y="3265"/>
                  </a:lnTo>
                  <a:lnTo>
                    <a:pt x="13965" y="3274"/>
                  </a:lnTo>
                  <a:lnTo>
                    <a:pt x="13991" y="3283"/>
                  </a:lnTo>
                  <a:lnTo>
                    <a:pt x="14009" y="3283"/>
                  </a:lnTo>
                  <a:lnTo>
                    <a:pt x="14018" y="3283"/>
                  </a:lnTo>
                  <a:lnTo>
                    <a:pt x="14018" y="3292"/>
                  </a:lnTo>
                  <a:lnTo>
                    <a:pt x="14009" y="3301"/>
                  </a:lnTo>
                  <a:lnTo>
                    <a:pt x="14018" y="3301"/>
                  </a:lnTo>
                  <a:lnTo>
                    <a:pt x="14009" y="3310"/>
                  </a:lnTo>
                  <a:lnTo>
                    <a:pt x="14009" y="3318"/>
                  </a:lnTo>
                  <a:lnTo>
                    <a:pt x="14009" y="3327"/>
                  </a:lnTo>
                  <a:lnTo>
                    <a:pt x="14018" y="3327"/>
                  </a:lnTo>
                  <a:lnTo>
                    <a:pt x="14027" y="3327"/>
                  </a:lnTo>
                  <a:lnTo>
                    <a:pt x="14027" y="3318"/>
                  </a:lnTo>
                  <a:lnTo>
                    <a:pt x="14035" y="3318"/>
                  </a:lnTo>
                  <a:lnTo>
                    <a:pt x="14035" y="3310"/>
                  </a:lnTo>
                  <a:lnTo>
                    <a:pt x="14035" y="3301"/>
                  </a:lnTo>
                  <a:lnTo>
                    <a:pt x="14044" y="3301"/>
                  </a:lnTo>
                  <a:lnTo>
                    <a:pt x="14044" y="3318"/>
                  </a:lnTo>
                  <a:lnTo>
                    <a:pt x="14053" y="3318"/>
                  </a:lnTo>
                  <a:lnTo>
                    <a:pt x="14062" y="3327"/>
                  </a:lnTo>
                  <a:lnTo>
                    <a:pt x="14053" y="3336"/>
                  </a:lnTo>
                  <a:lnTo>
                    <a:pt x="14044" y="3345"/>
                  </a:lnTo>
                  <a:lnTo>
                    <a:pt x="14053" y="3345"/>
                  </a:lnTo>
                  <a:lnTo>
                    <a:pt x="14062" y="3345"/>
                  </a:lnTo>
                  <a:lnTo>
                    <a:pt x="14071" y="3336"/>
                  </a:lnTo>
                  <a:lnTo>
                    <a:pt x="14080" y="3327"/>
                  </a:lnTo>
                  <a:lnTo>
                    <a:pt x="14088" y="3327"/>
                  </a:lnTo>
                  <a:lnTo>
                    <a:pt x="14097" y="3327"/>
                  </a:lnTo>
                  <a:lnTo>
                    <a:pt x="14124" y="3327"/>
                  </a:lnTo>
                  <a:lnTo>
                    <a:pt x="14150" y="3327"/>
                  </a:lnTo>
                  <a:lnTo>
                    <a:pt x="14159" y="3318"/>
                  </a:lnTo>
                  <a:lnTo>
                    <a:pt x="14168" y="3318"/>
                  </a:lnTo>
                  <a:lnTo>
                    <a:pt x="14185" y="3310"/>
                  </a:lnTo>
                  <a:lnTo>
                    <a:pt x="14194" y="3310"/>
                  </a:lnTo>
                  <a:lnTo>
                    <a:pt x="14203" y="3310"/>
                  </a:lnTo>
                  <a:lnTo>
                    <a:pt x="14212" y="3301"/>
                  </a:lnTo>
                  <a:lnTo>
                    <a:pt x="14229" y="3301"/>
                  </a:lnTo>
                  <a:lnTo>
                    <a:pt x="14238" y="3292"/>
                  </a:lnTo>
                  <a:lnTo>
                    <a:pt x="14247" y="3292"/>
                  </a:lnTo>
                  <a:lnTo>
                    <a:pt x="14247" y="3301"/>
                  </a:lnTo>
                  <a:lnTo>
                    <a:pt x="14256" y="3292"/>
                  </a:lnTo>
                  <a:lnTo>
                    <a:pt x="14265" y="3292"/>
                  </a:lnTo>
                  <a:lnTo>
                    <a:pt x="14274" y="3292"/>
                  </a:lnTo>
                  <a:lnTo>
                    <a:pt x="14274" y="3283"/>
                  </a:lnTo>
                  <a:lnTo>
                    <a:pt x="14265" y="3283"/>
                  </a:lnTo>
                  <a:lnTo>
                    <a:pt x="14265" y="3274"/>
                  </a:lnTo>
                  <a:lnTo>
                    <a:pt x="14274" y="3274"/>
                  </a:lnTo>
                  <a:lnTo>
                    <a:pt x="14282" y="3283"/>
                  </a:lnTo>
                  <a:lnTo>
                    <a:pt x="14300" y="3283"/>
                  </a:lnTo>
                  <a:lnTo>
                    <a:pt x="14300" y="3274"/>
                  </a:lnTo>
                  <a:lnTo>
                    <a:pt x="14309" y="3265"/>
                  </a:lnTo>
                  <a:lnTo>
                    <a:pt x="14309" y="3257"/>
                  </a:lnTo>
                  <a:lnTo>
                    <a:pt x="14309" y="3265"/>
                  </a:lnTo>
                  <a:lnTo>
                    <a:pt x="14309" y="3274"/>
                  </a:lnTo>
                  <a:lnTo>
                    <a:pt x="14309" y="3283"/>
                  </a:lnTo>
                  <a:lnTo>
                    <a:pt x="14318" y="3274"/>
                  </a:lnTo>
                  <a:lnTo>
                    <a:pt x="14335" y="3274"/>
                  </a:lnTo>
                  <a:lnTo>
                    <a:pt x="14344" y="3265"/>
                  </a:lnTo>
                  <a:lnTo>
                    <a:pt x="14353" y="3265"/>
                  </a:lnTo>
                  <a:lnTo>
                    <a:pt x="14362" y="3265"/>
                  </a:lnTo>
                  <a:lnTo>
                    <a:pt x="14379" y="3274"/>
                  </a:lnTo>
                  <a:lnTo>
                    <a:pt x="14388" y="3274"/>
                  </a:lnTo>
                  <a:lnTo>
                    <a:pt x="14397" y="3265"/>
                  </a:lnTo>
                  <a:lnTo>
                    <a:pt x="14432" y="3265"/>
                  </a:lnTo>
                  <a:lnTo>
                    <a:pt x="14450" y="3257"/>
                  </a:lnTo>
                  <a:lnTo>
                    <a:pt x="14459" y="3257"/>
                  </a:lnTo>
                  <a:lnTo>
                    <a:pt x="14459" y="3265"/>
                  </a:lnTo>
                  <a:lnTo>
                    <a:pt x="14459" y="3274"/>
                  </a:lnTo>
                  <a:lnTo>
                    <a:pt x="14450" y="3265"/>
                  </a:lnTo>
                  <a:lnTo>
                    <a:pt x="14450" y="3274"/>
                  </a:lnTo>
                  <a:lnTo>
                    <a:pt x="14459" y="3283"/>
                  </a:lnTo>
                  <a:lnTo>
                    <a:pt x="14477" y="3292"/>
                  </a:lnTo>
                  <a:lnTo>
                    <a:pt x="14494" y="3310"/>
                  </a:lnTo>
                  <a:lnTo>
                    <a:pt x="14512" y="3310"/>
                  </a:lnTo>
                  <a:lnTo>
                    <a:pt x="14529" y="3310"/>
                  </a:lnTo>
                  <a:lnTo>
                    <a:pt x="14538" y="3310"/>
                  </a:lnTo>
                  <a:lnTo>
                    <a:pt x="14556" y="3318"/>
                  </a:lnTo>
                  <a:lnTo>
                    <a:pt x="14565" y="3327"/>
                  </a:lnTo>
                  <a:lnTo>
                    <a:pt x="14574" y="3336"/>
                  </a:lnTo>
                  <a:lnTo>
                    <a:pt x="14574" y="3345"/>
                  </a:lnTo>
                  <a:lnTo>
                    <a:pt x="14538" y="3336"/>
                  </a:lnTo>
                  <a:lnTo>
                    <a:pt x="14503" y="3327"/>
                  </a:lnTo>
                  <a:lnTo>
                    <a:pt x="14494" y="3336"/>
                  </a:lnTo>
                  <a:lnTo>
                    <a:pt x="14485" y="3336"/>
                  </a:lnTo>
                  <a:lnTo>
                    <a:pt x="14485" y="3345"/>
                  </a:lnTo>
                  <a:lnTo>
                    <a:pt x="14477" y="3345"/>
                  </a:lnTo>
                  <a:lnTo>
                    <a:pt x="14468" y="3345"/>
                  </a:lnTo>
                  <a:lnTo>
                    <a:pt x="14459" y="3345"/>
                  </a:lnTo>
                  <a:lnTo>
                    <a:pt x="14450" y="3345"/>
                  </a:lnTo>
                  <a:lnTo>
                    <a:pt x="14450" y="3354"/>
                  </a:lnTo>
                  <a:lnTo>
                    <a:pt x="14441" y="3363"/>
                  </a:lnTo>
                  <a:lnTo>
                    <a:pt x="14432" y="3354"/>
                  </a:lnTo>
                  <a:lnTo>
                    <a:pt x="14424" y="3354"/>
                  </a:lnTo>
                  <a:lnTo>
                    <a:pt x="14415" y="3354"/>
                  </a:lnTo>
                  <a:lnTo>
                    <a:pt x="14415" y="3363"/>
                  </a:lnTo>
                  <a:lnTo>
                    <a:pt x="14424" y="3380"/>
                  </a:lnTo>
                  <a:lnTo>
                    <a:pt x="14415" y="3380"/>
                  </a:lnTo>
                  <a:lnTo>
                    <a:pt x="14415" y="3389"/>
                  </a:lnTo>
                  <a:lnTo>
                    <a:pt x="14406" y="3389"/>
                  </a:lnTo>
                  <a:lnTo>
                    <a:pt x="14371" y="3389"/>
                  </a:lnTo>
                  <a:lnTo>
                    <a:pt x="14335" y="3389"/>
                  </a:lnTo>
                  <a:lnTo>
                    <a:pt x="14327" y="3389"/>
                  </a:lnTo>
                  <a:lnTo>
                    <a:pt x="14318" y="3380"/>
                  </a:lnTo>
                  <a:lnTo>
                    <a:pt x="14300" y="3380"/>
                  </a:lnTo>
                  <a:lnTo>
                    <a:pt x="14256" y="3371"/>
                  </a:lnTo>
                  <a:lnTo>
                    <a:pt x="14238" y="3371"/>
                  </a:lnTo>
                  <a:lnTo>
                    <a:pt x="14229" y="3371"/>
                  </a:lnTo>
                  <a:lnTo>
                    <a:pt x="14229" y="3380"/>
                  </a:lnTo>
                  <a:lnTo>
                    <a:pt x="14185" y="3380"/>
                  </a:lnTo>
                  <a:lnTo>
                    <a:pt x="14168" y="3389"/>
                  </a:lnTo>
                  <a:lnTo>
                    <a:pt x="14150" y="3389"/>
                  </a:lnTo>
                  <a:lnTo>
                    <a:pt x="14132" y="3398"/>
                  </a:lnTo>
                  <a:lnTo>
                    <a:pt x="14124" y="3398"/>
                  </a:lnTo>
                  <a:lnTo>
                    <a:pt x="14124" y="3407"/>
                  </a:lnTo>
                  <a:lnTo>
                    <a:pt x="14106" y="3407"/>
                  </a:lnTo>
                  <a:lnTo>
                    <a:pt x="14097" y="3407"/>
                  </a:lnTo>
                  <a:lnTo>
                    <a:pt x="14080" y="3416"/>
                  </a:lnTo>
                  <a:lnTo>
                    <a:pt x="14088" y="3424"/>
                  </a:lnTo>
                  <a:lnTo>
                    <a:pt x="14080" y="3433"/>
                  </a:lnTo>
                  <a:lnTo>
                    <a:pt x="14088" y="3433"/>
                  </a:lnTo>
                  <a:lnTo>
                    <a:pt x="14080" y="3442"/>
                  </a:lnTo>
                  <a:lnTo>
                    <a:pt x="14088" y="3460"/>
                  </a:lnTo>
                  <a:lnTo>
                    <a:pt x="14097" y="3460"/>
                  </a:lnTo>
                  <a:lnTo>
                    <a:pt x="14088" y="3468"/>
                  </a:lnTo>
                  <a:lnTo>
                    <a:pt x="14088" y="3477"/>
                  </a:lnTo>
                  <a:lnTo>
                    <a:pt x="14088" y="3486"/>
                  </a:lnTo>
                  <a:lnTo>
                    <a:pt x="14097" y="3486"/>
                  </a:lnTo>
                  <a:lnTo>
                    <a:pt x="14097" y="3495"/>
                  </a:lnTo>
                  <a:lnTo>
                    <a:pt x="14106" y="3504"/>
                  </a:lnTo>
                  <a:lnTo>
                    <a:pt x="14124" y="3513"/>
                  </a:lnTo>
                  <a:lnTo>
                    <a:pt x="14132" y="3513"/>
                  </a:lnTo>
                  <a:lnTo>
                    <a:pt x="14141" y="3513"/>
                  </a:lnTo>
                  <a:lnTo>
                    <a:pt x="14150" y="3504"/>
                  </a:lnTo>
                  <a:lnTo>
                    <a:pt x="14159" y="3504"/>
                  </a:lnTo>
                  <a:lnTo>
                    <a:pt x="14159" y="3513"/>
                  </a:lnTo>
                  <a:lnTo>
                    <a:pt x="14159" y="3530"/>
                  </a:lnTo>
                  <a:lnTo>
                    <a:pt x="14141" y="3557"/>
                  </a:lnTo>
                  <a:lnTo>
                    <a:pt x="14141" y="3566"/>
                  </a:lnTo>
                  <a:lnTo>
                    <a:pt x="14150" y="3583"/>
                  </a:lnTo>
                  <a:lnTo>
                    <a:pt x="14150" y="3619"/>
                  </a:lnTo>
                  <a:lnTo>
                    <a:pt x="14150" y="3627"/>
                  </a:lnTo>
                  <a:lnTo>
                    <a:pt x="14141" y="3636"/>
                  </a:lnTo>
                  <a:lnTo>
                    <a:pt x="14124" y="3645"/>
                  </a:lnTo>
                  <a:lnTo>
                    <a:pt x="14115" y="3654"/>
                  </a:lnTo>
                  <a:lnTo>
                    <a:pt x="14097" y="3654"/>
                  </a:lnTo>
                  <a:lnTo>
                    <a:pt x="14071" y="3645"/>
                  </a:lnTo>
                  <a:lnTo>
                    <a:pt x="14062" y="3619"/>
                  </a:lnTo>
                  <a:lnTo>
                    <a:pt x="14053" y="3610"/>
                  </a:lnTo>
                  <a:lnTo>
                    <a:pt x="14018" y="3583"/>
                  </a:lnTo>
                  <a:lnTo>
                    <a:pt x="14018" y="3574"/>
                  </a:lnTo>
                  <a:lnTo>
                    <a:pt x="13991" y="3583"/>
                  </a:lnTo>
                  <a:lnTo>
                    <a:pt x="13974" y="3583"/>
                  </a:lnTo>
                  <a:lnTo>
                    <a:pt x="13956" y="3592"/>
                  </a:lnTo>
                  <a:lnTo>
                    <a:pt x="13938" y="3619"/>
                  </a:lnTo>
                  <a:lnTo>
                    <a:pt x="13930" y="3627"/>
                  </a:lnTo>
                  <a:lnTo>
                    <a:pt x="13930" y="3636"/>
                  </a:lnTo>
                  <a:lnTo>
                    <a:pt x="13930" y="3645"/>
                  </a:lnTo>
                  <a:lnTo>
                    <a:pt x="13921" y="3654"/>
                  </a:lnTo>
                  <a:lnTo>
                    <a:pt x="13903" y="3671"/>
                  </a:lnTo>
                  <a:lnTo>
                    <a:pt x="13903" y="3689"/>
                  </a:lnTo>
                  <a:lnTo>
                    <a:pt x="13903" y="3724"/>
                  </a:lnTo>
                  <a:lnTo>
                    <a:pt x="13903" y="3751"/>
                  </a:lnTo>
                  <a:lnTo>
                    <a:pt x="13903" y="3777"/>
                  </a:lnTo>
                  <a:lnTo>
                    <a:pt x="13912" y="3795"/>
                  </a:lnTo>
                  <a:lnTo>
                    <a:pt x="13921" y="3813"/>
                  </a:lnTo>
                  <a:lnTo>
                    <a:pt x="13912" y="3822"/>
                  </a:lnTo>
                  <a:lnTo>
                    <a:pt x="13921" y="3830"/>
                  </a:lnTo>
                  <a:lnTo>
                    <a:pt x="13921" y="3848"/>
                  </a:lnTo>
                  <a:lnTo>
                    <a:pt x="13912" y="3866"/>
                  </a:lnTo>
                  <a:lnTo>
                    <a:pt x="13903" y="3866"/>
                  </a:lnTo>
                  <a:lnTo>
                    <a:pt x="13894" y="3866"/>
                  </a:lnTo>
                  <a:lnTo>
                    <a:pt x="13885" y="3866"/>
                  </a:lnTo>
                  <a:lnTo>
                    <a:pt x="13877" y="3866"/>
                  </a:lnTo>
                  <a:lnTo>
                    <a:pt x="13868" y="3857"/>
                  </a:lnTo>
                  <a:lnTo>
                    <a:pt x="13894" y="3839"/>
                  </a:lnTo>
                  <a:lnTo>
                    <a:pt x="13903" y="3822"/>
                  </a:lnTo>
                  <a:lnTo>
                    <a:pt x="13912" y="3804"/>
                  </a:lnTo>
                  <a:lnTo>
                    <a:pt x="13912" y="3795"/>
                  </a:lnTo>
                  <a:lnTo>
                    <a:pt x="13903" y="3795"/>
                  </a:lnTo>
                  <a:lnTo>
                    <a:pt x="13903" y="3813"/>
                  </a:lnTo>
                  <a:lnTo>
                    <a:pt x="13894" y="3830"/>
                  </a:lnTo>
                  <a:lnTo>
                    <a:pt x="13885" y="3830"/>
                  </a:lnTo>
                  <a:lnTo>
                    <a:pt x="13877" y="3848"/>
                  </a:lnTo>
                  <a:lnTo>
                    <a:pt x="13868" y="3857"/>
                  </a:lnTo>
                  <a:lnTo>
                    <a:pt x="13859" y="3866"/>
                  </a:lnTo>
                  <a:lnTo>
                    <a:pt x="13832" y="3866"/>
                  </a:lnTo>
                  <a:lnTo>
                    <a:pt x="13824" y="3866"/>
                  </a:lnTo>
                  <a:lnTo>
                    <a:pt x="13824" y="3874"/>
                  </a:lnTo>
                  <a:lnTo>
                    <a:pt x="13824" y="3883"/>
                  </a:lnTo>
                  <a:lnTo>
                    <a:pt x="13815" y="3892"/>
                  </a:lnTo>
                  <a:lnTo>
                    <a:pt x="13806" y="3901"/>
                  </a:lnTo>
                  <a:lnTo>
                    <a:pt x="13797" y="3910"/>
                  </a:lnTo>
                  <a:lnTo>
                    <a:pt x="13797" y="3919"/>
                  </a:lnTo>
                  <a:lnTo>
                    <a:pt x="13780" y="3919"/>
                  </a:lnTo>
                  <a:lnTo>
                    <a:pt x="13753" y="3927"/>
                  </a:lnTo>
                  <a:lnTo>
                    <a:pt x="13744" y="3919"/>
                  </a:lnTo>
                  <a:lnTo>
                    <a:pt x="13727" y="3919"/>
                  </a:lnTo>
                  <a:lnTo>
                    <a:pt x="13727" y="3910"/>
                  </a:lnTo>
                  <a:lnTo>
                    <a:pt x="13709" y="3883"/>
                  </a:lnTo>
                  <a:lnTo>
                    <a:pt x="13718" y="3883"/>
                  </a:lnTo>
                  <a:lnTo>
                    <a:pt x="13727" y="3892"/>
                  </a:lnTo>
                  <a:lnTo>
                    <a:pt x="13735" y="3892"/>
                  </a:lnTo>
                  <a:lnTo>
                    <a:pt x="13718" y="3883"/>
                  </a:lnTo>
                  <a:lnTo>
                    <a:pt x="13700" y="3874"/>
                  </a:lnTo>
                  <a:lnTo>
                    <a:pt x="13682" y="3874"/>
                  </a:lnTo>
                  <a:lnTo>
                    <a:pt x="13665" y="3874"/>
                  </a:lnTo>
                  <a:lnTo>
                    <a:pt x="13630" y="3883"/>
                  </a:lnTo>
                  <a:lnTo>
                    <a:pt x="13603" y="3892"/>
                  </a:lnTo>
                  <a:lnTo>
                    <a:pt x="13594" y="3901"/>
                  </a:lnTo>
                  <a:lnTo>
                    <a:pt x="13577" y="3901"/>
                  </a:lnTo>
                  <a:lnTo>
                    <a:pt x="13559" y="3919"/>
                  </a:lnTo>
                  <a:lnTo>
                    <a:pt x="13550" y="3919"/>
                  </a:lnTo>
                  <a:lnTo>
                    <a:pt x="13550" y="3927"/>
                  </a:lnTo>
                  <a:lnTo>
                    <a:pt x="13533" y="3936"/>
                  </a:lnTo>
                  <a:lnTo>
                    <a:pt x="13524" y="3936"/>
                  </a:lnTo>
                  <a:lnTo>
                    <a:pt x="13480" y="3945"/>
                  </a:lnTo>
                  <a:lnTo>
                    <a:pt x="13435" y="3954"/>
                  </a:lnTo>
                  <a:lnTo>
                    <a:pt x="13418" y="3963"/>
                  </a:lnTo>
                  <a:lnTo>
                    <a:pt x="13400" y="3963"/>
                  </a:lnTo>
                  <a:lnTo>
                    <a:pt x="13391" y="3954"/>
                  </a:lnTo>
                  <a:lnTo>
                    <a:pt x="13374" y="3945"/>
                  </a:lnTo>
                  <a:lnTo>
                    <a:pt x="13374" y="3954"/>
                  </a:lnTo>
                  <a:lnTo>
                    <a:pt x="13383" y="3963"/>
                  </a:lnTo>
                  <a:lnTo>
                    <a:pt x="13383" y="3972"/>
                  </a:lnTo>
                  <a:lnTo>
                    <a:pt x="13391" y="3972"/>
                  </a:lnTo>
                  <a:lnTo>
                    <a:pt x="13400" y="3972"/>
                  </a:lnTo>
                  <a:lnTo>
                    <a:pt x="13409" y="3972"/>
                  </a:lnTo>
                  <a:lnTo>
                    <a:pt x="13427" y="3980"/>
                  </a:lnTo>
                  <a:lnTo>
                    <a:pt x="13427" y="3989"/>
                  </a:lnTo>
                  <a:lnTo>
                    <a:pt x="13427" y="3998"/>
                  </a:lnTo>
                  <a:lnTo>
                    <a:pt x="13418" y="3989"/>
                  </a:lnTo>
                  <a:lnTo>
                    <a:pt x="13400" y="3989"/>
                  </a:lnTo>
                  <a:lnTo>
                    <a:pt x="13391" y="3980"/>
                  </a:lnTo>
                  <a:lnTo>
                    <a:pt x="13383" y="3980"/>
                  </a:lnTo>
                  <a:lnTo>
                    <a:pt x="13374" y="3972"/>
                  </a:lnTo>
                  <a:lnTo>
                    <a:pt x="13374" y="3954"/>
                  </a:lnTo>
                  <a:lnTo>
                    <a:pt x="13365" y="3945"/>
                  </a:lnTo>
                  <a:lnTo>
                    <a:pt x="13347" y="3945"/>
                  </a:lnTo>
                  <a:lnTo>
                    <a:pt x="13321" y="3927"/>
                  </a:lnTo>
                  <a:lnTo>
                    <a:pt x="13312" y="3919"/>
                  </a:lnTo>
                  <a:lnTo>
                    <a:pt x="13303" y="3919"/>
                  </a:lnTo>
                  <a:lnTo>
                    <a:pt x="13294" y="3910"/>
                  </a:lnTo>
                  <a:lnTo>
                    <a:pt x="13285" y="3910"/>
                  </a:lnTo>
                  <a:lnTo>
                    <a:pt x="13268" y="3927"/>
                  </a:lnTo>
                  <a:lnTo>
                    <a:pt x="13259" y="3927"/>
                  </a:lnTo>
                  <a:lnTo>
                    <a:pt x="13250" y="3936"/>
                  </a:lnTo>
                  <a:lnTo>
                    <a:pt x="13250" y="3945"/>
                  </a:lnTo>
                  <a:lnTo>
                    <a:pt x="13224" y="3945"/>
                  </a:lnTo>
                  <a:lnTo>
                    <a:pt x="13215" y="3945"/>
                  </a:lnTo>
                  <a:lnTo>
                    <a:pt x="13198" y="3963"/>
                  </a:lnTo>
                  <a:lnTo>
                    <a:pt x="13172" y="3954"/>
                  </a:lnTo>
                  <a:lnTo>
                    <a:pt x="13163" y="3963"/>
                  </a:lnTo>
                  <a:lnTo>
                    <a:pt x="13154" y="3954"/>
                  </a:lnTo>
                  <a:lnTo>
                    <a:pt x="13163" y="3945"/>
                  </a:lnTo>
                  <a:lnTo>
                    <a:pt x="13172" y="3927"/>
                  </a:lnTo>
                  <a:lnTo>
                    <a:pt x="13163" y="3919"/>
                  </a:lnTo>
                  <a:lnTo>
                    <a:pt x="13145" y="3927"/>
                  </a:lnTo>
                  <a:lnTo>
                    <a:pt x="13119" y="3919"/>
                  </a:lnTo>
                  <a:lnTo>
                    <a:pt x="13110" y="3919"/>
                  </a:lnTo>
                  <a:lnTo>
                    <a:pt x="13101" y="3910"/>
                  </a:lnTo>
                  <a:lnTo>
                    <a:pt x="13084" y="3910"/>
                  </a:lnTo>
                  <a:lnTo>
                    <a:pt x="13092" y="3910"/>
                  </a:lnTo>
                  <a:lnTo>
                    <a:pt x="13092" y="3901"/>
                  </a:lnTo>
                  <a:lnTo>
                    <a:pt x="13092" y="3892"/>
                  </a:lnTo>
                  <a:lnTo>
                    <a:pt x="13092" y="3883"/>
                  </a:lnTo>
                  <a:lnTo>
                    <a:pt x="13084" y="3883"/>
                  </a:lnTo>
                  <a:lnTo>
                    <a:pt x="13075" y="3874"/>
                  </a:lnTo>
                  <a:lnTo>
                    <a:pt x="13075" y="3866"/>
                  </a:lnTo>
                  <a:lnTo>
                    <a:pt x="13075" y="3857"/>
                  </a:lnTo>
                  <a:lnTo>
                    <a:pt x="13066" y="3857"/>
                  </a:lnTo>
                  <a:lnTo>
                    <a:pt x="13057" y="3857"/>
                  </a:lnTo>
                  <a:lnTo>
                    <a:pt x="13057" y="3848"/>
                  </a:lnTo>
                  <a:lnTo>
                    <a:pt x="13066" y="3839"/>
                  </a:lnTo>
                  <a:lnTo>
                    <a:pt x="13066" y="3830"/>
                  </a:lnTo>
                  <a:lnTo>
                    <a:pt x="13066" y="3822"/>
                  </a:lnTo>
                  <a:lnTo>
                    <a:pt x="13066" y="3813"/>
                  </a:lnTo>
                  <a:lnTo>
                    <a:pt x="13066" y="3804"/>
                  </a:lnTo>
                  <a:lnTo>
                    <a:pt x="13075" y="3795"/>
                  </a:lnTo>
                  <a:lnTo>
                    <a:pt x="13084" y="3786"/>
                  </a:lnTo>
                  <a:lnTo>
                    <a:pt x="13092" y="3786"/>
                  </a:lnTo>
                  <a:lnTo>
                    <a:pt x="13092" y="3777"/>
                  </a:lnTo>
                  <a:lnTo>
                    <a:pt x="13084" y="3769"/>
                  </a:lnTo>
                  <a:lnTo>
                    <a:pt x="13092" y="3769"/>
                  </a:lnTo>
                  <a:lnTo>
                    <a:pt x="13101" y="3769"/>
                  </a:lnTo>
                  <a:lnTo>
                    <a:pt x="13110" y="3769"/>
                  </a:lnTo>
                  <a:lnTo>
                    <a:pt x="13110" y="3751"/>
                  </a:lnTo>
                  <a:lnTo>
                    <a:pt x="13119" y="3733"/>
                  </a:lnTo>
                  <a:lnTo>
                    <a:pt x="13119" y="3724"/>
                  </a:lnTo>
                  <a:lnTo>
                    <a:pt x="13128" y="3724"/>
                  </a:lnTo>
                  <a:lnTo>
                    <a:pt x="13137" y="3733"/>
                  </a:lnTo>
                  <a:lnTo>
                    <a:pt x="13145" y="3733"/>
                  </a:lnTo>
                  <a:lnTo>
                    <a:pt x="13154" y="3724"/>
                  </a:lnTo>
                  <a:lnTo>
                    <a:pt x="13163" y="3716"/>
                  </a:lnTo>
                  <a:lnTo>
                    <a:pt x="13163" y="3707"/>
                  </a:lnTo>
                  <a:lnTo>
                    <a:pt x="13154" y="3707"/>
                  </a:lnTo>
                  <a:lnTo>
                    <a:pt x="13154" y="3698"/>
                  </a:lnTo>
                  <a:lnTo>
                    <a:pt x="13128" y="3698"/>
                  </a:lnTo>
                  <a:lnTo>
                    <a:pt x="13119" y="3698"/>
                  </a:lnTo>
                  <a:lnTo>
                    <a:pt x="13110" y="3689"/>
                  </a:lnTo>
                  <a:lnTo>
                    <a:pt x="13119" y="3671"/>
                  </a:lnTo>
                  <a:lnTo>
                    <a:pt x="13110" y="3671"/>
                  </a:lnTo>
                  <a:lnTo>
                    <a:pt x="13119" y="3654"/>
                  </a:lnTo>
                  <a:lnTo>
                    <a:pt x="13119" y="3645"/>
                  </a:lnTo>
                  <a:lnTo>
                    <a:pt x="13128" y="3636"/>
                  </a:lnTo>
                  <a:lnTo>
                    <a:pt x="13128" y="3627"/>
                  </a:lnTo>
                  <a:lnTo>
                    <a:pt x="13128" y="3610"/>
                  </a:lnTo>
                  <a:lnTo>
                    <a:pt x="13137" y="3601"/>
                  </a:lnTo>
                  <a:lnTo>
                    <a:pt x="13128" y="3592"/>
                  </a:lnTo>
                  <a:lnTo>
                    <a:pt x="13128" y="3583"/>
                  </a:lnTo>
                  <a:lnTo>
                    <a:pt x="13137" y="3574"/>
                  </a:lnTo>
                  <a:lnTo>
                    <a:pt x="13128" y="3574"/>
                  </a:lnTo>
                  <a:lnTo>
                    <a:pt x="13110" y="3583"/>
                  </a:lnTo>
                  <a:lnTo>
                    <a:pt x="13092" y="3592"/>
                  </a:lnTo>
                  <a:lnTo>
                    <a:pt x="13084" y="3601"/>
                  </a:lnTo>
                  <a:lnTo>
                    <a:pt x="13057" y="3627"/>
                  </a:lnTo>
                  <a:lnTo>
                    <a:pt x="13048" y="3636"/>
                  </a:lnTo>
                  <a:lnTo>
                    <a:pt x="13039" y="3636"/>
                  </a:lnTo>
                  <a:lnTo>
                    <a:pt x="13022" y="3636"/>
                  </a:lnTo>
                  <a:lnTo>
                    <a:pt x="13013" y="3636"/>
                  </a:lnTo>
                  <a:lnTo>
                    <a:pt x="13004" y="3636"/>
                  </a:lnTo>
                  <a:lnTo>
                    <a:pt x="12995" y="3636"/>
                  </a:lnTo>
                  <a:lnTo>
                    <a:pt x="12978" y="3654"/>
                  </a:lnTo>
                  <a:lnTo>
                    <a:pt x="12969" y="3663"/>
                  </a:lnTo>
                  <a:lnTo>
                    <a:pt x="12969" y="3671"/>
                  </a:lnTo>
                  <a:lnTo>
                    <a:pt x="12969" y="3680"/>
                  </a:lnTo>
                  <a:lnTo>
                    <a:pt x="12978" y="3689"/>
                  </a:lnTo>
                  <a:lnTo>
                    <a:pt x="12987" y="3680"/>
                  </a:lnTo>
                  <a:lnTo>
                    <a:pt x="13004" y="3680"/>
                  </a:lnTo>
                  <a:lnTo>
                    <a:pt x="13013" y="3663"/>
                  </a:lnTo>
                  <a:lnTo>
                    <a:pt x="13022" y="3645"/>
                  </a:lnTo>
                  <a:lnTo>
                    <a:pt x="13031" y="3645"/>
                  </a:lnTo>
                  <a:lnTo>
                    <a:pt x="13039" y="3645"/>
                  </a:lnTo>
                  <a:lnTo>
                    <a:pt x="13031" y="3671"/>
                  </a:lnTo>
                  <a:lnTo>
                    <a:pt x="13031" y="3680"/>
                  </a:lnTo>
                  <a:lnTo>
                    <a:pt x="13022" y="3671"/>
                  </a:lnTo>
                  <a:lnTo>
                    <a:pt x="13013" y="3680"/>
                  </a:lnTo>
                  <a:lnTo>
                    <a:pt x="13004" y="3689"/>
                  </a:lnTo>
                  <a:lnTo>
                    <a:pt x="12995" y="3698"/>
                  </a:lnTo>
                  <a:lnTo>
                    <a:pt x="12995" y="3707"/>
                  </a:lnTo>
                  <a:lnTo>
                    <a:pt x="12987" y="3698"/>
                  </a:lnTo>
                  <a:lnTo>
                    <a:pt x="12978" y="3698"/>
                  </a:lnTo>
                  <a:lnTo>
                    <a:pt x="12969" y="3689"/>
                  </a:lnTo>
                  <a:lnTo>
                    <a:pt x="12960" y="3689"/>
                  </a:lnTo>
                  <a:lnTo>
                    <a:pt x="12951" y="3724"/>
                  </a:lnTo>
                  <a:lnTo>
                    <a:pt x="12951" y="3742"/>
                  </a:lnTo>
                  <a:lnTo>
                    <a:pt x="12960" y="3760"/>
                  </a:lnTo>
                  <a:lnTo>
                    <a:pt x="12960" y="3769"/>
                  </a:lnTo>
                  <a:lnTo>
                    <a:pt x="12951" y="3795"/>
                  </a:lnTo>
                  <a:lnTo>
                    <a:pt x="12969" y="3804"/>
                  </a:lnTo>
                  <a:lnTo>
                    <a:pt x="12995" y="3813"/>
                  </a:lnTo>
                  <a:lnTo>
                    <a:pt x="12995" y="3822"/>
                  </a:lnTo>
                  <a:lnTo>
                    <a:pt x="12995" y="3839"/>
                  </a:lnTo>
                  <a:lnTo>
                    <a:pt x="12987" y="3848"/>
                  </a:lnTo>
                  <a:lnTo>
                    <a:pt x="12995" y="3857"/>
                  </a:lnTo>
                  <a:lnTo>
                    <a:pt x="12995" y="3883"/>
                  </a:lnTo>
                  <a:lnTo>
                    <a:pt x="13004" y="3892"/>
                  </a:lnTo>
                  <a:lnTo>
                    <a:pt x="13013" y="3901"/>
                  </a:lnTo>
                  <a:lnTo>
                    <a:pt x="13013" y="3910"/>
                  </a:lnTo>
                  <a:lnTo>
                    <a:pt x="13004" y="3919"/>
                  </a:lnTo>
                  <a:lnTo>
                    <a:pt x="12995" y="3919"/>
                  </a:lnTo>
                  <a:lnTo>
                    <a:pt x="12995" y="3927"/>
                  </a:lnTo>
                  <a:lnTo>
                    <a:pt x="13004" y="3927"/>
                  </a:lnTo>
                  <a:lnTo>
                    <a:pt x="13013" y="3936"/>
                  </a:lnTo>
                  <a:lnTo>
                    <a:pt x="13013" y="3963"/>
                  </a:lnTo>
                  <a:lnTo>
                    <a:pt x="13022" y="3963"/>
                  </a:lnTo>
                  <a:lnTo>
                    <a:pt x="13022" y="3972"/>
                  </a:lnTo>
                  <a:lnTo>
                    <a:pt x="13039" y="3972"/>
                  </a:lnTo>
                  <a:lnTo>
                    <a:pt x="13066" y="3998"/>
                  </a:lnTo>
                  <a:lnTo>
                    <a:pt x="13075" y="4007"/>
                  </a:lnTo>
                  <a:lnTo>
                    <a:pt x="13066" y="4007"/>
                  </a:lnTo>
                  <a:lnTo>
                    <a:pt x="13066" y="3998"/>
                  </a:lnTo>
                  <a:lnTo>
                    <a:pt x="13039" y="3980"/>
                  </a:lnTo>
                  <a:lnTo>
                    <a:pt x="13031" y="3972"/>
                  </a:lnTo>
                  <a:lnTo>
                    <a:pt x="13013" y="3972"/>
                  </a:lnTo>
                  <a:lnTo>
                    <a:pt x="12995" y="3972"/>
                  </a:lnTo>
                  <a:lnTo>
                    <a:pt x="12987" y="3972"/>
                  </a:lnTo>
                  <a:lnTo>
                    <a:pt x="12987" y="3980"/>
                  </a:lnTo>
                  <a:lnTo>
                    <a:pt x="12987" y="3989"/>
                  </a:lnTo>
                  <a:lnTo>
                    <a:pt x="12987" y="4007"/>
                  </a:lnTo>
                  <a:lnTo>
                    <a:pt x="12987" y="4016"/>
                  </a:lnTo>
                  <a:lnTo>
                    <a:pt x="12978" y="4007"/>
                  </a:lnTo>
                  <a:lnTo>
                    <a:pt x="12969" y="3998"/>
                  </a:lnTo>
                  <a:lnTo>
                    <a:pt x="12969" y="4007"/>
                  </a:lnTo>
                  <a:lnTo>
                    <a:pt x="12960" y="4016"/>
                  </a:lnTo>
                  <a:lnTo>
                    <a:pt x="12951" y="4016"/>
                  </a:lnTo>
                  <a:lnTo>
                    <a:pt x="12960" y="4007"/>
                  </a:lnTo>
                  <a:lnTo>
                    <a:pt x="12942" y="3989"/>
                  </a:lnTo>
                  <a:lnTo>
                    <a:pt x="12916" y="3989"/>
                  </a:lnTo>
                  <a:lnTo>
                    <a:pt x="12889" y="3989"/>
                  </a:lnTo>
                  <a:lnTo>
                    <a:pt x="12889" y="3998"/>
                  </a:lnTo>
                  <a:lnTo>
                    <a:pt x="12881" y="4007"/>
                  </a:lnTo>
                  <a:lnTo>
                    <a:pt x="12881" y="4016"/>
                  </a:lnTo>
                  <a:lnTo>
                    <a:pt x="12881" y="4024"/>
                  </a:lnTo>
                  <a:lnTo>
                    <a:pt x="12889" y="4033"/>
                  </a:lnTo>
                  <a:lnTo>
                    <a:pt x="12881" y="4033"/>
                  </a:lnTo>
                  <a:lnTo>
                    <a:pt x="12872" y="4024"/>
                  </a:lnTo>
                  <a:lnTo>
                    <a:pt x="12863" y="4024"/>
                  </a:lnTo>
                  <a:lnTo>
                    <a:pt x="12863" y="4016"/>
                  </a:lnTo>
                  <a:lnTo>
                    <a:pt x="12837" y="4016"/>
                  </a:lnTo>
                  <a:lnTo>
                    <a:pt x="12828" y="4016"/>
                  </a:lnTo>
                  <a:lnTo>
                    <a:pt x="12801" y="4016"/>
                  </a:lnTo>
                  <a:lnTo>
                    <a:pt x="12792" y="4024"/>
                  </a:lnTo>
                  <a:lnTo>
                    <a:pt x="12766" y="4033"/>
                  </a:lnTo>
                  <a:lnTo>
                    <a:pt x="12757" y="4042"/>
                  </a:lnTo>
                  <a:lnTo>
                    <a:pt x="12748" y="4051"/>
                  </a:lnTo>
                  <a:lnTo>
                    <a:pt x="12731" y="4060"/>
                  </a:lnTo>
                  <a:lnTo>
                    <a:pt x="12713" y="4069"/>
                  </a:lnTo>
                  <a:lnTo>
                    <a:pt x="12704" y="4069"/>
                  </a:lnTo>
                  <a:lnTo>
                    <a:pt x="12704" y="4077"/>
                  </a:lnTo>
                  <a:lnTo>
                    <a:pt x="12695" y="4113"/>
                  </a:lnTo>
                  <a:lnTo>
                    <a:pt x="12687" y="4130"/>
                  </a:lnTo>
                  <a:lnTo>
                    <a:pt x="12678" y="4139"/>
                  </a:lnTo>
                  <a:lnTo>
                    <a:pt x="12669" y="4148"/>
                  </a:lnTo>
                  <a:lnTo>
                    <a:pt x="12660" y="4157"/>
                  </a:lnTo>
                  <a:lnTo>
                    <a:pt x="12651" y="4166"/>
                  </a:lnTo>
                  <a:lnTo>
                    <a:pt x="12651" y="4175"/>
                  </a:lnTo>
                  <a:lnTo>
                    <a:pt x="12660" y="4192"/>
                  </a:lnTo>
                  <a:lnTo>
                    <a:pt x="12669" y="4192"/>
                  </a:lnTo>
                  <a:lnTo>
                    <a:pt x="12651" y="4201"/>
                  </a:lnTo>
                  <a:lnTo>
                    <a:pt x="12660" y="4201"/>
                  </a:lnTo>
                  <a:lnTo>
                    <a:pt x="12669" y="4201"/>
                  </a:lnTo>
                  <a:lnTo>
                    <a:pt x="12669" y="4210"/>
                  </a:lnTo>
                  <a:lnTo>
                    <a:pt x="12660" y="4210"/>
                  </a:lnTo>
                  <a:lnTo>
                    <a:pt x="12642" y="4201"/>
                  </a:lnTo>
                  <a:lnTo>
                    <a:pt x="12634" y="4201"/>
                  </a:lnTo>
                  <a:lnTo>
                    <a:pt x="12616" y="4201"/>
                  </a:lnTo>
                  <a:lnTo>
                    <a:pt x="12607" y="4201"/>
                  </a:lnTo>
                  <a:lnTo>
                    <a:pt x="12616" y="4210"/>
                  </a:lnTo>
                  <a:lnTo>
                    <a:pt x="12625" y="4210"/>
                  </a:lnTo>
                  <a:lnTo>
                    <a:pt x="12634" y="4210"/>
                  </a:lnTo>
                  <a:lnTo>
                    <a:pt x="12642" y="4219"/>
                  </a:lnTo>
                  <a:lnTo>
                    <a:pt x="12651" y="4210"/>
                  </a:lnTo>
                  <a:lnTo>
                    <a:pt x="12660" y="4219"/>
                  </a:lnTo>
                  <a:lnTo>
                    <a:pt x="12669" y="4219"/>
                  </a:lnTo>
                  <a:lnTo>
                    <a:pt x="12660" y="4219"/>
                  </a:lnTo>
                  <a:lnTo>
                    <a:pt x="12651" y="4219"/>
                  </a:lnTo>
                  <a:lnTo>
                    <a:pt x="12642" y="4219"/>
                  </a:lnTo>
                  <a:lnTo>
                    <a:pt x="12634" y="4219"/>
                  </a:lnTo>
                  <a:lnTo>
                    <a:pt x="12625" y="4219"/>
                  </a:lnTo>
                  <a:lnTo>
                    <a:pt x="12607" y="4219"/>
                  </a:lnTo>
                  <a:lnTo>
                    <a:pt x="12598" y="4219"/>
                  </a:lnTo>
                  <a:lnTo>
                    <a:pt x="12572" y="4227"/>
                  </a:lnTo>
                  <a:lnTo>
                    <a:pt x="12545" y="4245"/>
                  </a:lnTo>
                  <a:lnTo>
                    <a:pt x="12537" y="4245"/>
                  </a:lnTo>
                  <a:lnTo>
                    <a:pt x="12501" y="4254"/>
                  </a:lnTo>
                  <a:lnTo>
                    <a:pt x="12484" y="4263"/>
                  </a:lnTo>
                  <a:lnTo>
                    <a:pt x="12475" y="4272"/>
                  </a:lnTo>
                  <a:lnTo>
                    <a:pt x="12475" y="4280"/>
                  </a:lnTo>
                  <a:lnTo>
                    <a:pt x="12475" y="4325"/>
                  </a:lnTo>
                  <a:lnTo>
                    <a:pt x="12475" y="4333"/>
                  </a:lnTo>
                  <a:lnTo>
                    <a:pt x="12466" y="4333"/>
                  </a:lnTo>
                  <a:lnTo>
                    <a:pt x="12457" y="4342"/>
                  </a:lnTo>
                  <a:lnTo>
                    <a:pt x="12448" y="4351"/>
                  </a:lnTo>
                  <a:lnTo>
                    <a:pt x="12422" y="4360"/>
                  </a:lnTo>
                  <a:lnTo>
                    <a:pt x="12404" y="4369"/>
                  </a:lnTo>
                  <a:lnTo>
                    <a:pt x="12369" y="4378"/>
                  </a:lnTo>
                  <a:lnTo>
                    <a:pt x="12369" y="4386"/>
                  </a:lnTo>
                  <a:lnTo>
                    <a:pt x="12369" y="4395"/>
                  </a:lnTo>
                  <a:lnTo>
                    <a:pt x="12378" y="4404"/>
                  </a:lnTo>
                  <a:lnTo>
                    <a:pt x="12387" y="4404"/>
                  </a:lnTo>
                  <a:lnTo>
                    <a:pt x="12369" y="4413"/>
                  </a:lnTo>
                  <a:lnTo>
                    <a:pt x="12360" y="4413"/>
                  </a:lnTo>
                  <a:lnTo>
                    <a:pt x="12342" y="4422"/>
                  </a:lnTo>
                  <a:lnTo>
                    <a:pt x="12316" y="4413"/>
                  </a:lnTo>
                  <a:lnTo>
                    <a:pt x="12298" y="4413"/>
                  </a:lnTo>
                  <a:lnTo>
                    <a:pt x="12290" y="4413"/>
                  </a:lnTo>
                  <a:lnTo>
                    <a:pt x="12272" y="4413"/>
                  </a:lnTo>
                  <a:lnTo>
                    <a:pt x="12272" y="4404"/>
                  </a:lnTo>
                  <a:lnTo>
                    <a:pt x="12263" y="4404"/>
                  </a:lnTo>
                  <a:lnTo>
                    <a:pt x="12263" y="4395"/>
                  </a:lnTo>
                  <a:lnTo>
                    <a:pt x="12263" y="4386"/>
                  </a:lnTo>
                  <a:lnTo>
                    <a:pt x="12254" y="4378"/>
                  </a:lnTo>
                  <a:lnTo>
                    <a:pt x="12245" y="4386"/>
                  </a:lnTo>
                  <a:lnTo>
                    <a:pt x="12237" y="4386"/>
                  </a:lnTo>
                  <a:lnTo>
                    <a:pt x="12219" y="4386"/>
                  </a:lnTo>
                  <a:lnTo>
                    <a:pt x="12219" y="4395"/>
                  </a:lnTo>
                  <a:lnTo>
                    <a:pt x="12228" y="4404"/>
                  </a:lnTo>
                  <a:lnTo>
                    <a:pt x="12237" y="4422"/>
                  </a:lnTo>
                  <a:lnTo>
                    <a:pt x="12245" y="4430"/>
                  </a:lnTo>
                  <a:lnTo>
                    <a:pt x="12245" y="4466"/>
                  </a:lnTo>
                  <a:lnTo>
                    <a:pt x="12245" y="4475"/>
                  </a:lnTo>
                  <a:lnTo>
                    <a:pt x="12254" y="4483"/>
                  </a:lnTo>
                  <a:lnTo>
                    <a:pt x="12228" y="4483"/>
                  </a:lnTo>
                  <a:lnTo>
                    <a:pt x="12219" y="4475"/>
                  </a:lnTo>
                  <a:lnTo>
                    <a:pt x="12210" y="4483"/>
                  </a:lnTo>
                  <a:lnTo>
                    <a:pt x="12201" y="4483"/>
                  </a:lnTo>
                  <a:lnTo>
                    <a:pt x="12175" y="4483"/>
                  </a:lnTo>
                  <a:lnTo>
                    <a:pt x="12157" y="4492"/>
                  </a:lnTo>
                  <a:lnTo>
                    <a:pt x="12148" y="4483"/>
                  </a:lnTo>
                  <a:lnTo>
                    <a:pt x="12140" y="4466"/>
                  </a:lnTo>
                  <a:lnTo>
                    <a:pt x="12122" y="4466"/>
                  </a:lnTo>
                  <a:lnTo>
                    <a:pt x="12104" y="4466"/>
                  </a:lnTo>
                  <a:lnTo>
                    <a:pt x="12095" y="4466"/>
                  </a:lnTo>
                  <a:lnTo>
                    <a:pt x="12087" y="4475"/>
                  </a:lnTo>
                  <a:lnTo>
                    <a:pt x="12078" y="4475"/>
                  </a:lnTo>
                  <a:lnTo>
                    <a:pt x="12060" y="4475"/>
                  </a:lnTo>
                  <a:lnTo>
                    <a:pt x="12025" y="4483"/>
                  </a:lnTo>
                  <a:lnTo>
                    <a:pt x="12007" y="4492"/>
                  </a:lnTo>
                  <a:lnTo>
                    <a:pt x="12007" y="4501"/>
                  </a:lnTo>
                  <a:lnTo>
                    <a:pt x="12007" y="4510"/>
                  </a:lnTo>
                  <a:lnTo>
                    <a:pt x="12025" y="4510"/>
                  </a:lnTo>
                  <a:lnTo>
                    <a:pt x="12034" y="4510"/>
                  </a:lnTo>
                  <a:lnTo>
                    <a:pt x="12043" y="4510"/>
                  </a:lnTo>
                  <a:lnTo>
                    <a:pt x="12034" y="4519"/>
                  </a:lnTo>
                  <a:lnTo>
                    <a:pt x="12025" y="4510"/>
                  </a:lnTo>
                  <a:lnTo>
                    <a:pt x="12025" y="4519"/>
                  </a:lnTo>
                  <a:lnTo>
                    <a:pt x="12034" y="4519"/>
                  </a:lnTo>
                  <a:lnTo>
                    <a:pt x="12043" y="4528"/>
                  </a:lnTo>
                  <a:lnTo>
                    <a:pt x="12034" y="4528"/>
                  </a:lnTo>
                  <a:lnTo>
                    <a:pt x="12025" y="4536"/>
                  </a:lnTo>
                  <a:lnTo>
                    <a:pt x="12016" y="4536"/>
                  </a:lnTo>
                  <a:lnTo>
                    <a:pt x="12034" y="4545"/>
                  </a:lnTo>
                  <a:lnTo>
                    <a:pt x="12034" y="4554"/>
                  </a:lnTo>
                  <a:lnTo>
                    <a:pt x="12043" y="4563"/>
                  </a:lnTo>
                  <a:lnTo>
                    <a:pt x="12051" y="4563"/>
                  </a:lnTo>
                  <a:lnTo>
                    <a:pt x="12060" y="4554"/>
                  </a:lnTo>
                  <a:lnTo>
                    <a:pt x="12069" y="4554"/>
                  </a:lnTo>
                  <a:lnTo>
                    <a:pt x="12104" y="4563"/>
                  </a:lnTo>
                  <a:lnTo>
                    <a:pt x="12104" y="4572"/>
                  </a:lnTo>
                  <a:lnTo>
                    <a:pt x="12113" y="4572"/>
                  </a:lnTo>
                  <a:lnTo>
                    <a:pt x="12122" y="4572"/>
                  </a:lnTo>
                  <a:lnTo>
                    <a:pt x="12131" y="4581"/>
                  </a:lnTo>
                  <a:lnTo>
                    <a:pt x="12140" y="4581"/>
                  </a:lnTo>
                  <a:lnTo>
                    <a:pt x="12148" y="4581"/>
                  </a:lnTo>
                  <a:lnTo>
                    <a:pt x="12157" y="4581"/>
                  </a:lnTo>
                  <a:lnTo>
                    <a:pt x="12148" y="4589"/>
                  </a:lnTo>
                  <a:lnTo>
                    <a:pt x="12157" y="4589"/>
                  </a:lnTo>
                  <a:lnTo>
                    <a:pt x="12166" y="4589"/>
                  </a:lnTo>
                  <a:lnTo>
                    <a:pt x="12175" y="4589"/>
                  </a:lnTo>
                  <a:lnTo>
                    <a:pt x="12184" y="4589"/>
                  </a:lnTo>
                  <a:lnTo>
                    <a:pt x="12175" y="4598"/>
                  </a:lnTo>
                  <a:lnTo>
                    <a:pt x="12175" y="4607"/>
                  </a:lnTo>
                  <a:lnTo>
                    <a:pt x="12184" y="4607"/>
                  </a:lnTo>
                  <a:lnTo>
                    <a:pt x="12210" y="4607"/>
                  </a:lnTo>
                  <a:lnTo>
                    <a:pt x="12228" y="4616"/>
                  </a:lnTo>
                  <a:lnTo>
                    <a:pt x="12219" y="4607"/>
                  </a:lnTo>
                  <a:lnTo>
                    <a:pt x="12210" y="4607"/>
                  </a:lnTo>
                  <a:lnTo>
                    <a:pt x="12201" y="4607"/>
                  </a:lnTo>
                  <a:lnTo>
                    <a:pt x="12201" y="4616"/>
                  </a:lnTo>
                  <a:lnTo>
                    <a:pt x="12193" y="4616"/>
                  </a:lnTo>
                  <a:lnTo>
                    <a:pt x="12201" y="4625"/>
                  </a:lnTo>
                  <a:lnTo>
                    <a:pt x="12210" y="4633"/>
                  </a:lnTo>
                  <a:lnTo>
                    <a:pt x="12201" y="4642"/>
                  </a:lnTo>
                  <a:lnTo>
                    <a:pt x="12201" y="4651"/>
                  </a:lnTo>
                  <a:lnTo>
                    <a:pt x="12210" y="4651"/>
                  </a:lnTo>
                  <a:lnTo>
                    <a:pt x="12219" y="4660"/>
                  </a:lnTo>
                  <a:lnTo>
                    <a:pt x="12228" y="4678"/>
                  </a:lnTo>
                  <a:lnTo>
                    <a:pt x="12254" y="4695"/>
                  </a:lnTo>
                  <a:lnTo>
                    <a:pt x="12263" y="4695"/>
                  </a:lnTo>
                  <a:lnTo>
                    <a:pt x="12272" y="4695"/>
                  </a:lnTo>
                  <a:lnTo>
                    <a:pt x="12272" y="4704"/>
                  </a:lnTo>
                  <a:lnTo>
                    <a:pt x="12281" y="4731"/>
                  </a:lnTo>
                  <a:lnTo>
                    <a:pt x="12281" y="4748"/>
                  </a:lnTo>
                  <a:lnTo>
                    <a:pt x="12272" y="4748"/>
                  </a:lnTo>
                  <a:lnTo>
                    <a:pt x="12272" y="4757"/>
                  </a:lnTo>
                  <a:lnTo>
                    <a:pt x="12290" y="4766"/>
                  </a:lnTo>
                  <a:lnTo>
                    <a:pt x="12298" y="4775"/>
                  </a:lnTo>
                  <a:lnTo>
                    <a:pt x="12307" y="4784"/>
                  </a:lnTo>
                  <a:lnTo>
                    <a:pt x="12307" y="4810"/>
                  </a:lnTo>
                  <a:lnTo>
                    <a:pt x="12316" y="4810"/>
                  </a:lnTo>
                  <a:lnTo>
                    <a:pt x="12316" y="4819"/>
                  </a:lnTo>
                  <a:lnTo>
                    <a:pt x="12307" y="4810"/>
                  </a:lnTo>
                  <a:lnTo>
                    <a:pt x="12298" y="4792"/>
                  </a:lnTo>
                  <a:lnTo>
                    <a:pt x="12298" y="4784"/>
                  </a:lnTo>
                  <a:lnTo>
                    <a:pt x="12290" y="4775"/>
                  </a:lnTo>
                  <a:lnTo>
                    <a:pt x="12281" y="4766"/>
                  </a:lnTo>
                  <a:lnTo>
                    <a:pt x="12272" y="4784"/>
                  </a:lnTo>
                  <a:lnTo>
                    <a:pt x="12272" y="4801"/>
                  </a:lnTo>
                  <a:lnTo>
                    <a:pt x="12263" y="4845"/>
                  </a:lnTo>
                  <a:lnTo>
                    <a:pt x="12272" y="4845"/>
                  </a:lnTo>
                  <a:lnTo>
                    <a:pt x="12272" y="4836"/>
                  </a:lnTo>
                  <a:lnTo>
                    <a:pt x="12281" y="4845"/>
                  </a:lnTo>
                  <a:lnTo>
                    <a:pt x="12272" y="4845"/>
                  </a:lnTo>
                  <a:lnTo>
                    <a:pt x="12263" y="4854"/>
                  </a:lnTo>
                  <a:lnTo>
                    <a:pt x="12263" y="4907"/>
                  </a:lnTo>
                  <a:lnTo>
                    <a:pt x="12245" y="4951"/>
                  </a:lnTo>
                  <a:lnTo>
                    <a:pt x="12237" y="4960"/>
                  </a:lnTo>
                  <a:lnTo>
                    <a:pt x="12228" y="4960"/>
                  </a:lnTo>
                  <a:lnTo>
                    <a:pt x="12219" y="4960"/>
                  </a:lnTo>
                  <a:lnTo>
                    <a:pt x="12210" y="4969"/>
                  </a:lnTo>
                  <a:lnTo>
                    <a:pt x="12193" y="4969"/>
                  </a:lnTo>
                  <a:lnTo>
                    <a:pt x="12184" y="4969"/>
                  </a:lnTo>
                  <a:lnTo>
                    <a:pt x="12166" y="4960"/>
                  </a:lnTo>
                  <a:lnTo>
                    <a:pt x="12148" y="4960"/>
                  </a:lnTo>
                  <a:lnTo>
                    <a:pt x="12140" y="4960"/>
                  </a:lnTo>
                  <a:lnTo>
                    <a:pt x="12131" y="4969"/>
                  </a:lnTo>
                  <a:lnTo>
                    <a:pt x="12104" y="4960"/>
                  </a:lnTo>
                  <a:lnTo>
                    <a:pt x="12095" y="4951"/>
                  </a:lnTo>
                  <a:lnTo>
                    <a:pt x="12078" y="4951"/>
                  </a:lnTo>
                  <a:lnTo>
                    <a:pt x="12069" y="4951"/>
                  </a:lnTo>
                  <a:lnTo>
                    <a:pt x="12060" y="4960"/>
                  </a:lnTo>
                  <a:lnTo>
                    <a:pt x="12043" y="4960"/>
                  </a:lnTo>
                  <a:lnTo>
                    <a:pt x="12025" y="4960"/>
                  </a:lnTo>
                  <a:lnTo>
                    <a:pt x="11981" y="4951"/>
                  </a:lnTo>
                  <a:lnTo>
                    <a:pt x="11963" y="4951"/>
                  </a:lnTo>
                  <a:lnTo>
                    <a:pt x="11945" y="4942"/>
                  </a:lnTo>
                  <a:lnTo>
                    <a:pt x="11928" y="4942"/>
                  </a:lnTo>
                  <a:lnTo>
                    <a:pt x="11910" y="4942"/>
                  </a:lnTo>
                  <a:lnTo>
                    <a:pt x="11901" y="4942"/>
                  </a:lnTo>
                  <a:lnTo>
                    <a:pt x="11884" y="4942"/>
                  </a:lnTo>
                  <a:lnTo>
                    <a:pt x="11875" y="4942"/>
                  </a:lnTo>
                  <a:lnTo>
                    <a:pt x="11848" y="4942"/>
                  </a:lnTo>
                  <a:lnTo>
                    <a:pt x="11840" y="4951"/>
                  </a:lnTo>
                  <a:lnTo>
                    <a:pt x="11822" y="4942"/>
                  </a:lnTo>
                  <a:lnTo>
                    <a:pt x="11813" y="4934"/>
                  </a:lnTo>
                  <a:lnTo>
                    <a:pt x="11804" y="4934"/>
                  </a:lnTo>
                  <a:lnTo>
                    <a:pt x="11796" y="4934"/>
                  </a:lnTo>
                  <a:lnTo>
                    <a:pt x="11778" y="4934"/>
                  </a:lnTo>
                  <a:lnTo>
                    <a:pt x="11769" y="4934"/>
                  </a:lnTo>
                  <a:lnTo>
                    <a:pt x="11760" y="4942"/>
                  </a:lnTo>
                  <a:lnTo>
                    <a:pt x="11751" y="4942"/>
                  </a:lnTo>
                  <a:lnTo>
                    <a:pt x="11751" y="4951"/>
                  </a:lnTo>
                  <a:lnTo>
                    <a:pt x="11751" y="4960"/>
                  </a:lnTo>
                  <a:lnTo>
                    <a:pt x="11743" y="4960"/>
                  </a:lnTo>
                  <a:lnTo>
                    <a:pt x="11734" y="4969"/>
                  </a:lnTo>
                  <a:lnTo>
                    <a:pt x="11725" y="4969"/>
                  </a:lnTo>
                  <a:lnTo>
                    <a:pt x="11707" y="4969"/>
                  </a:lnTo>
                  <a:lnTo>
                    <a:pt x="11698" y="4978"/>
                  </a:lnTo>
                  <a:lnTo>
                    <a:pt x="11690" y="4978"/>
                  </a:lnTo>
                  <a:lnTo>
                    <a:pt x="11681" y="4986"/>
                  </a:lnTo>
                  <a:lnTo>
                    <a:pt x="11681" y="4995"/>
                  </a:lnTo>
                  <a:lnTo>
                    <a:pt x="11681" y="5004"/>
                  </a:lnTo>
                  <a:lnTo>
                    <a:pt x="11690" y="5013"/>
                  </a:lnTo>
                  <a:lnTo>
                    <a:pt x="11698" y="5013"/>
                  </a:lnTo>
                  <a:lnTo>
                    <a:pt x="11698" y="5022"/>
                  </a:lnTo>
                  <a:lnTo>
                    <a:pt x="11690" y="5031"/>
                  </a:lnTo>
                  <a:lnTo>
                    <a:pt x="11698" y="5031"/>
                  </a:lnTo>
                  <a:lnTo>
                    <a:pt x="11707" y="5031"/>
                  </a:lnTo>
                  <a:lnTo>
                    <a:pt x="11707" y="5039"/>
                  </a:lnTo>
                  <a:lnTo>
                    <a:pt x="11707" y="5048"/>
                  </a:lnTo>
                  <a:lnTo>
                    <a:pt x="11716" y="5048"/>
                  </a:lnTo>
                  <a:lnTo>
                    <a:pt x="11716" y="5057"/>
                  </a:lnTo>
                  <a:lnTo>
                    <a:pt x="11707" y="5057"/>
                  </a:lnTo>
                  <a:lnTo>
                    <a:pt x="11716" y="5057"/>
                  </a:lnTo>
                  <a:lnTo>
                    <a:pt x="11716" y="5066"/>
                  </a:lnTo>
                  <a:lnTo>
                    <a:pt x="11707" y="5075"/>
                  </a:lnTo>
                  <a:lnTo>
                    <a:pt x="11707" y="5092"/>
                  </a:lnTo>
                  <a:lnTo>
                    <a:pt x="11716" y="5092"/>
                  </a:lnTo>
                  <a:lnTo>
                    <a:pt x="11707" y="5101"/>
                  </a:lnTo>
                  <a:lnTo>
                    <a:pt x="11707" y="5110"/>
                  </a:lnTo>
                  <a:lnTo>
                    <a:pt x="11716" y="5110"/>
                  </a:lnTo>
                  <a:lnTo>
                    <a:pt x="11707" y="5119"/>
                  </a:lnTo>
                  <a:lnTo>
                    <a:pt x="11707" y="5128"/>
                  </a:lnTo>
                  <a:lnTo>
                    <a:pt x="11716" y="5145"/>
                  </a:lnTo>
                  <a:lnTo>
                    <a:pt x="11716" y="5163"/>
                  </a:lnTo>
                  <a:lnTo>
                    <a:pt x="11725" y="5163"/>
                  </a:lnTo>
                  <a:lnTo>
                    <a:pt x="11725" y="5172"/>
                  </a:lnTo>
                  <a:lnTo>
                    <a:pt x="11716" y="5181"/>
                  </a:lnTo>
                  <a:lnTo>
                    <a:pt x="11716" y="5198"/>
                  </a:lnTo>
                  <a:lnTo>
                    <a:pt x="11716" y="5207"/>
                  </a:lnTo>
                  <a:lnTo>
                    <a:pt x="11707" y="5242"/>
                  </a:lnTo>
                  <a:lnTo>
                    <a:pt x="11707" y="5251"/>
                  </a:lnTo>
                  <a:lnTo>
                    <a:pt x="11698" y="5278"/>
                  </a:lnTo>
                  <a:lnTo>
                    <a:pt x="11690" y="5304"/>
                  </a:lnTo>
                  <a:lnTo>
                    <a:pt x="11681" y="5313"/>
                  </a:lnTo>
                  <a:lnTo>
                    <a:pt x="11672" y="5313"/>
                  </a:lnTo>
                  <a:lnTo>
                    <a:pt x="11672" y="5322"/>
                  </a:lnTo>
                  <a:lnTo>
                    <a:pt x="11663" y="5340"/>
                  </a:lnTo>
                  <a:lnTo>
                    <a:pt x="11663" y="5348"/>
                  </a:lnTo>
                  <a:lnTo>
                    <a:pt x="11663" y="5357"/>
                  </a:lnTo>
                  <a:lnTo>
                    <a:pt x="11663" y="5366"/>
                  </a:lnTo>
                  <a:lnTo>
                    <a:pt x="11663" y="5375"/>
                  </a:lnTo>
                  <a:lnTo>
                    <a:pt x="11672" y="5375"/>
                  </a:lnTo>
                  <a:lnTo>
                    <a:pt x="11681" y="5375"/>
                  </a:lnTo>
                  <a:lnTo>
                    <a:pt x="11690" y="5366"/>
                  </a:lnTo>
                  <a:lnTo>
                    <a:pt x="11690" y="5357"/>
                  </a:lnTo>
                  <a:lnTo>
                    <a:pt x="11698" y="5348"/>
                  </a:lnTo>
                  <a:lnTo>
                    <a:pt x="11707" y="5340"/>
                  </a:lnTo>
                  <a:lnTo>
                    <a:pt x="11698" y="5348"/>
                  </a:lnTo>
                  <a:lnTo>
                    <a:pt x="11698" y="5357"/>
                  </a:lnTo>
                  <a:lnTo>
                    <a:pt x="11698" y="5366"/>
                  </a:lnTo>
                  <a:lnTo>
                    <a:pt x="11690" y="5375"/>
                  </a:lnTo>
                  <a:lnTo>
                    <a:pt x="11681" y="5375"/>
                  </a:lnTo>
                  <a:lnTo>
                    <a:pt x="11681" y="5384"/>
                  </a:lnTo>
                  <a:lnTo>
                    <a:pt x="11681" y="5392"/>
                  </a:lnTo>
                  <a:lnTo>
                    <a:pt x="11690" y="5392"/>
                  </a:lnTo>
                  <a:lnTo>
                    <a:pt x="11698" y="5392"/>
                  </a:lnTo>
                  <a:lnTo>
                    <a:pt x="11707" y="5392"/>
                  </a:lnTo>
                  <a:lnTo>
                    <a:pt x="11716" y="5392"/>
                  </a:lnTo>
                  <a:lnTo>
                    <a:pt x="11725" y="5392"/>
                  </a:lnTo>
                  <a:lnTo>
                    <a:pt x="11707" y="5392"/>
                  </a:lnTo>
                  <a:lnTo>
                    <a:pt x="11707" y="5410"/>
                  </a:lnTo>
                  <a:lnTo>
                    <a:pt x="11707" y="5419"/>
                  </a:lnTo>
                  <a:lnTo>
                    <a:pt x="11707" y="5437"/>
                  </a:lnTo>
                  <a:lnTo>
                    <a:pt x="11707" y="5445"/>
                  </a:lnTo>
                  <a:lnTo>
                    <a:pt x="11707" y="5454"/>
                  </a:lnTo>
                  <a:lnTo>
                    <a:pt x="11707" y="5463"/>
                  </a:lnTo>
                  <a:lnTo>
                    <a:pt x="11707" y="5481"/>
                  </a:lnTo>
                  <a:lnTo>
                    <a:pt x="11698" y="5507"/>
                  </a:lnTo>
                  <a:lnTo>
                    <a:pt x="11698" y="5516"/>
                  </a:lnTo>
                  <a:lnTo>
                    <a:pt x="11707" y="5507"/>
                  </a:lnTo>
                  <a:lnTo>
                    <a:pt x="11716" y="5507"/>
                  </a:lnTo>
                  <a:lnTo>
                    <a:pt x="11725" y="5507"/>
                  </a:lnTo>
                  <a:lnTo>
                    <a:pt x="11734" y="5507"/>
                  </a:lnTo>
                  <a:lnTo>
                    <a:pt x="11760" y="5507"/>
                  </a:lnTo>
                  <a:lnTo>
                    <a:pt x="11778" y="5516"/>
                  </a:lnTo>
                  <a:lnTo>
                    <a:pt x="11804" y="5507"/>
                  </a:lnTo>
                  <a:lnTo>
                    <a:pt x="11813" y="5498"/>
                  </a:lnTo>
                  <a:lnTo>
                    <a:pt x="11831" y="5498"/>
                  </a:lnTo>
                  <a:lnTo>
                    <a:pt x="11848" y="5498"/>
                  </a:lnTo>
                  <a:lnTo>
                    <a:pt x="11857" y="5490"/>
                  </a:lnTo>
                  <a:lnTo>
                    <a:pt x="11857" y="5498"/>
                  </a:lnTo>
                  <a:lnTo>
                    <a:pt x="11848" y="5498"/>
                  </a:lnTo>
                  <a:lnTo>
                    <a:pt x="11884" y="5525"/>
                  </a:lnTo>
                  <a:lnTo>
                    <a:pt x="11884" y="5534"/>
                  </a:lnTo>
                  <a:lnTo>
                    <a:pt x="11893" y="5525"/>
                  </a:lnTo>
                  <a:lnTo>
                    <a:pt x="11901" y="5525"/>
                  </a:lnTo>
                  <a:lnTo>
                    <a:pt x="11893" y="5534"/>
                  </a:lnTo>
                  <a:lnTo>
                    <a:pt x="11884" y="5543"/>
                  </a:lnTo>
                  <a:lnTo>
                    <a:pt x="11893" y="5551"/>
                  </a:lnTo>
                  <a:lnTo>
                    <a:pt x="11901" y="5551"/>
                  </a:lnTo>
                  <a:lnTo>
                    <a:pt x="11901" y="5560"/>
                  </a:lnTo>
                  <a:lnTo>
                    <a:pt x="11901" y="5569"/>
                  </a:lnTo>
                  <a:lnTo>
                    <a:pt x="11910" y="5587"/>
                  </a:lnTo>
                  <a:lnTo>
                    <a:pt x="11919" y="5587"/>
                  </a:lnTo>
                  <a:lnTo>
                    <a:pt x="11928" y="5595"/>
                  </a:lnTo>
                  <a:lnTo>
                    <a:pt x="11945" y="5595"/>
                  </a:lnTo>
                  <a:lnTo>
                    <a:pt x="11954" y="5595"/>
                  </a:lnTo>
                  <a:lnTo>
                    <a:pt x="11954" y="5587"/>
                  </a:lnTo>
                  <a:lnTo>
                    <a:pt x="11963" y="5587"/>
                  </a:lnTo>
                  <a:lnTo>
                    <a:pt x="11963" y="5578"/>
                  </a:lnTo>
                  <a:lnTo>
                    <a:pt x="11972" y="5569"/>
                  </a:lnTo>
                  <a:lnTo>
                    <a:pt x="11981" y="5569"/>
                  </a:lnTo>
                  <a:lnTo>
                    <a:pt x="11998" y="5560"/>
                  </a:lnTo>
                  <a:lnTo>
                    <a:pt x="12016" y="5560"/>
                  </a:lnTo>
                  <a:lnTo>
                    <a:pt x="12025" y="5551"/>
                  </a:lnTo>
                  <a:lnTo>
                    <a:pt x="12034" y="5543"/>
                  </a:lnTo>
                  <a:lnTo>
                    <a:pt x="12078" y="5534"/>
                  </a:lnTo>
                  <a:lnTo>
                    <a:pt x="12095" y="5543"/>
                  </a:lnTo>
                  <a:lnTo>
                    <a:pt x="12104" y="5543"/>
                  </a:lnTo>
                  <a:lnTo>
                    <a:pt x="12122" y="5534"/>
                  </a:lnTo>
                  <a:lnTo>
                    <a:pt x="12148" y="5543"/>
                  </a:lnTo>
                  <a:lnTo>
                    <a:pt x="12157" y="5543"/>
                  </a:lnTo>
                  <a:lnTo>
                    <a:pt x="12166" y="5534"/>
                  </a:lnTo>
                  <a:lnTo>
                    <a:pt x="12175" y="5534"/>
                  </a:lnTo>
                  <a:lnTo>
                    <a:pt x="12193" y="5534"/>
                  </a:lnTo>
                  <a:lnTo>
                    <a:pt x="12201" y="5543"/>
                  </a:lnTo>
                  <a:lnTo>
                    <a:pt x="12201" y="5534"/>
                  </a:lnTo>
                  <a:lnTo>
                    <a:pt x="12219" y="5525"/>
                  </a:lnTo>
                  <a:lnTo>
                    <a:pt x="12228" y="5498"/>
                  </a:lnTo>
                  <a:lnTo>
                    <a:pt x="12237" y="5481"/>
                  </a:lnTo>
                  <a:lnTo>
                    <a:pt x="12263" y="5472"/>
                  </a:lnTo>
                  <a:lnTo>
                    <a:pt x="12290" y="5472"/>
                  </a:lnTo>
                  <a:lnTo>
                    <a:pt x="12298" y="5472"/>
                  </a:lnTo>
                  <a:lnTo>
                    <a:pt x="12298" y="5463"/>
                  </a:lnTo>
                  <a:lnTo>
                    <a:pt x="12307" y="5463"/>
                  </a:lnTo>
                  <a:lnTo>
                    <a:pt x="12298" y="5454"/>
                  </a:lnTo>
                  <a:lnTo>
                    <a:pt x="12298" y="5445"/>
                  </a:lnTo>
                  <a:lnTo>
                    <a:pt x="12307" y="5445"/>
                  </a:lnTo>
                  <a:lnTo>
                    <a:pt x="12307" y="5437"/>
                  </a:lnTo>
                  <a:lnTo>
                    <a:pt x="12307" y="5419"/>
                  </a:lnTo>
                  <a:lnTo>
                    <a:pt x="12316" y="5419"/>
                  </a:lnTo>
                  <a:lnTo>
                    <a:pt x="12316" y="5401"/>
                  </a:lnTo>
                  <a:lnTo>
                    <a:pt x="12334" y="5392"/>
                  </a:lnTo>
                  <a:lnTo>
                    <a:pt x="12351" y="5384"/>
                  </a:lnTo>
                  <a:lnTo>
                    <a:pt x="12369" y="5375"/>
                  </a:lnTo>
                  <a:lnTo>
                    <a:pt x="12369" y="5366"/>
                  </a:lnTo>
                  <a:lnTo>
                    <a:pt x="12351" y="5357"/>
                  </a:lnTo>
                  <a:lnTo>
                    <a:pt x="12351" y="5348"/>
                  </a:lnTo>
                  <a:lnTo>
                    <a:pt x="12342" y="5340"/>
                  </a:lnTo>
                  <a:lnTo>
                    <a:pt x="12334" y="5313"/>
                  </a:lnTo>
                  <a:lnTo>
                    <a:pt x="12334" y="5304"/>
                  </a:lnTo>
                  <a:lnTo>
                    <a:pt x="12351" y="5269"/>
                  </a:lnTo>
                  <a:lnTo>
                    <a:pt x="12360" y="5260"/>
                  </a:lnTo>
                  <a:lnTo>
                    <a:pt x="12369" y="5251"/>
                  </a:lnTo>
                  <a:lnTo>
                    <a:pt x="12387" y="5234"/>
                  </a:lnTo>
                  <a:lnTo>
                    <a:pt x="12404" y="5207"/>
                  </a:lnTo>
                  <a:lnTo>
                    <a:pt x="12413" y="5207"/>
                  </a:lnTo>
                  <a:lnTo>
                    <a:pt x="12422" y="5198"/>
                  </a:lnTo>
                  <a:lnTo>
                    <a:pt x="12413" y="5189"/>
                  </a:lnTo>
                  <a:lnTo>
                    <a:pt x="12422" y="5181"/>
                  </a:lnTo>
                  <a:lnTo>
                    <a:pt x="12431" y="5172"/>
                  </a:lnTo>
                  <a:lnTo>
                    <a:pt x="12448" y="5163"/>
                  </a:lnTo>
                  <a:lnTo>
                    <a:pt x="12475" y="5154"/>
                  </a:lnTo>
                  <a:lnTo>
                    <a:pt x="12510" y="5145"/>
                  </a:lnTo>
                  <a:lnTo>
                    <a:pt x="12519" y="5145"/>
                  </a:lnTo>
                  <a:lnTo>
                    <a:pt x="12528" y="5137"/>
                  </a:lnTo>
                  <a:lnTo>
                    <a:pt x="12581" y="5110"/>
                  </a:lnTo>
                  <a:lnTo>
                    <a:pt x="12590" y="5101"/>
                  </a:lnTo>
                  <a:lnTo>
                    <a:pt x="12598" y="5092"/>
                  </a:lnTo>
                  <a:lnTo>
                    <a:pt x="12598" y="5084"/>
                  </a:lnTo>
                  <a:lnTo>
                    <a:pt x="12598" y="5075"/>
                  </a:lnTo>
                  <a:lnTo>
                    <a:pt x="12590" y="5075"/>
                  </a:lnTo>
                  <a:lnTo>
                    <a:pt x="12590" y="5066"/>
                  </a:lnTo>
                  <a:lnTo>
                    <a:pt x="12598" y="5066"/>
                  </a:lnTo>
                  <a:lnTo>
                    <a:pt x="12598" y="5057"/>
                  </a:lnTo>
                  <a:lnTo>
                    <a:pt x="12590" y="5048"/>
                  </a:lnTo>
                  <a:lnTo>
                    <a:pt x="12581" y="5031"/>
                  </a:lnTo>
                  <a:lnTo>
                    <a:pt x="12581" y="5013"/>
                  </a:lnTo>
                  <a:lnTo>
                    <a:pt x="12581" y="5004"/>
                  </a:lnTo>
                  <a:lnTo>
                    <a:pt x="12590" y="4986"/>
                  </a:lnTo>
                  <a:lnTo>
                    <a:pt x="12598" y="4978"/>
                  </a:lnTo>
                  <a:lnTo>
                    <a:pt x="12634" y="4960"/>
                  </a:lnTo>
                  <a:lnTo>
                    <a:pt x="12642" y="4951"/>
                  </a:lnTo>
                  <a:lnTo>
                    <a:pt x="12660" y="4942"/>
                  </a:lnTo>
                  <a:lnTo>
                    <a:pt x="12660" y="4951"/>
                  </a:lnTo>
                  <a:lnTo>
                    <a:pt x="12669" y="4951"/>
                  </a:lnTo>
                  <a:lnTo>
                    <a:pt x="12678" y="4960"/>
                  </a:lnTo>
                  <a:lnTo>
                    <a:pt x="12695" y="4960"/>
                  </a:lnTo>
                  <a:lnTo>
                    <a:pt x="12704" y="4969"/>
                  </a:lnTo>
                  <a:lnTo>
                    <a:pt x="12713" y="4960"/>
                  </a:lnTo>
                  <a:lnTo>
                    <a:pt x="12722" y="4960"/>
                  </a:lnTo>
                  <a:lnTo>
                    <a:pt x="12731" y="4960"/>
                  </a:lnTo>
                  <a:lnTo>
                    <a:pt x="12731" y="4969"/>
                  </a:lnTo>
                  <a:lnTo>
                    <a:pt x="12740" y="4969"/>
                  </a:lnTo>
                  <a:lnTo>
                    <a:pt x="12748" y="4969"/>
                  </a:lnTo>
                  <a:lnTo>
                    <a:pt x="12757" y="4978"/>
                  </a:lnTo>
                  <a:lnTo>
                    <a:pt x="12775" y="4986"/>
                  </a:lnTo>
                  <a:lnTo>
                    <a:pt x="12784" y="4986"/>
                  </a:lnTo>
                  <a:lnTo>
                    <a:pt x="12801" y="4986"/>
                  </a:lnTo>
                  <a:lnTo>
                    <a:pt x="12810" y="4995"/>
                  </a:lnTo>
                  <a:lnTo>
                    <a:pt x="12819" y="4986"/>
                  </a:lnTo>
                  <a:lnTo>
                    <a:pt x="12837" y="4986"/>
                  </a:lnTo>
                  <a:lnTo>
                    <a:pt x="12837" y="4978"/>
                  </a:lnTo>
                  <a:lnTo>
                    <a:pt x="12845" y="4978"/>
                  </a:lnTo>
                  <a:lnTo>
                    <a:pt x="12845" y="4969"/>
                  </a:lnTo>
                  <a:lnTo>
                    <a:pt x="12854" y="4969"/>
                  </a:lnTo>
                  <a:lnTo>
                    <a:pt x="12863" y="4960"/>
                  </a:lnTo>
                  <a:lnTo>
                    <a:pt x="12889" y="4942"/>
                  </a:lnTo>
                  <a:lnTo>
                    <a:pt x="12889" y="4934"/>
                  </a:lnTo>
                  <a:lnTo>
                    <a:pt x="12907" y="4934"/>
                  </a:lnTo>
                  <a:lnTo>
                    <a:pt x="12925" y="4925"/>
                  </a:lnTo>
                  <a:lnTo>
                    <a:pt x="12942" y="4916"/>
                  </a:lnTo>
                  <a:lnTo>
                    <a:pt x="12951" y="4916"/>
                  </a:lnTo>
                  <a:lnTo>
                    <a:pt x="12969" y="4898"/>
                  </a:lnTo>
                  <a:lnTo>
                    <a:pt x="12987" y="4881"/>
                  </a:lnTo>
                  <a:lnTo>
                    <a:pt x="13004" y="4872"/>
                  </a:lnTo>
                  <a:lnTo>
                    <a:pt x="13013" y="4872"/>
                  </a:lnTo>
                  <a:lnTo>
                    <a:pt x="13031" y="4881"/>
                  </a:lnTo>
                  <a:lnTo>
                    <a:pt x="13039" y="4881"/>
                  </a:lnTo>
                  <a:lnTo>
                    <a:pt x="13075" y="4898"/>
                  </a:lnTo>
                  <a:lnTo>
                    <a:pt x="13092" y="4907"/>
                  </a:lnTo>
                  <a:lnTo>
                    <a:pt x="13110" y="4916"/>
                  </a:lnTo>
                  <a:lnTo>
                    <a:pt x="13110" y="4925"/>
                  </a:lnTo>
                  <a:lnTo>
                    <a:pt x="13119" y="4951"/>
                  </a:lnTo>
                  <a:lnTo>
                    <a:pt x="13128" y="4969"/>
                  </a:lnTo>
                  <a:lnTo>
                    <a:pt x="13128" y="4978"/>
                  </a:lnTo>
                  <a:lnTo>
                    <a:pt x="13128" y="4986"/>
                  </a:lnTo>
                  <a:lnTo>
                    <a:pt x="13128" y="4995"/>
                  </a:lnTo>
                  <a:lnTo>
                    <a:pt x="13128" y="5004"/>
                  </a:lnTo>
                  <a:lnTo>
                    <a:pt x="13137" y="5004"/>
                  </a:lnTo>
                  <a:lnTo>
                    <a:pt x="13145" y="5004"/>
                  </a:lnTo>
                  <a:lnTo>
                    <a:pt x="13145" y="5013"/>
                  </a:lnTo>
                  <a:lnTo>
                    <a:pt x="13154" y="5013"/>
                  </a:lnTo>
                  <a:lnTo>
                    <a:pt x="13163" y="5022"/>
                  </a:lnTo>
                  <a:lnTo>
                    <a:pt x="13181" y="5039"/>
                  </a:lnTo>
                  <a:lnTo>
                    <a:pt x="13181" y="5048"/>
                  </a:lnTo>
                  <a:lnTo>
                    <a:pt x="13172" y="5048"/>
                  </a:lnTo>
                  <a:lnTo>
                    <a:pt x="13181" y="5048"/>
                  </a:lnTo>
                  <a:lnTo>
                    <a:pt x="13189" y="5048"/>
                  </a:lnTo>
                  <a:lnTo>
                    <a:pt x="13207" y="5057"/>
                  </a:lnTo>
                  <a:lnTo>
                    <a:pt x="13215" y="5057"/>
                  </a:lnTo>
                  <a:lnTo>
                    <a:pt x="13224" y="5084"/>
                  </a:lnTo>
                  <a:lnTo>
                    <a:pt x="13241" y="5092"/>
                  </a:lnTo>
                  <a:lnTo>
                    <a:pt x="13250" y="5101"/>
                  </a:lnTo>
                  <a:lnTo>
                    <a:pt x="13285" y="5137"/>
                  </a:lnTo>
                  <a:lnTo>
                    <a:pt x="13303" y="5137"/>
                  </a:lnTo>
                  <a:lnTo>
                    <a:pt x="13312" y="5145"/>
                  </a:lnTo>
                  <a:lnTo>
                    <a:pt x="13312" y="5154"/>
                  </a:lnTo>
                  <a:lnTo>
                    <a:pt x="13321" y="5154"/>
                  </a:lnTo>
                  <a:lnTo>
                    <a:pt x="13330" y="5154"/>
                  </a:lnTo>
                  <a:lnTo>
                    <a:pt x="13330" y="5145"/>
                  </a:lnTo>
                  <a:lnTo>
                    <a:pt x="13338" y="5154"/>
                  </a:lnTo>
                  <a:lnTo>
                    <a:pt x="13356" y="5154"/>
                  </a:lnTo>
                  <a:lnTo>
                    <a:pt x="13365" y="5154"/>
                  </a:lnTo>
                  <a:lnTo>
                    <a:pt x="13374" y="5163"/>
                  </a:lnTo>
                  <a:lnTo>
                    <a:pt x="13391" y="5189"/>
                  </a:lnTo>
                  <a:lnTo>
                    <a:pt x="13400" y="5189"/>
                  </a:lnTo>
                  <a:lnTo>
                    <a:pt x="13409" y="5189"/>
                  </a:lnTo>
                  <a:lnTo>
                    <a:pt x="13418" y="5198"/>
                  </a:lnTo>
                  <a:lnTo>
                    <a:pt x="13409" y="5207"/>
                  </a:lnTo>
                  <a:lnTo>
                    <a:pt x="13418" y="5207"/>
                  </a:lnTo>
                  <a:lnTo>
                    <a:pt x="13427" y="5207"/>
                  </a:lnTo>
                  <a:lnTo>
                    <a:pt x="13444" y="5207"/>
                  </a:lnTo>
                  <a:lnTo>
                    <a:pt x="13453" y="5216"/>
                  </a:lnTo>
                  <a:lnTo>
                    <a:pt x="13453" y="5225"/>
                  </a:lnTo>
                  <a:lnTo>
                    <a:pt x="13462" y="5225"/>
                  </a:lnTo>
                  <a:lnTo>
                    <a:pt x="13453" y="5234"/>
                  </a:lnTo>
                  <a:lnTo>
                    <a:pt x="13453" y="5242"/>
                  </a:lnTo>
                  <a:lnTo>
                    <a:pt x="13480" y="5251"/>
                  </a:lnTo>
                  <a:lnTo>
                    <a:pt x="13488" y="5260"/>
                  </a:lnTo>
                  <a:lnTo>
                    <a:pt x="13506" y="5260"/>
                  </a:lnTo>
                  <a:lnTo>
                    <a:pt x="13515" y="5269"/>
                  </a:lnTo>
                  <a:lnTo>
                    <a:pt x="13524" y="5295"/>
                  </a:lnTo>
                  <a:lnTo>
                    <a:pt x="13533" y="5313"/>
                  </a:lnTo>
                  <a:lnTo>
                    <a:pt x="13541" y="5340"/>
                  </a:lnTo>
                  <a:lnTo>
                    <a:pt x="13541" y="5348"/>
                  </a:lnTo>
                  <a:lnTo>
                    <a:pt x="13550" y="5348"/>
                  </a:lnTo>
                  <a:lnTo>
                    <a:pt x="13550" y="5366"/>
                  </a:lnTo>
                  <a:lnTo>
                    <a:pt x="13541" y="5366"/>
                  </a:lnTo>
                  <a:lnTo>
                    <a:pt x="13533" y="5375"/>
                  </a:lnTo>
                  <a:lnTo>
                    <a:pt x="13524" y="5375"/>
                  </a:lnTo>
                  <a:lnTo>
                    <a:pt x="13524" y="5384"/>
                  </a:lnTo>
                  <a:lnTo>
                    <a:pt x="13524" y="5392"/>
                  </a:lnTo>
                  <a:lnTo>
                    <a:pt x="13524" y="5410"/>
                  </a:lnTo>
                  <a:lnTo>
                    <a:pt x="13515" y="5410"/>
                  </a:lnTo>
                  <a:lnTo>
                    <a:pt x="13506" y="5419"/>
                  </a:lnTo>
                  <a:lnTo>
                    <a:pt x="13506" y="5428"/>
                  </a:lnTo>
                  <a:lnTo>
                    <a:pt x="13515" y="5437"/>
                  </a:lnTo>
                  <a:lnTo>
                    <a:pt x="13541" y="5437"/>
                  </a:lnTo>
                  <a:lnTo>
                    <a:pt x="13541" y="5428"/>
                  </a:lnTo>
                  <a:lnTo>
                    <a:pt x="13550" y="5410"/>
                  </a:lnTo>
                  <a:lnTo>
                    <a:pt x="13577" y="5401"/>
                  </a:lnTo>
                  <a:lnTo>
                    <a:pt x="13577" y="5392"/>
                  </a:lnTo>
                  <a:lnTo>
                    <a:pt x="13577" y="5375"/>
                  </a:lnTo>
                  <a:lnTo>
                    <a:pt x="13577" y="5366"/>
                  </a:lnTo>
                  <a:lnTo>
                    <a:pt x="13585" y="5357"/>
                  </a:lnTo>
                  <a:lnTo>
                    <a:pt x="13603" y="5348"/>
                  </a:lnTo>
                  <a:lnTo>
                    <a:pt x="13612" y="5357"/>
                  </a:lnTo>
                  <a:lnTo>
                    <a:pt x="13621" y="5348"/>
                  </a:lnTo>
                  <a:lnTo>
                    <a:pt x="13612" y="5340"/>
                  </a:lnTo>
                  <a:lnTo>
                    <a:pt x="13612" y="5313"/>
                  </a:lnTo>
                  <a:lnTo>
                    <a:pt x="13603" y="5304"/>
                  </a:lnTo>
                  <a:lnTo>
                    <a:pt x="13594" y="5295"/>
                  </a:lnTo>
                  <a:lnTo>
                    <a:pt x="13577" y="5295"/>
                  </a:lnTo>
                  <a:lnTo>
                    <a:pt x="13568" y="5287"/>
                  </a:lnTo>
                  <a:lnTo>
                    <a:pt x="13568" y="5269"/>
                  </a:lnTo>
                  <a:lnTo>
                    <a:pt x="13585" y="5251"/>
                  </a:lnTo>
                  <a:lnTo>
                    <a:pt x="13594" y="5234"/>
                  </a:lnTo>
                  <a:lnTo>
                    <a:pt x="13603" y="5225"/>
                  </a:lnTo>
                  <a:lnTo>
                    <a:pt x="13612" y="5216"/>
                  </a:lnTo>
                  <a:lnTo>
                    <a:pt x="13621" y="5216"/>
                  </a:lnTo>
                  <a:lnTo>
                    <a:pt x="13621" y="5225"/>
                  </a:lnTo>
                  <a:lnTo>
                    <a:pt x="13630" y="5225"/>
                  </a:lnTo>
                  <a:lnTo>
                    <a:pt x="13638" y="5234"/>
                  </a:lnTo>
                  <a:lnTo>
                    <a:pt x="13674" y="5234"/>
                  </a:lnTo>
                  <a:lnTo>
                    <a:pt x="13682" y="5269"/>
                  </a:lnTo>
                  <a:lnTo>
                    <a:pt x="13700" y="5278"/>
                  </a:lnTo>
                  <a:lnTo>
                    <a:pt x="13709" y="5278"/>
                  </a:lnTo>
                  <a:lnTo>
                    <a:pt x="13709" y="5269"/>
                  </a:lnTo>
                  <a:lnTo>
                    <a:pt x="13709" y="5260"/>
                  </a:lnTo>
                  <a:lnTo>
                    <a:pt x="13718" y="5251"/>
                  </a:lnTo>
                  <a:lnTo>
                    <a:pt x="13718" y="5242"/>
                  </a:lnTo>
                  <a:lnTo>
                    <a:pt x="13700" y="5225"/>
                  </a:lnTo>
                  <a:lnTo>
                    <a:pt x="13682" y="5216"/>
                  </a:lnTo>
                  <a:lnTo>
                    <a:pt x="13674" y="5207"/>
                  </a:lnTo>
                  <a:lnTo>
                    <a:pt x="13638" y="5189"/>
                  </a:lnTo>
                  <a:lnTo>
                    <a:pt x="13630" y="5181"/>
                  </a:lnTo>
                  <a:lnTo>
                    <a:pt x="13612" y="5172"/>
                  </a:lnTo>
                  <a:lnTo>
                    <a:pt x="13577" y="5154"/>
                  </a:lnTo>
                  <a:lnTo>
                    <a:pt x="13533" y="5137"/>
                  </a:lnTo>
                  <a:lnTo>
                    <a:pt x="13524" y="5128"/>
                  </a:lnTo>
                  <a:lnTo>
                    <a:pt x="13524" y="5119"/>
                  </a:lnTo>
                  <a:lnTo>
                    <a:pt x="13533" y="5110"/>
                  </a:lnTo>
                  <a:lnTo>
                    <a:pt x="13541" y="5110"/>
                  </a:lnTo>
                  <a:lnTo>
                    <a:pt x="13550" y="5101"/>
                  </a:lnTo>
                  <a:lnTo>
                    <a:pt x="13541" y="5092"/>
                  </a:lnTo>
                  <a:lnTo>
                    <a:pt x="13533" y="5092"/>
                  </a:lnTo>
                  <a:lnTo>
                    <a:pt x="13488" y="5092"/>
                  </a:lnTo>
                  <a:lnTo>
                    <a:pt x="13471" y="5092"/>
                  </a:lnTo>
                  <a:lnTo>
                    <a:pt x="13453" y="5084"/>
                  </a:lnTo>
                  <a:lnTo>
                    <a:pt x="13427" y="5066"/>
                  </a:lnTo>
                  <a:lnTo>
                    <a:pt x="13400" y="5039"/>
                  </a:lnTo>
                  <a:lnTo>
                    <a:pt x="13383" y="5022"/>
                  </a:lnTo>
                  <a:lnTo>
                    <a:pt x="13383" y="5013"/>
                  </a:lnTo>
                  <a:lnTo>
                    <a:pt x="13374" y="4978"/>
                  </a:lnTo>
                  <a:lnTo>
                    <a:pt x="13365" y="4960"/>
                  </a:lnTo>
                  <a:lnTo>
                    <a:pt x="13356" y="4951"/>
                  </a:lnTo>
                  <a:lnTo>
                    <a:pt x="13347" y="4942"/>
                  </a:lnTo>
                  <a:lnTo>
                    <a:pt x="13338" y="4934"/>
                  </a:lnTo>
                  <a:lnTo>
                    <a:pt x="13303" y="4916"/>
                  </a:lnTo>
                  <a:lnTo>
                    <a:pt x="13285" y="4907"/>
                  </a:lnTo>
                  <a:lnTo>
                    <a:pt x="13277" y="4898"/>
                  </a:lnTo>
                  <a:lnTo>
                    <a:pt x="13268" y="4889"/>
                  </a:lnTo>
                  <a:lnTo>
                    <a:pt x="13259" y="4872"/>
                  </a:lnTo>
                  <a:lnTo>
                    <a:pt x="13259" y="4845"/>
                  </a:lnTo>
                  <a:lnTo>
                    <a:pt x="13259" y="4836"/>
                  </a:lnTo>
                  <a:lnTo>
                    <a:pt x="13268" y="4836"/>
                  </a:lnTo>
                  <a:lnTo>
                    <a:pt x="13277" y="4836"/>
                  </a:lnTo>
                  <a:lnTo>
                    <a:pt x="13277" y="4828"/>
                  </a:lnTo>
                  <a:lnTo>
                    <a:pt x="13277" y="4819"/>
                  </a:lnTo>
                  <a:lnTo>
                    <a:pt x="13268" y="4819"/>
                  </a:lnTo>
                  <a:lnTo>
                    <a:pt x="13259" y="4801"/>
                  </a:lnTo>
                  <a:lnTo>
                    <a:pt x="13259" y="4792"/>
                  </a:lnTo>
                  <a:lnTo>
                    <a:pt x="13259" y="4784"/>
                  </a:lnTo>
                  <a:lnTo>
                    <a:pt x="13259" y="4775"/>
                  </a:lnTo>
                  <a:lnTo>
                    <a:pt x="13268" y="4775"/>
                  </a:lnTo>
                  <a:lnTo>
                    <a:pt x="13277" y="4766"/>
                  </a:lnTo>
                  <a:lnTo>
                    <a:pt x="13268" y="4775"/>
                  </a:lnTo>
                  <a:lnTo>
                    <a:pt x="13277" y="4775"/>
                  </a:lnTo>
                  <a:lnTo>
                    <a:pt x="13285" y="4775"/>
                  </a:lnTo>
                  <a:lnTo>
                    <a:pt x="13294" y="4766"/>
                  </a:lnTo>
                  <a:lnTo>
                    <a:pt x="13303" y="4766"/>
                  </a:lnTo>
                  <a:lnTo>
                    <a:pt x="13312" y="4757"/>
                  </a:lnTo>
                  <a:lnTo>
                    <a:pt x="13321" y="4757"/>
                  </a:lnTo>
                  <a:lnTo>
                    <a:pt x="13321" y="4748"/>
                  </a:lnTo>
                  <a:lnTo>
                    <a:pt x="13330" y="4748"/>
                  </a:lnTo>
                  <a:lnTo>
                    <a:pt x="13347" y="4757"/>
                  </a:lnTo>
                  <a:lnTo>
                    <a:pt x="13356" y="4748"/>
                  </a:lnTo>
                  <a:lnTo>
                    <a:pt x="13374" y="4757"/>
                  </a:lnTo>
                  <a:lnTo>
                    <a:pt x="13365" y="4766"/>
                  </a:lnTo>
                  <a:lnTo>
                    <a:pt x="13356" y="4766"/>
                  </a:lnTo>
                  <a:lnTo>
                    <a:pt x="13356" y="4775"/>
                  </a:lnTo>
                  <a:lnTo>
                    <a:pt x="13347" y="4775"/>
                  </a:lnTo>
                  <a:lnTo>
                    <a:pt x="13356" y="4801"/>
                  </a:lnTo>
                  <a:lnTo>
                    <a:pt x="13356" y="4810"/>
                  </a:lnTo>
                  <a:lnTo>
                    <a:pt x="13365" y="4819"/>
                  </a:lnTo>
                  <a:lnTo>
                    <a:pt x="13374" y="4836"/>
                  </a:lnTo>
                  <a:lnTo>
                    <a:pt x="13383" y="4836"/>
                  </a:lnTo>
                  <a:lnTo>
                    <a:pt x="13391" y="4828"/>
                  </a:lnTo>
                  <a:lnTo>
                    <a:pt x="13391" y="4819"/>
                  </a:lnTo>
                  <a:lnTo>
                    <a:pt x="13400" y="4801"/>
                  </a:lnTo>
                  <a:lnTo>
                    <a:pt x="13409" y="4792"/>
                  </a:lnTo>
                  <a:lnTo>
                    <a:pt x="13409" y="4784"/>
                  </a:lnTo>
                  <a:lnTo>
                    <a:pt x="13418" y="4784"/>
                  </a:lnTo>
                  <a:lnTo>
                    <a:pt x="13427" y="4792"/>
                  </a:lnTo>
                  <a:lnTo>
                    <a:pt x="13435" y="4801"/>
                  </a:lnTo>
                  <a:lnTo>
                    <a:pt x="13453" y="4810"/>
                  </a:lnTo>
                  <a:lnTo>
                    <a:pt x="13453" y="4819"/>
                  </a:lnTo>
                  <a:lnTo>
                    <a:pt x="13453" y="4836"/>
                  </a:lnTo>
                  <a:lnTo>
                    <a:pt x="13453" y="4845"/>
                  </a:lnTo>
                  <a:lnTo>
                    <a:pt x="13462" y="4854"/>
                  </a:lnTo>
                  <a:lnTo>
                    <a:pt x="13480" y="4872"/>
                  </a:lnTo>
                  <a:lnTo>
                    <a:pt x="13488" y="4881"/>
                  </a:lnTo>
                  <a:lnTo>
                    <a:pt x="13497" y="4881"/>
                  </a:lnTo>
                  <a:lnTo>
                    <a:pt x="13488" y="4881"/>
                  </a:lnTo>
                  <a:lnTo>
                    <a:pt x="13480" y="4881"/>
                  </a:lnTo>
                  <a:lnTo>
                    <a:pt x="13471" y="4881"/>
                  </a:lnTo>
                  <a:lnTo>
                    <a:pt x="13471" y="4889"/>
                  </a:lnTo>
                  <a:lnTo>
                    <a:pt x="13497" y="4916"/>
                  </a:lnTo>
                  <a:lnTo>
                    <a:pt x="13506" y="4925"/>
                  </a:lnTo>
                  <a:lnTo>
                    <a:pt x="13524" y="4934"/>
                  </a:lnTo>
                  <a:lnTo>
                    <a:pt x="13533" y="4942"/>
                  </a:lnTo>
                  <a:lnTo>
                    <a:pt x="13533" y="4951"/>
                  </a:lnTo>
                  <a:lnTo>
                    <a:pt x="13541" y="4951"/>
                  </a:lnTo>
                  <a:lnTo>
                    <a:pt x="13550" y="4951"/>
                  </a:lnTo>
                  <a:lnTo>
                    <a:pt x="13559" y="4951"/>
                  </a:lnTo>
                  <a:lnTo>
                    <a:pt x="13577" y="4960"/>
                  </a:lnTo>
                  <a:lnTo>
                    <a:pt x="13603" y="4960"/>
                  </a:lnTo>
                  <a:lnTo>
                    <a:pt x="13612" y="4978"/>
                  </a:lnTo>
                  <a:lnTo>
                    <a:pt x="13630" y="4986"/>
                  </a:lnTo>
                  <a:lnTo>
                    <a:pt x="13647" y="5004"/>
                  </a:lnTo>
                  <a:lnTo>
                    <a:pt x="13656" y="5004"/>
                  </a:lnTo>
                  <a:lnTo>
                    <a:pt x="13656" y="5013"/>
                  </a:lnTo>
                  <a:lnTo>
                    <a:pt x="13621" y="4995"/>
                  </a:lnTo>
                  <a:lnTo>
                    <a:pt x="13612" y="4995"/>
                  </a:lnTo>
                  <a:lnTo>
                    <a:pt x="13630" y="5004"/>
                  </a:lnTo>
                  <a:lnTo>
                    <a:pt x="13647" y="5013"/>
                  </a:lnTo>
                  <a:lnTo>
                    <a:pt x="13665" y="5013"/>
                  </a:lnTo>
                  <a:lnTo>
                    <a:pt x="13691" y="5031"/>
                  </a:lnTo>
                  <a:lnTo>
                    <a:pt x="13700" y="5039"/>
                  </a:lnTo>
                  <a:lnTo>
                    <a:pt x="13718" y="5048"/>
                  </a:lnTo>
                  <a:lnTo>
                    <a:pt x="13727" y="5048"/>
                  </a:lnTo>
                  <a:lnTo>
                    <a:pt x="13727" y="5057"/>
                  </a:lnTo>
                  <a:lnTo>
                    <a:pt x="13744" y="5066"/>
                  </a:lnTo>
                  <a:lnTo>
                    <a:pt x="13762" y="5084"/>
                  </a:lnTo>
                  <a:lnTo>
                    <a:pt x="13771" y="5092"/>
                  </a:lnTo>
                  <a:lnTo>
                    <a:pt x="13780" y="5101"/>
                  </a:lnTo>
                  <a:lnTo>
                    <a:pt x="13788" y="5101"/>
                  </a:lnTo>
                  <a:lnTo>
                    <a:pt x="13797" y="5101"/>
                  </a:lnTo>
                  <a:lnTo>
                    <a:pt x="13797" y="5119"/>
                  </a:lnTo>
                  <a:lnTo>
                    <a:pt x="13788" y="5128"/>
                  </a:lnTo>
                  <a:lnTo>
                    <a:pt x="13788" y="5137"/>
                  </a:lnTo>
                  <a:lnTo>
                    <a:pt x="13788" y="5145"/>
                  </a:lnTo>
                  <a:lnTo>
                    <a:pt x="13788" y="5154"/>
                  </a:lnTo>
                  <a:lnTo>
                    <a:pt x="13788" y="5163"/>
                  </a:lnTo>
                  <a:lnTo>
                    <a:pt x="13788" y="5181"/>
                  </a:lnTo>
                  <a:lnTo>
                    <a:pt x="13780" y="5189"/>
                  </a:lnTo>
                  <a:lnTo>
                    <a:pt x="13780" y="5207"/>
                  </a:lnTo>
                  <a:lnTo>
                    <a:pt x="13788" y="5216"/>
                  </a:lnTo>
                  <a:lnTo>
                    <a:pt x="13788" y="5225"/>
                  </a:lnTo>
                  <a:lnTo>
                    <a:pt x="13780" y="5225"/>
                  </a:lnTo>
                  <a:lnTo>
                    <a:pt x="13780" y="5234"/>
                  </a:lnTo>
                  <a:lnTo>
                    <a:pt x="13788" y="5242"/>
                  </a:lnTo>
                  <a:lnTo>
                    <a:pt x="13815" y="5260"/>
                  </a:lnTo>
                  <a:lnTo>
                    <a:pt x="13824" y="5269"/>
                  </a:lnTo>
                  <a:lnTo>
                    <a:pt x="13824" y="5278"/>
                  </a:lnTo>
                  <a:lnTo>
                    <a:pt x="13824" y="5287"/>
                  </a:lnTo>
                  <a:lnTo>
                    <a:pt x="13832" y="5295"/>
                  </a:lnTo>
                  <a:lnTo>
                    <a:pt x="13841" y="5304"/>
                  </a:lnTo>
                  <a:lnTo>
                    <a:pt x="13850" y="5322"/>
                  </a:lnTo>
                  <a:lnTo>
                    <a:pt x="13859" y="5322"/>
                  </a:lnTo>
                  <a:lnTo>
                    <a:pt x="13868" y="5331"/>
                  </a:lnTo>
                  <a:lnTo>
                    <a:pt x="13877" y="5340"/>
                  </a:lnTo>
                  <a:lnTo>
                    <a:pt x="13877" y="5348"/>
                  </a:lnTo>
                  <a:lnTo>
                    <a:pt x="13885" y="5348"/>
                  </a:lnTo>
                  <a:lnTo>
                    <a:pt x="13894" y="5348"/>
                  </a:lnTo>
                  <a:lnTo>
                    <a:pt x="13903" y="5348"/>
                  </a:lnTo>
                  <a:lnTo>
                    <a:pt x="13912" y="5348"/>
                  </a:lnTo>
                  <a:lnTo>
                    <a:pt x="13912" y="5357"/>
                  </a:lnTo>
                  <a:lnTo>
                    <a:pt x="13903" y="5357"/>
                  </a:lnTo>
                  <a:lnTo>
                    <a:pt x="13894" y="5348"/>
                  </a:lnTo>
                  <a:lnTo>
                    <a:pt x="13885" y="5357"/>
                  </a:lnTo>
                  <a:lnTo>
                    <a:pt x="13885" y="5366"/>
                  </a:lnTo>
                  <a:lnTo>
                    <a:pt x="13894" y="5366"/>
                  </a:lnTo>
                  <a:lnTo>
                    <a:pt x="13903" y="5375"/>
                  </a:lnTo>
                  <a:lnTo>
                    <a:pt x="13903" y="5392"/>
                  </a:lnTo>
                  <a:lnTo>
                    <a:pt x="13912" y="5401"/>
                  </a:lnTo>
                  <a:lnTo>
                    <a:pt x="13921" y="5401"/>
                  </a:lnTo>
                  <a:lnTo>
                    <a:pt x="13921" y="5392"/>
                  </a:lnTo>
                  <a:lnTo>
                    <a:pt x="13930" y="5392"/>
                  </a:lnTo>
                  <a:lnTo>
                    <a:pt x="13930" y="5401"/>
                  </a:lnTo>
                  <a:lnTo>
                    <a:pt x="13938" y="5401"/>
                  </a:lnTo>
                  <a:lnTo>
                    <a:pt x="13947" y="5401"/>
                  </a:lnTo>
                  <a:lnTo>
                    <a:pt x="13956" y="5401"/>
                  </a:lnTo>
                  <a:lnTo>
                    <a:pt x="13974" y="5401"/>
                  </a:lnTo>
                  <a:lnTo>
                    <a:pt x="13991" y="5401"/>
                  </a:lnTo>
                  <a:lnTo>
                    <a:pt x="14000" y="5401"/>
                  </a:lnTo>
                  <a:lnTo>
                    <a:pt x="14009" y="5392"/>
                  </a:lnTo>
                  <a:lnTo>
                    <a:pt x="14018" y="5401"/>
                  </a:lnTo>
                  <a:lnTo>
                    <a:pt x="14027" y="5410"/>
                  </a:lnTo>
                  <a:lnTo>
                    <a:pt x="14035" y="5410"/>
                  </a:lnTo>
                  <a:lnTo>
                    <a:pt x="14044" y="5419"/>
                  </a:lnTo>
                  <a:lnTo>
                    <a:pt x="14044" y="5410"/>
                  </a:lnTo>
                  <a:lnTo>
                    <a:pt x="14053" y="5419"/>
                  </a:lnTo>
                  <a:lnTo>
                    <a:pt x="14062" y="5419"/>
                  </a:lnTo>
                  <a:lnTo>
                    <a:pt x="14062" y="5428"/>
                  </a:lnTo>
                  <a:lnTo>
                    <a:pt x="14053" y="5428"/>
                  </a:lnTo>
                  <a:lnTo>
                    <a:pt x="14044" y="5428"/>
                  </a:lnTo>
                  <a:lnTo>
                    <a:pt x="14035" y="5428"/>
                  </a:lnTo>
                  <a:lnTo>
                    <a:pt x="14044" y="5428"/>
                  </a:lnTo>
                  <a:lnTo>
                    <a:pt x="14044" y="5437"/>
                  </a:lnTo>
                  <a:lnTo>
                    <a:pt x="14035" y="5437"/>
                  </a:lnTo>
                  <a:lnTo>
                    <a:pt x="14027" y="5428"/>
                  </a:lnTo>
                  <a:lnTo>
                    <a:pt x="14018" y="5419"/>
                  </a:lnTo>
                  <a:lnTo>
                    <a:pt x="13991" y="5419"/>
                  </a:lnTo>
                  <a:lnTo>
                    <a:pt x="13974" y="5401"/>
                  </a:lnTo>
                  <a:lnTo>
                    <a:pt x="13965" y="5401"/>
                  </a:lnTo>
                  <a:lnTo>
                    <a:pt x="13956" y="5410"/>
                  </a:lnTo>
                  <a:lnTo>
                    <a:pt x="13947" y="5419"/>
                  </a:lnTo>
                  <a:lnTo>
                    <a:pt x="13938" y="5419"/>
                  </a:lnTo>
                  <a:lnTo>
                    <a:pt x="13930" y="5419"/>
                  </a:lnTo>
                  <a:lnTo>
                    <a:pt x="13921" y="5428"/>
                  </a:lnTo>
                  <a:lnTo>
                    <a:pt x="13912" y="5437"/>
                  </a:lnTo>
                  <a:lnTo>
                    <a:pt x="13912" y="5445"/>
                  </a:lnTo>
                  <a:lnTo>
                    <a:pt x="13921" y="5454"/>
                  </a:lnTo>
                  <a:lnTo>
                    <a:pt x="13921" y="5463"/>
                  </a:lnTo>
                  <a:lnTo>
                    <a:pt x="13930" y="5463"/>
                  </a:lnTo>
                  <a:lnTo>
                    <a:pt x="13938" y="5472"/>
                  </a:lnTo>
                  <a:lnTo>
                    <a:pt x="13947" y="5481"/>
                  </a:lnTo>
                  <a:lnTo>
                    <a:pt x="13947" y="5490"/>
                  </a:lnTo>
                  <a:lnTo>
                    <a:pt x="13947" y="5498"/>
                  </a:lnTo>
                  <a:lnTo>
                    <a:pt x="13947" y="5507"/>
                  </a:lnTo>
                  <a:lnTo>
                    <a:pt x="13956" y="5525"/>
                  </a:lnTo>
                  <a:lnTo>
                    <a:pt x="13965" y="5543"/>
                  </a:lnTo>
                  <a:lnTo>
                    <a:pt x="13965" y="5534"/>
                  </a:lnTo>
                  <a:lnTo>
                    <a:pt x="13974" y="5525"/>
                  </a:lnTo>
                  <a:lnTo>
                    <a:pt x="13974" y="5516"/>
                  </a:lnTo>
                  <a:lnTo>
                    <a:pt x="13982" y="5516"/>
                  </a:lnTo>
                  <a:lnTo>
                    <a:pt x="13982" y="5525"/>
                  </a:lnTo>
                  <a:lnTo>
                    <a:pt x="13991" y="5525"/>
                  </a:lnTo>
                  <a:lnTo>
                    <a:pt x="14000" y="5543"/>
                  </a:lnTo>
                  <a:lnTo>
                    <a:pt x="14000" y="5551"/>
                  </a:lnTo>
                  <a:lnTo>
                    <a:pt x="14000" y="5560"/>
                  </a:lnTo>
                  <a:lnTo>
                    <a:pt x="14009" y="5560"/>
                  </a:lnTo>
                  <a:lnTo>
                    <a:pt x="14009" y="5551"/>
                  </a:lnTo>
                  <a:lnTo>
                    <a:pt x="14018" y="5534"/>
                  </a:lnTo>
                  <a:lnTo>
                    <a:pt x="14027" y="5534"/>
                  </a:lnTo>
                  <a:lnTo>
                    <a:pt x="14035" y="5534"/>
                  </a:lnTo>
                  <a:lnTo>
                    <a:pt x="14035" y="5543"/>
                  </a:lnTo>
                  <a:lnTo>
                    <a:pt x="14044" y="5560"/>
                  </a:lnTo>
                  <a:lnTo>
                    <a:pt x="14053" y="5560"/>
                  </a:lnTo>
                  <a:lnTo>
                    <a:pt x="14062" y="5560"/>
                  </a:lnTo>
                  <a:lnTo>
                    <a:pt x="14053" y="5551"/>
                  </a:lnTo>
                  <a:lnTo>
                    <a:pt x="14053" y="5534"/>
                  </a:lnTo>
                  <a:lnTo>
                    <a:pt x="14044" y="5516"/>
                  </a:lnTo>
                  <a:lnTo>
                    <a:pt x="14035" y="5490"/>
                  </a:lnTo>
                  <a:lnTo>
                    <a:pt x="14027" y="5481"/>
                  </a:lnTo>
                  <a:lnTo>
                    <a:pt x="14027" y="5472"/>
                  </a:lnTo>
                  <a:lnTo>
                    <a:pt x="14035" y="5472"/>
                  </a:lnTo>
                  <a:lnTo>
                    <a:pt x="14044" y="5472"/>
                  </a:lnTo>
                  <a:lnTo>
                    <a:pt x="14044" y="5481"/>
                  </a:lnTo>
                  <a:lnTo>
                    <a:pt x="14053" y="5481"/>
                  </a:lnTo>
                  <a:lnTo>
                    <a:pt x="14053" y="5490"/>
                  </a:lnTo>
                  <a:lnTo>
                    <a:pt x="14062" y="5490"/>
                  </a:lnTo>
                  <a:lnTo>
                    <a:pt x="14080" y="5481"/>
                  </a:lnTo>
                  <a:lnTo>
                    <a:pt x="14080" y="5472"/>
                  </a:lnTo>
                  <a:lnTo>
                    <a:pt x="14071" y="5463"/>
                  </a:lnTo>
                  <a:lnTo>
                    <a:pt x="14062" y="5463"/>
                  </a:lnTo>
                  <a:lnTo>
                    <a:pt x="14062" y="5454"/>
                  </a:lnTo>
                  <a:lnTo>
                    <a:pt x="14053" y="5445"/>
                  </a:lnTo>
                  <a:lnTo>
                    <a:pt x="14053" y="5437"/>
                  </a:lnTo>
                  <a:lnTo>
                    <a:pt x="14062" y="5437"/>
                  </a:lnTo>
                  <a:lnTo>
                    <a:pt x="14080" y="5437"/>
                  </a:lnTo>
                  <a:lnTo>
                    <a:pt x="14088" y="5428"/>
                  </a:lnTo>
                  <a:lnTo>
                    <a:pt x="14097" y="5445"/>
                  </a:lnTo>
                  <a:lnTo>
                    <a:pt x="14115" y="5454"/>
                  </a:lnTo>
                  <a:lnTo>
                    <a:pt x="14115" y="5463"/>
                  </a:lnTo>
                  <a:lnTo>
                    <a:pt x="14124" y="5463"/>
                  </a:lnTo>
                  <a:lnTo>
                    <a:pt x="14124" y="5454"/>
                  </a:lnTo>
                  <a:lnTo>
                    <a:pt x="14124" y="5445"/>
                  </a:lnTo>
                  <a:lnTo>
                    <a:pt x="14124" y="5437"/>
                  </a:lnTo>
                  <a:lnTo>
                    <a:pt x="14124" y="5419"/>
                  </a:lnTo>
                  <a:lnTo>
                    <a:pt x="14124" y="5410"/>
                  </a:lnTo>
                  <a:lnTo>
                    <a:pt x="14115" y="5410"/>
                  </a:lnTo>
                  <a:lnTo>
                    <a:pt x="14106" y="5401"/>
                  </a:lnTo>
                  <a:lnTo>
                    <a:pt x="14097" y="5401"/>
                  </a:lnTo>
                  <a:lnTo>
                    <a:pt x="14088" y="5392"/>
                  </a:lnTo>
                  <a:lnTo>
                    <a:pt x="14071" y="5384"/>
                  </a:lnTo>
                  <a:lnTo>
                    <a:pt x="14062" y="5375"/>
                  </a:lnTo>
                  <a:lnTo>
                    <a:pt x="14053" y="5366"/>
                  </a:lnTo>
                  <a:lnTo>
                    <a:pt x="14027" y="5366"/>
                  </a:lnTo>
                  <a:lnTo>
                    <a:pt x="14027" y="5357"/>
                  </a:lnTo>
                  <a:lnTo>
                    <a:pt x="14018" y="5357"/>
                  </a:lnTo>
                  <a:lnTo>
                    <a:pt x="14027" y="5357"/>
                  </a:lnTo>
                  <a:lnTo>
                    <a:pt x="14035" y="5357"/>
                  </a:lnTo>
                  <a:lnTo>
                    <a:pt x="14044" y="5348"/>
                  </a:lnTo>
                  <a:lnTo>
                    <a:pt x="14053" y="5340"/>
                  </a:lnTo>
                  <a:lnTo>
                    <a:pt x="14044" y="5348"/>
                  </a:lnTo>
                  <a:lnTo>
                    <a:pt x="14044" y="5340"/>
                  </a:lnTo>
                  <a:lnTo>
                    <a:pt x="14035" y="5331"/>
                  </a:lnTo>
                  <a:lnTo>
                    <a:pt x="14035" y="5322"/>
                  </a:lnTo>
                  <a:lnTo>
                    <a:pt x="14044" y="5322"/>
                  </a:lnTo>
                  <a:lnTo>
                    <a:pt x="14062" y="5322"/>
                  </a:lnTo>
                  <a:lnTo>
                    <a:pt x="14062" y="5331"/>
                  </a:lnTo>
                  <a:lnTo>
                    <a:pt x="14053" y="5340"/>
                  </a:lnTo>
                  <a:lnTo>
                    <a:pt x="14062" y="5340"/>
                  </a:lnTo>
                  <a:lnTo>
                    <a:pt x="14071" y="5331"/>
                  </a:lnTo>
                  <a:lnTo>
                    <a:pt x="14071" y="5322"/>
                  </a:lnTo>
                  <a:lnTo>
                    <a:pt x="14062" y="5313"/>
                  </a:lnTo>
                  <a:lnTo>
                    <a:pt x="14053" y="5304"/>
                  </a:lnTo>
                  <a:lnTo>
                    <a:pt x="14044" y="5295"/>
                  </a:lnTo>
                  <a:lnTo>
                    <a:pt x="14035" y="5278"/>
                  </a:lnTo>
                  <a:lnTo>
                    <a:pt x="14018" y="5260"/>
                  </a:lnTo>
                  <a:lnTo>
                    <a:pt x="14018" y="5251"/>
                  </a:lnTo>
                  <a:lnTo>
                    <a:pt x="14018" y="5234"/>
                  </a:lnTo>
                  <a:lnTo>
                    <a:pt x="14018" y="5225"/>
                  </a:lnTo>
                  <a:lnTo>
                    <a:pt x="14018" y="5216"/>
                  </a:lnTo>
                  <a:lnTo>
                    <a:pt x="14027" y="5216"/>
                  </a:lnTo>
                  <a:lnTo>
                    <a:pt x="14035" y="5207"/>
                  </a:lnTo>
                  <a:lnTo>
                    <a:pt x="14044" y="5207"/>
                  </a:lnTo>
                  <a:lnTo>
                    <a:pt x="14035" y="5216"/>
                  </a:lnTo>
                  <a:lnTo>
                    <a:pt x="14044" y="5225"/>
                  </a:lnTo>
                  <a:lnTo>
                    <a:pt x="14053" y="5234"/>
                  </a:lnTo>
                  <a:lnTo>
                    <a:pt x="14071" y="5242"/>
                  </a:lnTo>
                  <a:lnTo>
                    <a:pt x="14071" y="5251"/>
                  </a:lnTo>
                  <a:lnTo>
                    <a:pt x="14080" y="5260"/>
                  </a:lnTo>
                  <a:lnTo>
                    <a:pt x="14097" y="5269"/>
                  </a:lnTo>
                  <a:lnTo>
                    <a:pt x="14080" y="5251"/>
                  </a:lnTo>
                  <a:lnTo>
                    <a:pt x="14080" y="5242"/>
                  </a:lnTo>
                  <a:lnTo>
                    <a:pt x="14097" y="5242"/>
                  </a:lnTo>
                  <a:lnTo>
                    <a:pt x="14106" y="5260"/>
                  </a:lnTo>
                  <a:lnTo>
                    <a:pt x="14115" y="5260"/>
                  </a:lnTo>
                  <a:lnTo>
                    <a:pt x="14124" y="5260"/>
                  </a:lnTo>
                  <a:lnTo>
                    <a:pt x="14115" y="5251"/>
                  </a:lnTo>
                  <a:lnTo>
                    <a:pt x="14106" y="5242"/>
                  </a:lnTo>
                  <a:lnTo>
                    <a:pt x="14097" y="5234"/>
                  </a:lnTo>
                  <a:lnTo>
                    <a:pt x="14106" y="5234"/>
                  </a:lnTo>
                  <a:lnTo>
                    <a:pt x="14115" y="5234"/>
                  </a:lnTo>
                  <a:lnTo>
                    <a:pt x="14124" y="5234"/>
                  </a:lnTo>
                  <a:lnTo>
                    <a:pt x="14132" y="5234"/>
                  </a:lnTo>
                  <a:lnTo>
                    <a:pt x="14141" y="5242"/>
                  </a:lnTo>
                  <a:lnTo>
                    <a:pt x="14150" y="5251"/>
                  </a:lnTo>
                  <a:lnTo>
                    <a:pt x="14141" y="5242"/>
                  </a:lnTo>
                  <a:lnTo>
                    <a:pt x="14132" y="5234"/>
                  </a:lnTo>
                  <a:lnTo>
                    <a:pt x="14124" y="5225"/>
                  </a:lnTo>
                  <a:lnTo>
                    <a:pt x="14115" y="5225"/>
                  </a:lnTo>
                  <a:lnTo>
                    <a:pt x="14106" y="5216"/>
                  </a:lnTo>
                  <a:lnTo>
                    <a:pt x="14115" y="5216"/>
                  </a:lnTo>
                  <a:lnTo>
                    <a:pt x="14106" y="5207"/>
                  </a:lnTo>
                  <a:lnTo>
                    <a:pt x="14106" y="5198"/>
                  </a:lnTo>
                  <a:lnTo>
                    <a:pt x="14115" y="5198"/>
                  </a:lnTo>
                  <a:lnTo>
                    <a:pt x="14124" y="5198"/>
                  </a:lnTo>
                  <a:lnTo>
                    <a:pt x="14141" y="5189"/>
                  </a:lnTo>
                  <a:lnTo>
                    <a:pt x="14150" y="5181"/>
                  </a:lnTo>
                  <a:lnTo>
                    <a:pt x="14159" y="5181"/>
                  </a:lnTo>
                  <a:lnTo>
                    <a:pt x="14168" y="5189"/>
                  </a:lnTo>
                  <a:lnTo>
                    <a:pt x="14177" y="5189"/>
                  </a:lnTo>
                  <a:lnTo>
                    <a:pt x="14194" y="5181"/>
                  </a:lnTo>
                  <a:lnTo>
                    <a:pt x="14203" y="5172"/>
                  </a:lnTo>
                  <a:lnTo>
                    <a:pt x="14212" y="5181"/>
                  </a:lnTo>
                  <a:lnTo>
                    <a:pt x="14221" y="5181"/>
                  </a:lnTo>
                  <a:lnTo>
                    <a:pt x="14229" y="5181"/>
                  </a:lnTo>
                  <a:lnTo>
                    <a:pt x="14256" y="5189"/>
                  </a:lnTo>
                  <a:lnTo>
                    <a:pt x="14265" y="5198"/>
                  </a:lnTo>
                  <a:lnTo>
                    <a:pt x="14274" y="5198"/>
                  </a:lnTo>
                  <a:lnTo>
                    <a:pt x="14274" y="5207"/>
                  </a:lnTo>
                  <a:lnTo>
                    <a:pt x="14282" y="5207"/>
                  </a:lnTo>
                  <a:lnTo>
                    <a:pt x="14291" y="5207"/>
                  </a:lnTo>
                  <a:lnTo>
                    <a:pt x="14309" y="5207"/>
                  </a:lnTo>
                  <a:lnTo>
                    <a:pt x="14327" y="5207"/>
                  </a:lnTo>
                  <a:lnTo>
                    <a:pt x="14318" y="5216"/>
                  </a:lnTo>
                  <a:lnTo>
                    <a:pt x="14300" y="5225"/>
                  </a:lnTo>
                  <a:lnTo>
                    <a:pt x="14291" y="5225"/>
                  </a:lnTo>
                  <a:lnTo>
                    <a:pt x="14282" y="5234"/>
                  </a:lnTo>
                  <a:lnTo>
                    <a:pt x="14282" y="5242"/>
                  </a:lnTo>
                  <a:lnTo>
                    <a:pt x="14291" y="5242"/>
                  </a:lnTo>
                  <a:lnTo>
                    <a:pt x="14282" y="5251"/>
                  </a:lnTo>
                  <a:lnTo>
                    <a:pt x="14291" y="5251"/>
                  </a:lnTo>
                  <a:lnTo>
                    <a:pt x="14300" y="5242"/>
                  </a:lnTo>
                  <a:lnTo>
                    <a:pt x="14327" y="5216"/>
                  </a:lnTo>
                  <a:lnTo>
                    <a:pt x="14335" y="5216"/>
                  </a:lnTo>
                  <a:lnTo>
                    <a:pt x="14362" y="5198"/>
                  </a:lnTo>
                  <a:lnTo>
                    <a:pt x="14371" y="5189"/>
                  </a:lnTo>
                  <a:lnTo>
                    <a:pt x="14379" y="5181"/>
                  </a:lnTo>
                  <a:lnTo>
                    <a:pt x="14397" y="5172"/>
                  </a:lnTo>
                  <a:lnTo>
                    <a:pt x="14406" y="5172"/>
                  </a:lnTo>
                  <a:lnTo>
                    <a:pt x="14424" y="5172"/>
                  </a:lnTo>
                  <a:lnTo>
                    <a:pt x="14424" y="5163"/>
                  </a:lnTo>
                  <a:lnTo>
                    <a:pt x="14432" y="5172"/>
                  </a:lnTo>
                  <a:lnTo>
                    <a:pt x="14477" y="5181"/>
                  </a:lnTo>
                  <a:lnTo>
                    <a:pt x="14485" y="5172"/>
                  </a:lnTo>
                  <a:lnTo>
                    <a:pt x="14494" y="5163"/>
                  </a:lnTo>
                  <a:lnTo>
                    <a:pt x="14494" y="5154"/>
                  </a:lnTo>
                  <a:lnTo>
                    <a:pt x="14485" y="5154"/>
                  </a:lnTo>
                  <a:lnTo>
                    <a:pt x="14441" y="5137"/>
                  </a:lnTo>
                  <a:lnTo>
                    <a:pt x="14432" y="5128"/>
                  </a:lnTo>
                  <a:lnTo>
                    <a:pt x="14415" y="5110"/>
                  </a:lnTo>
                  <a:lnTo>
                    <a:pt x="14415" y="5101"/>
                  </a:lnTo>
                  <a:lnTo>
                    <a:pt x="14415" y="5092"/>
                  </a:lnTo>
                  <a:lnTo>
                    <a:pt x="14415" y="5084"/>
                  </a:lnTo>
                  <a:lnTo>
                    <a:pt x="14406" y="5066"/>
                  </a:lnTo>
                  <a:lnTo>
                    <a:pt x="14397" y="5057"/>
                  </a:lnTo>
                  <a:lnTo>
                    <a:pt x="14388" y="5048"/>
                  </a:lnTo>
                  <a:lnTo>
                    <a:pt x="14379" y="5048"/>
                  </a:lnTo>
                  <a:lnTo>
                    <a:pt x="14397" y="5022"/>
                  </a:lnTo>
                  <a:lnTo>
                    <a:pt x="14406" y="5022"/>
                  </a:lnTo>
                  <a:lnTo>
                    <a:pt x="14406" y="4995"/>
                  </a:lnTo>
                  <a:lnTo>
                    <a:pt x="14406" y="4978"/>
                  </a:lnTo>
                  <a:lnTo>
                    <a:pt x="14415" y="4978"/>
                  </a:lnTo>
                  <a:lnTo>
                    <a:pt x="14424" y="4960"/>
                  </a:lnTo>
                  <a:lnTo>
                    <a:pt x="14441" y="4960"/>
                  </a:lnTo>
                  <a:lnTo>
                    <a:pt x="14450" y="4960"/>
                  </a:lnTo>
                  <a:lnTo>
                    <a:pt x="14459" y="4951"/>
                  </a:lnTo>
                  <a:lnTo>
                    <a:pt x="14459" y="4934"/>
                  </a:lnTo>
                  <a:lnTo>
                    <a:pt x="14459" y="4925"/>
                  </a:lnTo>
                  <a:lnTo>
                    <a:pt x="14468" y="4907"/>
                  </a:lnTo>
                  <a:lnTo>
                    <a:pt x="14459" y="4881"/>
                  </a:lnTo>
                  <a:lnTo>
                    <a:pt x="14468" y="4872"/>
                  </a:lnTo>
                  <a:lnTo>
                    <a:pt x="14477" y="4863"/>
                  </a:lnTo>
                  <a:lnTo>
                    <a:pt x="14477" y="4854"/>
                  </a:lnTo>
                  <a:lnTo>
                    <a:pt x="14477" y="4845"/>
                  </a:lnTo>
                  <a:lnTo>
                    <a:pt x="14485" y="4836"/>
                  </a:lnTo>
                  <a:lnTo>
                    <a:pt x="14477" y="4828"/>
                  </a:lnTo>
                  <a:lnTo>
                    <a:pt x="14485" y="4819"/>
                  </a:lnTo>
                  <a:lnTo>
                    <a:pt x="14494" y="4819"/>
                  </a:lnTo>
                  <a:lnTo>
                    <a:pt x="14494" y="4828"/>
                  </a:lnTo>
                  <a:lnTo>
                    <a:pt x="14494" y="4836"/>
                  </a:lnTo>
                  <a:lnTo>
                    <a:pt x="14529" y="4836"/>
                  </a:lnTo>
                  <a:lnTo>
                    <a:pt x="14529" y="4828"/>
                  </a:lnTo>
                  <a:lnTo>
                    <a:pt x="14538" y="4819"/>
                  </a:lnTo>
                  <a:lnTo>
                    <a:pt x="14538" y="4801"/>
                  </a:lnTo>
                  <a:lnTo>
                    <a:pt x="14538" y="4792"/>
                  </a:lnTo>
                  <a:lnTo>
                    <a:pt x="14538" y="4784"/>
                  </a:lnTo>
                  <a:lnTo>
                    <a:pt x="14538" y="4766"/>
                  </a:lnTo>
                  <a:lnTo>
                    <a:pt x="14529" y="4766"/>
                  </a:lnTo>
                  <a:lnTo>
                    <a:pt x="14529" y="4757"/>
                  </a:lnTo>
                  <a:lnTo>
                    <a:pt x="14538" y="4757"/>
                  </a:lnTo>
                  <a:lnTo>
                    <a:pt x="14538" y="4748"/>
                  </a:lnTo>
                  <a:lnTo>
                    <a:pt x="14547" y="4748"/>
                  </a:lnTo>
                  <a:lnTo>
                    <a:pt x="14556" y="4748"/>
                  </a:lnTo>
                  <a:lnTo>
                    <a:pt x="14565" y="4748"/>
                  </a:lnTo>
                  <a:lnTo>
                    <a:pt x="14574" y="4739"/>
                  </a:lnTo>
                  <a:lnTo>
                    <a:pt x="14582" y="4739"/>
                  </a:lnTo>
                  <a:lnTo>
                    <a:pt x="14600" y="4722"/>
                  </a:lnTo>
                  <a:lnTo>
                    <a:pt x="14609" y="4704"/>
                  </a:lnTo>
                  <a:lnTo>
                    <a:pt x="14609" y="4695"/>
                  </a:lnTo>
                  <a:lnTo>
                    <a:pt x="14618" y="4695"/>
                  </a:lnTo>
                  <a:lnTo>
                    <a:pt x="14618" y="4686"/>
                  </a:lnTo>
                  <a:lnTo>
                    <a:pt x="14618" y="4678"/>
                  </a:lnTo>
                  <a:lnTo>
                    <a:pt x="14644" y="4669"/>
                  </a:lnTo>
                  <a:lnTo>
                    <a:pt x="14662" y="4669"/>
                  </a:lnTo>
                  <a:lnTo>
                    <a:pt x="14671" y="4660"/>
                  </a:lnTo>
                  <a:lnTo>
                    <a:pt x="14679" y="4660"/>
                  </a:lnTo>
                  <a:lnTo>
                    <a:pt x="14671" y="4669"/>
                  </a:lnTo>
                  <a:lnTo>
                    <a:pt x="14688" y="4669"/>
                  </a:lnTo>
                  <a:lnTo>
                    <a:pt x="14697" y="4669"/>
                  </a:lnTo>
                  <a:lnTo>
                    <a:pt x="14706" y="4660"/>
                  </a:lnTo>
                  <a:lnTo>
                    <a:pt x="14706" y="4642"/>
                  </a:lnTo>
                  <a:lnTo>
                    <a:pt x="14697" y="4633"/>
                  </a:lnTo>
                  <a:lnTo>
                    <a:pt x="14697" y="4625"/>
                  </a:lnTo>
                  <a:lnTo>
                    <a:pt x="14688" y="4616"/>
                  </a:lnTo>
                  <a:lnTo>
                    <a:pt x="14697" y="4625"/>
                  </a:lnTo>
                  <a:lnTo>
                    <a:pt x="14706" y="4633"/>
                  </a:lnTo>
                  <a:lnTo>
                    <a:pt x="14706" y="4651"/>
                  </a:lnTo>
                  <a:lnTo>
                    <a:pt x="14706" y="4660"/>
                  </a:lnTo>
                  <a:lnTo>
                    <a:pt x="14715" y="4669"/>
                  </a:lnTo>
                  <a:lnTo>
                    <a:pt x="14732" y="4678"/>
                  </a:lnTo>
                  <a:lnTo>
                    <a:pt x="14750" y="4669"/>
                  </a:lnTo>
                  <a:lnTo>
                    <a:pt x="14741" y="4678"/>
                  </a:lnTo>
                  <a:lnTo>
                    <a:pt x="14732" y="4686"/>
                  </a:lnTo>
                  <a:lnTo>
                    <a:pt x="14715" y="4678"/>
                  </a:lnTo>
                  <a:lnTo>
                    <a:pt x="14697" y="4678"/>
                  </a:lnTo>
                  <a:lnTo>
                    <a:pt x="14688" y="4678"/>
                  </a:lnTo>
                  <a:lnTo>
                    <a:pt x="14679" y="4678"/>
                  </a:lnTo>
                  <a:lnTo>
                    <a:pt x="14688" y="4686"/>
                  </a:lnTo>
                  <a:lnTo>
                    <a:pt x="14697" y="4686"/>
                  </a:lnTo>
                  <a:lnTo>
                    <a:pt x="14706" y="4686"/>
                  </a:lnTo>
                  <a:lnTo>
                    <a:pt x="14706" y="4695"/>
                  </a:lnTo>
                  <a:lnTo>
                    <a:pt x="14697" y="4695"/>
                  </a:lnTo>
                  <a:lnTo>
                    <a:pt x="14697" y="4704"/>
                  </a:lnTo>
                  <a:lnTo>
                    <a:pt x="14706" y="4704"/>
                  </a:lnTo>
                  <a:lnTo>
                    <a:pt x="14715" y="4704"/>
                  </a:lnTo>
                  <a:lnTo>
                    <a:pt x="14732" y="4713"/>
                  </a:lnTo>
                  <a:lnTo>
                    <a:pt x="14741" y="4722"/>
                  </a:lnTo>
                  <a:lnTo>
                    <a:pt x="14768" y="4713"/>
                  </a:lnTo>
                  <a:lnTo>
                    <a:pt x="14776" y="4713"/>
                  </a:lnTo>
                  <a:lnTo>
                    <a:pt x="14794" y="4713"/>
                  </a:lnTo>
                  <a:lnTo>
                    <a:pt x="14803" y="4713"/>
                  </a:lnTo>
                  <a:lnTo>
                    <a:pt x="14812" y="4722"/>
                  </a:lnTo>
                  <a:lnTo>
                    <a:pt x="14821" y="4722"/>
                  </a:lnTo>
                  <a:lnTo>
                    <a:pt x="14829" y="4722"/>
                  </a:lnTo>
                  <a:lnTo>
                    <a:pt x="14829" y="4731"/>
                  </a:lnTo>
                  <a:lnTo>
                    <a:pt x="14821" y="4739"/>
                  </a:lnTo>
                  <a:lnTo>
                    <a:pt x="14803" y="4748"/>
                  </a:lnTo>
                  <a:lnTo>
                    <a:pt x="14794" y="4748"/>
                  </a:lnTo>
                  <a:lnTo>
                    <a:pt x="14768" y="4766"/>
                  </a:lnTo>
                  <a:lnTo>
                    <a:pt x="14750" y="4784"/>
                  </a:lnTo>
                  <a:lnTo>
                    <a:pt x="14750" y="4792"/>
                  </a:lnTo>
                  <a:lnTo>
                    <a:pt x="14768" y="4784"/>
                  </a:lnTo>
                  <a:lnTo>
                    <a:pt x="14776" y="4784"/>
                  </a:lnTo>
                  <a:lnTo>
                    <a:pt x="14794" y="4801"/>
                  </a:lnTo>
                  <a:lnTo>
                    <a:pt x="14803" y="4801"/>
                  </a:lnTo>
                  <a:lnTo>
                    <a:pt x="14812" y="4801"/>
                  </a:lnTo>
                  <a:lnTo>
                    <a:pt x="14821" y="4810"/>
                  </a:lnTo>
                  <a:lnTo>
                    <a:pt x="14829" y="4819"/>
                  </a:lnTo>
                  <a:lnTo>
                    <a:pt x="14829" y="4828"/>
                  </a:lnTo>
                  <a:lnTo>
                    <a:pt x="14821" y="4845"/>
                  </a:lnTo>
                  <a:lnTo>
                    <a:pt x="14821" y="4854"/>
                  </a:lnTo>
                  <a:lnTo>
                    <a:pt x="14812" y="4863"/>
                  </a:lnTo>
                  <a:lnTo>
                    <a:pt x="14829" y="4872"/>
                  </a:lnTo>
                  <a:lnTo>
                    <a:pt x="14838" y="4872"/>
                  </a:lnTo>
                  <a:lnTo>
                    <a:pt x="14847" y="4872"/>
                  </a:lnTo>
                  <a:lnTo>
                    <a:pt x="14865" y="4872"/>
                  </a:lnTo>
                  <a:lnTo>
                    <a:pt x="14874" y="4863"/>
                  </a:lnTo>
                  <a:lnTo>
                    <a:pt x="14891" y="4845"/>
                  </a:lnTo>
                  <a:lnTo>
                    <a:pt x="14909" y="4836"/>
                  </a:lnTo>
                  <a:lnTo>
                    <a:pt x="14918" y="4836"/>
                  </a:lnTo>
                  <a:lnTo>
                    <a:pt x="14935" y="4836"/>
                  </a:lnTo>
                  <a:lnTo>
                    <a:pt x="14944" y="4828"/>
                  </a:lnTo>
                  <a:lnTo>
                    <a:pt x="14953" y="4819"/>
                  </a:lnTo>
                  <a:lnTo>
                    <a:pt x="14962" y="4810"/>
                  </a:lnTo>
                  <a:lnTo>
                    <a:pt x="14971" y="4810"/>
                  </a:lnTo>
                  <a:lnTo>
                    <a:pt x="14979" y="4810"/>
                  </a:lnTo>
                  <a:lnTo>
                    <a:pt x="14988" y="4810"/>
                  </a:lnTo>
                  <a:lnTo>
                    <a:pt x="14988" y="4819"/>
                  </a:lnTo>
                  <a:lnTo>
                    <a:pt x="14997" y="4819"/>
                  </a:lnTo>
                  <a:lnTo>
                    <a:pt x="15006" y="4819"/>
                  </a:lnTo>
                  <a:lnTo>
                    <a:pt x="15023" y="4819"/>
                  </a:lnTo>
                  <a:lnTo>
                    <a:pt x="15032" y="4810"/>
                  </a:lnTo>
                  <a:lnTo>
                    <a:pt x="15032" y="4801"/>
                  </a:lnTo>
                  <a:lnTo>
                    <a:pt x="15041" y="4792"/>
                  </a:lnTo>
                  <a:lnTo>
                    <a:pt x="15041" y="4784"/>
                  </a:lnTo>
                  <a:lnTo>
                    <a:pt x="15032" y="4775"/>
                  </a:lnTo>
                  <a:lnTo>
                    <a:pt x="15023" y="4775"/>
                  </a:lnTo>
                  <a:lnTo>
                    <a:pt x="15015" y="4775"/>
                  </a:lnTo>
                  <a:lnTo>
                    <a:pt x="15006" y="4784"/>
                  </a:lnTo>
                  <a:lnTo>
                    <a:pt x="14988" y="4784"/>
                  </a:lnTo>
                  <a:lnTo>
                    <a:pt x="14971" y="4792"/>
                  </a:lnTo>
                  <a:lnTo>
                    <a:pt x="14962" y="4792"/>
                  </a:lnTo>
                  <a:lnTo>
                    <a:pt x="14953" y="4784"/>
                  </a:lnTo>
                  <a:lnTo>
                    <a:pt x="14953" y="4775"/>
                  </a:lnTo>
                  <a:lnTo>
                    <a:pt x="14935" y="4757"/>
                  </a:lnTo>
                  <a:lnTo>
                    <a:pt x="14926" y="4739"/>
                  </a:lnTo>
                  <a:lnTo>
                    <a:pt x="14918" y="4731"/>
                  </a:lnTo>
                  <a:lnTo>
                    <a:pt x="14918" y="4722"/>
                  </a:lnTo>
                  <a:lnTo>
                    <a:pt x="14918" y="4713"/>
                  </a:lnTo>
                  <a:lnTo>
                    <a:pt x="14926" y="4704"/>
                  </a:lnTo>
                  <a:lnTo>
                    <a:pt x="14935" y="4704"/>
                  </a:lnTo>
                  <a:lnTo>
                    <a:pt x="14944" y="4686"/>
                  </a:lnTo>
                  <a:lnTo>
                    <a:pt x="14953" y="4695"/>
                  </a:lnTo>
                  <a:lnTo>
                    <a:pt x="14953" y="4704"/>
                  </a:lnTo>
                  <a:lnTo>
                    <a:pt x="14944" y="4704"/>
                  </a:lnTo>
                  <a:lnTo>
                    <a:pt x="14926" y="4722"/>
                  </a:lnTo>
                  <a:lnTo>
                    <a:pt x="14935" y="4722"/>
                  </a:lnTo>
                  <a:lnTo>
                    <a:pt x="14935" y="4713"/>
                  </a:lnTo>
                  <a:lnTo>
                    <a:pt x="14944" y="4713"/>
                  </a:lnTo>
                  <a:lnTo>
                    <a:pt x="14962" y="4695"/>
                  </a:lnTo>
                  <a:lnTo>
                    <a:pt x="14988" y="4669"/>
                  </a:lnTo>
                  <a:lnTo>
                    <a:pt x="15006" y="4669"/>
                  </a:lnTo>
                  <a:lnTo>
                    <a:pt x="15015" y="4669"/>
                  </a:lnTo>
                  <a:lnTo>
                    <a:pt x="15023" y="4669"/>
                  </a:lnTo>
                  <a:lnTo>
                    <a:pt x="15032" y="4660"/>
                  </a:lnTo>
                  <a:lnTo>
                    <a:pt x="15041" y="4660"/>
                  </a:lnTo>
                  <a:lnTo>
                    <a:pt x="15050" y="4660"/>
                  </a:lnTo>
                  <a:lnTo>
                    <a:pt x="15059" y="4660"/>
                  </a:lnTo>
                  <a:lnTo>
                    <a:pt x="15068" y="4651"/>
                  </a:lnTo>
                  <a:lnTo>
                    <a:pt x="15076" y="4642"/>
                  </a:lnTo>
                  <a:lnTo>
                    <a:pt x="15094" y="4642"/>
                  </a:lnTo>
                  <a:lnTo>
                    <a:pt x="15103" y="4642"/>
                  </a:lnTo>
                  <a:lnTo>
                    <a:pt x="15121" y="4625"/>
                  </a:lnTo>
                  <a:lnTo>
                    <a:pt x="15138" y="4625"/>
                  </a:lnTo>
                  <a:lnTo>
                    <a:pt x="15165" y="4625"/>
                  </a:lnTo>
                  <a:lnTo>
                    <a:pt x="15182" y="4616"/>
                  </a:lnTo>
                  <a:lnTo>
                    <a:pt x="15191" y="4616"/>
                  </a:lnTo>
                  <a:lnTo>
                    <a:pt x="15209" y="4607"/>
                  </a:lnTo>
                  <a:lnTo>
                    <a:pt x="15200" y="4616"/>
                  </a:lnTo>
                  <a:lnTo>
                    <a:pt x="15191" y="4625"/>
                  </a:lnTo>
                  <a:lnTo>
                    <a:pt x="15200" y="4625"/>
                  </a:lnTo>
                  <a:lnTo>
                    <a:pt x="15218" y="4616"/>
                  </a:lnTo>
                  <a:lnTo>
                    <a:pt x="15226" y="4607"/>
                  </a:lnTo>
                  <a:lnTo>
                    <a:pt x="15235" y="4607"/>
                  </a:lnTo>
                  <a:lnTo>
                    <a:pt x="15244" y="4616"/>
                  </a:lnTo>
                  <a:lnTo>
                    <a:pt x="15244" y="4625"/>
                  </a:lnTo>
                  <a:lnTo>
                    <a:pt x="15244" y="4633"/>
                  </a:lnTo>
                  <a:lnTo>
                    <a:pt x="15235" y="4633"/>
                  </a:lnTo>
                  <a:lnTo>
                    <a:pt x="15209" y="4642"/>
                  </a:lnTo>
                  <a:lnTo>
                    <a:pt x="15200" y="4651"/>
                  </a:lnTo>
                  <a:lnTo>
                    <a:pt x="15182" y="4651"/>
                  </a:lnTo>
                  <a:lnTo>
                    <a:pt x="15182" y="4660"/>
                  </a:lnTo>
                  <a:lnTo>
                    <a:pt x="15191" y="4669"/>
                  </a:lnTo>
                  <a:lnTo>
                    <a:pt x="15173" y="4669"/>
                  </a:lnTo>
                  <a:lnTo>
                    <a:pt x="15165" y="4660"/>
                  </a:lnTo>
                  <a:lnTo>
                    <a:pt x="15147" y="4669"/>
                  </a:lnTo>
                  <a:lnTo>
                    <a:pt x="15138" y="4669"/>
                  </a:lnTo>
                  <a:lnTo>
                    <a:pt x="15129" y="4669"/>
                  </a:lnTo>
                  <a:lnTo>
                    <a:pt x="15138" y="4678"/>
                  </a:lnTo>
                  <a:lnTo>
                    <a:pt x="15147" y="4686"/>
                  </a:lnTo>
                  <a:lnTo>
                    <a:pt x="15147" y="4695"/>
                  </a:lnTo>
                  <a:lnTo>
                    <a:pt x="15156" y="4695"/>
                  </a:lnTo>
                  <a:lnTo>
                    <a:pt x="15173" y="4704"/>
                  </a:lnTo>
                  <a:lnTo>
                    <a:pt x="15182" y="4722"/>
                  </a:lnTo>
                  <a:lnTo>
                    <a:pt x="15173" y="4722"/>
                  </a:lnTo>
                  <a:lnTo>
                    <a:pt x="15165" y="4722"/>
                  </a:lnTo>
                  <a:lnTo>
                    <a:pt x="15156" y="4731"/>
                  </a:lnTo>
                  <a:lnTo>
                    <a:pt x="15156" y="4722"/>
                  </a:lnTo>
                  <a:lnTo>
                    <a:pt x="15147" y="4722"/>
                  </a:lnTo>
                  <a:lnTo>
                    <a:pt x="15147" y="4731"/>
                  </a:lnTo>
                  <a:lnTo>
                    <a:pt x="15138" y="4748"/>
                  </a:lnTo>
                  <a:lnTo>
                    <a:pt x="15129" y="4757"/>
                  </a:lnTo>
                  <a:lnTo>
                    <a:pt x="15121" y="4766"/>
                  </a:lnTo>
                  <a:lnTo>
                    <a:pt x="15121" y="4775"/>
                  </a:lnTo>
                  <a:lnTo>
                    <a:pt x="15129" y="4775"/>
                  </a:lnTo>
                  <a:lnTo>
                    <a:pt x="15129" y="4784"/>
                  </a:lnTo>
                  <a:lnTo>
                    <a:pt x="15121" y="4784"/>
                  </a:lnTo>
                  <a:lnTo>
                    <a:pt x="15094" y="4792"/>
                  </a:lnTo>
                  <a:lnTo>
                    <a:pt x="15085" y="4792"/>
                  </a:lnTo>
                  <a:lnTo>
                    <a:pt x="15076" y="4784"/>
                  </a:lnTo>
                  <a:lnTo>
                    <a:pt x="15068" y="4784"/>
                  </a:lnTo>
                  <a:lnTo>
                    <a:pt x="15059" y="4784"/>
                  </a:lnTo>
                  <a:lnTo>
                    <a:pt x="15076" y="4792"/>
                  </a:lnTo>
                  <a:lnTo>
                    <a:pt x="15068" y="4792"/>
                  </a:lnTo>
                  <a:lnTo>
                    <a:pt x="15050" y="4801"/>
                  </a:lnTo>
                  <a:lnTo>
                    <a:pt x="15050" y="4810"/>
                  </a:lnTo>
                  <a:lnTo>
                    <a:pt x="15076" y="4810"/>
                  </a:lnTo>
                  <a:lnTo>
                    <a:pt x="15094" y="4819"/>
                  </a:lnTo>
                  <a:lnTo>
                    <a:pt x="15094" y="4828"/>
                  </a:lnTo>
                  <a:lnTo>
                    <a:pt x="15103" y="4836"/>
                  </a:lnTo>
                  <a:lnTo>
                    <a:pt x="15103" y="4845"/>
                  </a:lnTo>
                  <a:lnTo>
                    <a:pt x="15112" y="4845"/>
                  </a:lnTo>
                  <a:lnTo>
                    <a:pt x="15121" y="4845"/>
                  </a:lnTo>
                  <a:lnTo>
                    <a:pt x="15129" y="4845"/>
                  </a:lnTo>
                  <a:lnTo>
                    <a:pt x="15138" y="4845"/>
                  </a:lnTo>
                  <a:lnTo>
                    <a:pt x="15165" y="4872"/>
                  </a:lnTo>
                  <a:lnTo>
                    <a:pt x="15173" y="4872"/>
                  </a:lnTo>
                  <a:lnTo>
                    <a:pt x="15200" y="4881"/>
                  </a:lnTo>
                  <a:lnTo>
                    <a:pt x="15244" y="4916"/>
                  </a:lnTo>
                  <a:lnTo>
                    <a:pt x="15262" y="4934"/>
                  </a:lnTo>
                  <a:lnTo>
                    <a:pt x="15288" y="4960"/>
                  </a:lnTo>
                  <a:lnTo>
                    <a:pt x="15297" y="4960"/>
                  </a:lnTo>
                  <a:lnTo>
                    <a:pt x="15315" y="4969"/>
                  </a:lnTo>
                  <a:lnTo>
                    <a:pt x="15332" y="4986"/>
                  </a:lnTo>
                  <a:lnTo>
                    <a:pt x="15359" y="4995"/>
                  </a:lnTo>
                  <a:lnTo>
                    <a:pt x="15376" y="5004"/>
                  </a:lnTo>
                  <a:lnTo>
                    <a:pt x="15376" y="5013"/>
                  </a:lnTo>
                  <a:lnTo>
                    <a:pt x="15403" y="5022"/>
                  </a:lnTo>
                  <a:lnTo>
                    <a:pt x="15403" y="5031"/>
                  </a:lnTo>
                  <a:lnTo>
                    <a:pt x="15412" y="5048"/>
                  </a:lnTo>
                  <a:lnTo>
                    <a:pt x="15421" y="5075"/>
                  </a:lnTo>
                  <a:lnTo>
                    <a:pt x="15429" y="5092"/>
                  </a:lnTo>
                  <a:lnTo>
                    <a:pt x="15429" y="5101"/>
                  </a:lnTo>
                  <a:lnTo>
                    <a:pt x="15421" y="5110"/>
                  </a:lnTo>
                  <a:lnTo>
                    <a:pt x="15412" y="5128"/>
                  </a:lnTo>
                  <a:lnTo>
                    <a:pt x="15403" y="5137"/>
                  </a:lnTo>
                  <a:lnTo>
                    <a:pt x="15376" y="5154"/>
                  </a:lnTo>
                  <a:lnTo>
                    <a:pt x="15368" y="5154"/>
                  </a:lnTo>
                  <a:lnTo>
                    <a:pt x="15359" y="5154"/>
                  </a:lnTo>
                  <a:lnTo>
                    <a:pt x="15350" y="5163"/>
                  </a:lnTo>
                  <a:lnTo>
                    <a:pt x="15315" y="5181"/>
                  </a:lnTo>
                  <a:lnTo>
                    <a:pt x="15306" y="5181"/>
                  </a:lnTo>
                  <a:lnTo>
                    <a:pt x="15297" y="5172"/>
                  </a:lnTo>
                  <a:lnTo>
                    <a:pt x="15288" y="5181"/>
                  </a:lnTo>
                  <a:lnTo>
                    <a:pt x="15279" y="5172"/>
                  </a:lnTo>
                  <a:lnTo>
                    <a:pt x="15253" y="5163"/>
                  </a:lnTo>
                  <a:lnTo>
                    <a:pt x="15209" y="5172"/>
                  </a:lnTo>
                  <a:lnTo>
                    <a:pt x="15191" y="5181"/>
                  </a:lnTo>
                  <a:lnTo>
                    <a:pt x="15182" y="5181"/>
                  </a:lnTo>
                  <a:lnTo>
                    <a:pt x="15147" y="5172"/>
                  </a:lnTo>
                  <a:lnTo>
                    <a:pt x="15129" y="5163"/>
                  </a:lnTo>
                  <a:lnTo>
                    <a:pt x="15112" y="5163"/>
                  </a:lnTo>
                  <a:lnTo>
                    <a:pt x="15085" y="5154"/>
                  </a:lnTo>
                  <a:lnTo>
                    <a:pt x="15076" y="5154"/>
                  </a:lnTo>
                  <a:lnTo>
                    <a:pt x="15059" y="5145"/>
                  </a:lnTo>
                  <a:lnTo>
                    <a:pt x="15050" y="5145"/>
                  </a:lnTo>
                  <a:lnTo>
                    <a:pt x="15041" y="5154"/>
                  </a:lnTo>
                  <a:lnTo>
                    <a:pt x="15032" y="5154"/>
                  </a:lnTo>
                  <a:lnTo>
                    <a:pt x="15023" y="5145"/>
                  </a:lnTo>
                  <a:lnTo>
                    <a:pt x="15015" y="5137"/>
                  </a:lnTo>
                  <a:lnTo>
                    <a:pt x="15006" y="5119"/>
                  </a:lnTo>
                  <a:lnTo>
                    <a:pt x="15006" y="5110"/>
                  </a:lnTo>
                  <a:lnTo>
                    <a:pt x="14997" y="5110"/>
                  </a:lnTo>
                  <a:lnTo>
                    <a:pt x="14971" y="5119"/>
                  </a:lnTo>
                  <a:lnTo>
                    <a:pt x="14953" y="5110"/>
                  </a:lnTo>
                  <a:lnTo>
                    <a:pt x="14944" y="5101"/>
                  </a:lnTo>
                  <a:lnTo>
                    <a:pt x="14935" y="5092"/>
                  </a:lnTo>
                  <a:lnTo>
                    <a:pt x="14944" y="5084"/>
                  </a:lnTo>
                  <a:lnTo>
                    <a:pt x="14926" y="5084"/>
                  </a:lnTo>
                  <a:lnTo>
                    <a:pt x="14909" y="5092"/>
                  </a:lnTo>
                  <a:lnTo>
                    <a:pt x="14874" y="5092"/>
                  </a:lnTo>
                  <a:lnTo>
                    <a:pt x="14812" y="5084"/>
                  </a:lnTo>
                  <a:lnTo>
                    <a:pt x="14803" y="5084"/>
                  </a:lnTo>
                  <a:lnTo>
                    <a:pt x="14776" y="5092"/>
                  </a:lnTo>
                  <a:lnTo>
                    <a:pt x="14750" y="5101"/>
                  </a:lnTo>
                  <a:lnTo>
                    <a:pt x="14732" y="5110"/>
                  </a:lnTo>
                  <a:lnTo>
                    <a:pt x="14715" y="5119"/>
                  </a:lnTo>
                  <a:lnTo>
                    <a:pt x="14671" y="5145"/>
                  </a:lnTo>
                  <a:lnTo>
                    <a:pt x="14662" y="5163"/>
                  </a:lnTo>
                  <a:lnTo>
                    <a:pt x="14653" y="5163"/>
                  </a:lnTo>
                  <a:lnTo>
                    <a:pt x="14618" y="5163"/>
                  </a:lnTo>
                  <a:lnTo>
                    <a:pt x="14591" y="5154"/>
                  </a:lnTo>
                  <a:lnTo>
                    <a:pt x="14556" y="5163"/>
                  </a:lnTo>
                  <a:lnTo>
                    <a:pt x="14512" y="5154"/>
                  </a:lnTo>
                  <a:lnTo>
                    <a:pt x="14503" y="5154"/>
                  </a:lnTo>
                  <a:lnTo>
                    <a:pt x="14494" y="5163"/>
                  </a:lnTo>
                  <a:lnTo>
                    <a:pt x="14494" y="5172"/>
                  </a:lnTo>
                  <a:lnTo>
                    <a:pt x="14494" y="5181"/>
                  </a:lnTo>
                  <a:lnTo>
                    <a:pt x="14512" y="5189"/>
                  </a:lnTo>
                  <a:lnTo>
                    <a:pt x="14547" y="5198"/>
                  </a:lnTo>
                  <a:lnTo>
                    <a:pt x="14529" y="5198"/>
                  </a:lnTo>
                  <a:lnTo>
                    <a:pt x="14494" y="5207"/>
                  </a:lnTo>
                  <a:lnTo>
                    <a:pt x="14485" y="5207"/>
                  </a:lnTo>
                  <a:lnTo>
                    <a:pt x="14477" y="5216"/>
                  </a:lnTo>
                  <a:lnTo>
                    <a:pt x="14485" y="5225"/>
                  </a:lnTo>
                  <a:lnTo>
                    <a:pt x="14494" y="5225"/>
                  </a:lnTo>
                  <a:lnTo>
                    <a:pt x="14485" y="5225"/>
                  </a:lnTo>
                  <a:lnTo>
                    <a:pt x="14468" y="5225"/>
                  </a:lnTo>
                  <a:lnTo>
                    <a:pt x="14459" y="5225"/>
                  </a:lnTo>
                  <a:lnTo>
                    <a:pt x="14432" y="5225"/>
                  </a:lnTo>
                  <a:lnTo>
                    <a:pt x="14415" y="5225"/>
                  </a:lnTo>
                  <a:lnTo>
                    <a:pt x="14406" y="5225"/>
                  </a:lnTo>
                  <a:lnTo>
                    <a:pt x="14415" y="5225"/>
                  </a:lnTo>
                  <a:lnTo>
                    <a:pt x="14415" y="5216"/>
                  </a:lnTo>
                  <a:lnTo>
                    <a:pt x="14406" y="5216"/>
                  </a:lnTo>
                  <a:lnTo>
                    <a:pt x="14397" y="5216"/>
                  </a:lnTo>
                  <a:lnTo>
                    <a:pt x="14406" y="5225"/>
                  </a:lnTo>
                  <a:lnTo>
                    <a:pt x="14397" y="5234"/>
                  </a:lnTo>
                  <a:lnTo>
                    <a:pt x="14379" y="5234"/>
                  </a:lnTo>
                  <a:lnTo>
                    <a:pt x="14362" y="5225"/>
                  </a:lnTo>
                  <a:lnTo>
                    <a:pt x="14353" y="5225"/>
                  </a:lnTo>
                  <a:lnTo>
                    <a:pt x="14344" y="5225"/>
                  </a:lnTo>
                  <a:lnTo>
                    <a:pt x="14327" y="5225"/>
                  </a:lnTo>
                  <a:lnTo>
                    <a:pt x="14300" y="5242"/>
                  </a:lnTo>
                  <a:lnTo>
                    <a:pt x="14291" y="5260"/>
                  </a:lnTo>
                  <a:lnTo>
                    <a:pt x="14282" y="5260"/>
                  </a:lnTo>
                  <a:lnTo>
                    <a:pt x="14282" y="5269"/>
                  </a:lnTo>
                  <a:lnTo>
                    <a:pt x="14282" y="5287"/>
                  </a:lnTo>
                  <a:lnTo>
                    <a:pt x="14274" y="5295"/>
                  </a:lnTo>
                  <a:lnTo>
                    <a:pt x="14274" y="5304"/>
                  </a:lnTo>
                  <a:lnTo>
                    <a:pt x="14291" y="5304"/>
                  </a:lnTo>
                  <a:lnTo>
                    <a:pt x="14300" y="5304"/>
                  </a:lnTo>
                  <a:lnTo>
                    <a:pt x="14327" y="5295"/>
                  </a:lnTo>
                  <a:lnTo>
                    <a:pt x="14335" y="5304"/>
                  </a:lnTo>
                  <a:lnTo>
                    <a:pt x="14327" y="5313"/>
                  </a:lnTo>
                  <a:lnTo>
                    <a:pt x="14318" y="5322"/>
                  </a:lnTo>
                  <a:lnTo>
                    <a:pt x="14327" y="5340"/>
                  </a:lnTo>
                  <a:lnTo>
                    <a:pt x="14327" y="5348"/>
                  </a:lnTo>
                  <a:lnTo>
                    <a:pt x="14335" y="5357"/>
                  </a:lnTo>
                  <a:lnTo>
                    <a:pt x="14344" y="5357"/>
                  </a:lnTo>
                  <a:lnTo>
                    <a:pt x="14335" y="5366"/>
                  </a:lnTo>
                  <a:lnTo>
                    <a:pt x="14327" y="5366"/>
                  </a:lnTo>
                  <a:lnTo>
                    <a:pt x="14327" y="5375"/>
                  </a:lnTo>
                  <a:lnTo>
                    <a:pt x="14327" y="5384"/>
                  </a:lnTo>
                  <a:lnTo>
                    <a:pt x="14335" y="5392"/>
                  </a:lnTo>
                  <a:lnTo>
                    <a:pt x="14353" y="5392"/>
                  </a:lnTo>
                  <a:lnTo>
                    <a:pt x="14353" y="5401"/>
                  </a:lnTo>
                  <a:lnTo>
                    <a:pt x="14335" y="5401"/>
                  </a:lnTo>
                  <a:lnTo>
                    <a:pt x="14327" y="5401"/>
                  </a:lnTo>
                  <a:lnTo>
                    <a:pt x="14318" y="5392"/>
                  </a:lnTo>
                  <a:lnTo>
                    <a:pt x="14318" y="5401"/>
                  </a:lnTo>
                  <a:lnTo>
                    <a:pt x="14309" y="5392"/>
                  </a:lnTo>
                  <a:lnTo>
                    <a:pt x="14309" y="5384"/>
                  </a:lnTo>
                  <a:lnTo>
                    <a:pt x="14309" y="5375"/>
                  </a:lnTo>
                  <a:lnTo>
                    <a:pt x="14300" y="5375"/>
                  </a:lnTo>
                  <a:lnTo>
                    <a:pt x="14300" y="5384"/>
                  </a:lnTo>
                  <a:lnTo>
                    <a:pt x="14291" y="5384"/>
                  </a:lnTo>
                  <a:lnTo>
                    <a:pt x="14300" y="5392"/>
                  </a:lnTo>
                  <a:lnTo>
                    <a:pt x="14300" y="5401"/>
                  </a:lnTo>
                  <a:lnTo>
                    <a:pt x="14291" y="5401"/>
                  </a:lnTo>
                  <a:lnTo>
                    <a:pt x="14291" y="5410"/>
                  </a:lnTo>
                  <a:lnTo>
                    <a:pt x="14300" y="5410"/>
                  </a:lnTo>
                  <a:lnTo>
                    <a:pt x="14309" y="5419"/>
                  </a:lnTo>
                  <a:lnTo>
                    <a:pt x="14318" y="5419"/>
                  </a:lnTo>
                  <a:lnTo>
                    <a:pt x="14327" y="5419"/>
                  </a:lnTo>
                  <a:lnTo>
                    <a:pt x="14335" y="5428"/>
                  </a:lnTo>
                  <a:lnTo>
                    <a:pt x="14353" y="5437"/>
                  </a:lnTo>
                  <a:lnTo>
                    <a:pt x="14362" y="5437"/>
                  </a:lnTo>
                  <a:lnTo>
                    <a:pt x="14362" y="5445"/>
                  </a:lnTo>
                  <a:lnTo>
                    <a:pt x="14362" y="5454"/>
                  </a:lnTo>
                  <a:lnTo>
                    <a:pt x="14344" y="5463"/>
                  </a:lnTo>
                  <a:lnTo>
                    <a:pt x="14353" y="5463"/>
                  </a:lnTo>
                  <a:lnTo>
                    <a:pt x="14353" y="5472"/>
                  </a:lnTo>
                  <a:lnTo>
                    <a:pt x="14362" y="5481"/>
                  </a:lnTo>
                  <a:lnTo>
                    <a:pt x="14362" y="5490"/>
                  </a:lnTo>
                  <a:lnTo>
                    <a:pt x="14371" y="5490"/>
                  </a:lnTo>
                  <a:lnTo>
                    <a:pt x="14379" y="5498"/>
                  </a:lnTo>
                  <a:lnTo>
                    <a:pt x="14379" y="5507"/>
                  </a:lnTo>
                  <a:lnTo>
                    <a:pt x="14371" y="5507"/>
                  </a:lnTo>
                  <a:lnTo>
                    <a:pt x="14362" y="5507"/>
                  </a:lnTo>
                  <a:lnTo>
                    <a:pt x="14362" y="5516"/>
                  </a:lnTo>
                  <a:lnTo>
                    <a:pt x="14371" y="5516"/>
                  </a:lnTo>
                  <a:lnTo>
                    <a:pt x="14388" y="5516"/>
                  </a:lnTo>
                  <a:lnTo>
                    <a:pt x="14424" y="5516"/>
                  </a:lnTo>
                  <a:lnTo>
                    <a:pt x="14432" y="5516"/>
                  </a:lnTo>
                  <a:lnTo>
                    <a:pt x="14424" y="5525"/>
                  </a:lnTo>
                  <a:lnTo>
                    <a:pt x="14415" y="5534"/>
                  </a:lnTo>
                  <a:lnTo>
                    <a:pt x="14406" y="5534"/>
                  </a:lnTo>
                  <a:lnTo>
                    <a:pt x="14388" y="5534"/>
                  </a:lnTo>
                  <a:lnTo>
                    <a:pt x="14379" y="5534"/>
                  </a:lnTo>
                  <a:lnTo>
                    <a:pt x="14379" y="5543"/>
                  </a:lnTo>
                  <a:lnTo>
                    <a:pt x="14371" y="5543"/>
                  </a:lnTo>
                  <a:lnTo>
                    <a:pt x="14379" y="5543"/>
                  </a:lnTo>
                  <a:lnTo>
                    <a:pt x="14388" y="5543"/>
                  </a:lnTo>
                  <a:lnTo>
                    <a:pt x="14397" y="5543"/>
                  </a:lnTo>
                  <a:lnTo>
                    <a:pt x="14424" y="5534"/>
                  </a:lnTo>
                  <a:lnTo>
                    <a:pt x="14415" y="5543"/>
                  </a:lnTo>
                  <a:lnTo>
                    <a:pt x="14415" y="5551"/>
                  </a:lnTo>
                  <a:lnTo>
                    <a:pt x="14424" y="5543"/>
                  </a:lnTo>
                  <a:lnTo>
                    <a:pt x="14432" y="5543"/>
                  </a:lnTo>
                  <a:lnTo>
                    <a:pt x="14441" y="5534"/>
                  </a:lnTo>
                  <a:lnTo>
                    <a:pt x="14450" y="5534"/>
                  </a:lnTo>
                  <a:lnTo>
                    <a:pt x="14468" y="5543"/>
                  </a:lnTo>
                  <a:lnTo>
                    <a:pt x="14477" y="5543"/>
                  </a:lnTo>
                  <a:lnTo>
                    <a:pt x="14485" y="5543"/>
                  </a:lnTo>
                  <a:lnTo>
                    <a:pt x="14494" y="5543"/>
                  </a:lnTo>
                  <a:lnTo>
                    <a:pt x="14494" y="5551"/>
                  </a:lnTo>
                  <a:lnTo>
                    <a:pt x="14494" y="5560"/>
                  </a:lnTo>
                  <a:lnTo>
                    <a:pt x="14503" y="5569"/>
                  </a:lnTo>
                  <a:lnTo>
                    <a:pt x="14503" y="5578"/>
                  </a:lnTo>
                  <a:lnTo>
                    <a:pt x="14512" y="5578"/>
                  </a:lnTo>
                  <a:lnTo>
                    <a:pt x="14538" y="5587"/>
                  </a:lnTo>
                  <a:lnTo>
                    <a:pt x="14547" y="5587"/>
                  </a:lnTo>
                  <a:lnTo>
                    <a:pt x="14565" y="5578"/>
                  </a:lnTo>
                  <a:lnTo>
                    <a:pt x="14582" y="5578"/>
                  </a:lnTo>
                  <a:lnTo>
                    <a:pt x="14591" y="5578"/>
                  </a:lnTo>
                  <a:lnTo>
                    <a:pt x="14600" y="5578"/>
                  </a:lnTo>
                  <a:lnTo>
                    <a:pt x="14600" y="5560"/>
                  </a:lnTo>
                  <a:lnTo>
                    <a:pt x="14609" y="5534"/>
                  </a:lnTo>
                  <a:lnTo>
                    <a:pt x="14609" y="5525"/>
                  </a:lnTo>
                  <a:lnTo>
                    <a:pt x="14635" y="5534"/>
                  </a:lnTo>
                  <a:lnTo>
                    <a:pt x="14653" y="5534"/>
                  </a:lnTo>
                  <a:lnTo>
                    <a:pt x="14662" y="5534"/>
                  </a:lnTo>
                  <a:lnTo>
                    <a:pt x="14697" y="5551"/>
                  </a:lnTo>
                  <a:lnTo>
                    <a:pt x="14715" y="5560"/>
                  </a:lnTo>
                  <a:lnTo>
                    <a:pt x="14732" y="5578"/>
                  </a:lnTo>
                  <a:lnTo>
                    <a:pt x="14741" y="5587"/>
                  </a:lnTo>
                  <a:lnTo>
                    <a:pt x="14750" y="5595"/>
                  </a:lnTo>
                  <a:lnTo>
                    <a:pt x="14768" y="5595"/>
                  </a:lnTo>
                  <a:lnTo>
                    <a:pt x="14776" y="5595"/>
                  </a:lnTo>
                  <a:lnTo>
                    <a:pt x="14794" y="5595"/>
                  </a:lnTo>
                  <a:lnTo>
                    <a:pt x="14812" y="5587"/>
                  </a:lnTo>
                  <a:lnTo>
                    <a:pt x="14821" y="5587"/>
                  </a:lnTo>
                  <a:lnTo>
                    <a:pt x="14829" y="5587"/>
                  </a:lnTo>
                  <a:lnTo>
                    <a:pt x="14856" y="5578"/>
                  </a:lnTo>
                  <a:lnTo>
                    <a:pt x="14856" y="5569"/>
                  </a:lnTo>
                  <a:lnTo>
                    <a:pt x="14882" y="5551"/>
                  </a:lnTo>
                  <a:lnTo>
                    <a:pt x="14900" y="5534"/>
                  </a:lnTo>
                  <a:lnTo>
                    <a:pt x="14909" y="5534"/>
                  </a:lnTo>
                  <a:lnTo>
                    <a:pt x="14918" y="5534"/>
                  </a:lnTo>
                  <a:lnTo>
                    <a:pt x="14926" y="5543"/>
                  </a:lnTo>
                  <a:lnTo>
                    <a:pt x="14944" y="5551"/>
                  </a:lnTo>
                  <a:lnTo>
                    <a:pt x="14962" y="5551"/>
                  </a:lnTo>
                  <a:lnTo>
                    <a:pt x="14971" y="5551"/>
                  </a:lnTo>
                  <a:lnTo>
                    <a:pt x="14979" y="5543"/>
                  </a:lnTo>
                  <a:lnTo>
                    <a:pt x="14979" y="5534"/>
                  </a:lnTo>
                  <a:lnTo>
                    <a:pt x="14988" y="5534"/>
                  </a:lnTo>
                  <a:lnTo>
                    <a:pt x="14997" y="5534"/>
                  </a:lnTo>
                  <a:lnTo>
                    <a:pt x="15006" y="5525"/>
                  </a:lnTo>
                  <a:lnTo>
                    <a:pt x="15015" y="5534"/>
                  </a:lnTo>
                  <a:lnTo>
                    <a:pt x="15015" y="5543"/>
                  </a:lnTo>
                  <a:lnTo>
                    <a:pt x="15006" y="5560"/>
                  </a:lnTo>
                  <a:lnTo>
                    <a:pt x="14997" y="5569"/>
                  </a:lnTo>
                  <a:lnTo>
                    <a:pt x="14988" y="5578"/>
                  </a:lnTo>
                  <a:lnTo>
                    <a:pt x="14997" y="5587"/>
                  </a:lnTo>
                  <a:lnTo>
                    <a:pt x="14997" y="5604"/>
                  </a:lnTo>
                  <a:lnTo>
                    <a:pt x="14988" y="5613"/>
                  </a:lnTo>
                  <a:lnTo>
                    <a:pt x="14988" y="5640"/>
                  </a:lnTo>
                  <a:lnTo>
                    <a:pt x="14997" y="5648"/>
                  </a:lnTo>
                  <a:lnTo>
                    <a:pt x="14997" y="5657"/>
                  </a:lnTo>
                  <a:lnTo>
                    <a:pt x="14997" y="5666"/>
                  </a:lnTo>
                  <a:lnTo>
                    <a:pt x="14997" y="5684"/>
                  </a:lnTo>
                  <a:lnTo>
                    <a:pt x="14997" y="5693"/>
                  </a:lnTo>
                  <a:lnTo>
                    <a:pt x="14997" y="5719"/>
                  </a:lnTo>
                  <a:lnTo>
                    <a:pt x="15006" y="5719"/>
                  </a:lnTo>
                  <a:lnTo>
                    <a:pt x="14997" y="5728"/>
                  </a:lnTo>
                  <a:lnTo>
                    <a:pt x="14988" y="5728"/>
                  </a:lnTo>
                  <a:lnTo>
                    <a:pt x="14979" y="5745"/>
                  </a:lnTo>
                  <a:lnTo>
                    <a:pt x="14971" y="5763"/>
                  </a:lnTo>
                  <a:lnTo>
                    <a:pt x="14971" y="5781"/>
                  </a:lnTo>
                  <a:lnTo>
                    <a:pt x="14953" y="5807"/>
                  </a:lnTo>
                  <a:lnTo>
                    <a:pt x="14944" y="5816"/>
                  </a:lnTo>
                  <a:lnTo>
                    <a:pt x="14944" y="5825"/>
                  </a:lnTo>
                  <a:lnTo>
                    <a:pt x="14944" y="5834"/>
                  </a:lnTo>
                  <a:lnTo>
                    <a:pt x="14935" y="5843"/>
                  </a:lnTo>
                  <a:lnTo>
                    <a:pt x="14935" y="5851"/>
                  </a:lnTo>
                  <a:lnTo>
                    <a:pt x="14926" y="5860"/>
                  </a:lnTo>
                  <a:lnTo>
                    <a:pt x="14926" y="5878"/>
                  </a:lnTo>
                  <a:lnTo>
                    <a:pt x="14918" y="5913"/>
                  </a:lnTo>
                  <a:lnTo>
                    <a:pt x="14909" y="5940"/>
                  </a:lnTo>
                  <a:lnTo>
                    <a:pt x="14891" y="5966"/>
                  </a:lnTo>
                  <a:lnTo>
                    <a:pt x="14882" y="5975"/>
                  </a:lnTo>
                  <a:lnTo>
                    <a:pt x="14874" y="5984"/>
                  </a:lnTo>
                  <a:lnTo>
                    <a:pt x="14865" y="5984"/>
                  </a:lnTo>
                  <a:lnTo>
                    <a:pt x="14847" y="5993"/>
                  </a:lnTo>
                  <a:lnTo>
                    <a:pt x="14829" y="6001"/>
                  </a:lnTo>
                  <a:lnTo>
                    <a:pt x="14812" y="6001"/>
                  </a:lnTo>
                  <a:lnTo>
                    <a:pt x="14794" y="6001"/>
                  </a:lnTo>
                  <a:lnTo>
                    <a:pt x="14776" y="6001"/>
                  </a:lnTo>
                  <a:lnTo>
                    <a:pt x="14768" y="6001"/>
                  </a:lnTo>
                  <a:lnTo>
                    <a:pt x="14759" y="6001"/>
                  </a:lnTo>
                  <a:lnTo>
                    <a:pt x="14750" y="6010"/>
                  </a:lnTo>
                  <a:lnTo>
                    <a:pt x="14750" y="6001"/>
                  </a:lnTo>
                  <a:lnTo>
                    <a:pt x="14732" y="5993"/>
                  </a:lnTo>
                  <a:lnTo>
                    <a:pt x="14724" y="5984"/>
                  </a:lnTo>
                  <a:lnTo>
                    <a:pt x="14724" y="5993"/>
                  </a:lnTo>
                  <a:lnTo>
                    <a:pt x="14732" y="5993"/>
                  </a:lnTo>
                  <a:lnTo>
                    <a:pt x="14724" y="6001"/>
                  </a:lnTo>
                  <a:lnTo>
                    <a:pt x="14715" y="6001"/>
                  </a:lnTo>
                  <a:lnTo>
                    <a:pt x="14706" y="5993"/>
                  </a:lnTo>
                  <a:lnTo>
                    <a:pt x="14688" y="5984"/>
                  </a:lnTo>
                  <a:lnTo>
                    <a:pt x="14697" y="5975"/>
                  </a:lnTo>
                  <a:lnTo>
                    <a:pt x="14715" y="5984"/>
                  </a:lnTo>
                  <a:lnTo>
                    <a:pt x="14706" y="5975"/>
                  </a:lnTo>
                  <a:lnTo>
                    <a:pt x="14697" y="5966"/>
                  </a:lnTo>
                  <a:lnTo>
                    <a:pt x="14679" y="5975"/>
                  </a:lnTo>
                  <a:lnTo>
                    <a:pt x="14671" y="5975"/>
                  </a:lnTo>
                  <a:lnTo>
                    <a:pt x="14653" y="5966"/>
                  </a:lnTo>
                  <a:lnTo>
                    <a:pt x="14644" y="5966"/>
                  </a:lnTo>
                  <a:lnTo>
                    <a:pt x="14635" y="5966"/>
                  </a:lnTo>
                  <a:lnTo>
                    <a:pt x="14635" y="5975"/>
                  </a:lnTo>
                  <a:lnTo>
                    <a:pt x="14626" y="5975"/>
                  </a:lnTo>
                  <a:lnTo>
                    <a:pt x="14618" y="5975"/>
                  </a:lnTo>
                  <a:lnTo>
                    <a:pt x="14600" y="5975"/>
                  </a:lnTo>
                  <a:lnTo>
                    <a:pt x="14626" y="5966"/>
                  </a:lnTo>
                  <a:lnTo>
                    <a:pt x="14600" y="5975"/>
                  </a:lnTo>
                  <a:lnTo>
                    <a:pt x="14591" y="5975"/>
                  </a:lnTo>
                  <a:lnTo>
                    <a:pt x="14582" y="5984"/>
                  </a:lnTo>
                  <a:lnTo>
                    <a:pt x="14582" y="5993"/>
                  </a:lnTo>
                  <a:lnTo>
                    <a:pt x="14574" y="5993"/>
                  </a:lnTo>
                  <a:lnTo>
                    <a:pt x="14565" y="5993"/>
                  </a:lnTo>
                  <a:lnTo>
                    <a:pt x="14556" y="5993"/>
                  </a:lnTo>
                  <a:lnTo>
                    <a:pt x="14529" y="6010"/>
                  </a:lnTo>
                  <a:lnTo>
                    <a:pt x="14521" y="6019"/>
                  </a:lnTo>
                  <a:lnTo>
                    <a:pt x="14512" y="6019"/>
                  </a:lnTo>
                  <a:lnTo>
                    <a:pt x="14503" y="6028"/>
                  </a:lnTo>
                  <a:lnTo>
                    <a:pt x="14494" y="6028"/>
                  </a:lnTo>
                  <a:lnTo>
                    <a:pt x="14485" y="6019"/>
                  </a:lnTo>
                  <a:lnTo>
                    <a:pt x="14477" y="6019"/>
                  </a:lnTo>
                  <a:lnTo>
                    <a:pt x="14450" y="6010"/>
                  </a:lnTo>
                  <a:lnTo>
                    <a:pt x="14415" y="6001"/>
                  </a:lnTo>
                  <a:lnTo>
                    <a:pt x="14406" y="5993"/>
                  </a:lnTo>
                  <a:lnTo>
                    <a:pt x="14388" y="5993"/>
                  </a:lnTo>
                  <a:lnTo>
                    <a:pt x="14379" y="5993"/>
                  </a:lnTo>
                  <a:lnTo>
                    <a:pt x="14362" y="5984"/>
                  </a:lnTo>
                  <a:lnTo>
                    <a:pt x="14327" y="5975"/>
                  </a:lnTo>
                  <a:lnTo>
                    <a:pt x="14300" y="5966"/>
                  </a:lnTo>
                  <a:lnTo>
                    <a:pt x="14256" y="5957"/>
                  </a:lnTo>
                  <a:lnTo>
                    <a:pt x="14221" y="5966"/>
                  </a:lnTo>
                  <a:lnTo>
                    <a:pt x="14212" y="5966"/>
                  </a:lnTo>
                  <a:lnTo>
                    <a:pt x="14203" y="5957"/>
                  </a:lnTo>
                  <a:lnTo>
                    <a:pt x="14194" y="5940"/>
                  </a:lnTo>
                  <a:lnTo>
                    <a:pt x="14194" y="5931"/>
                  </a:lnTo>
                  <a:lnTo>
                    <a:pt x="14185" y="5931"/>
                  </a:lnTo>
                  <a:lnTo>
                    <a:pt x="14168" y="5931"/>
                  </a:lnTo>
                  <a:lnTo>
                    <a:pt x="14159" y="5931"/>
                  </a:lnTo>
                  <a:lnTo>
                    <a:pt x="14132" y="5931"/>
                  </a:lnTo>
                  <a:lnTo>
                    <a:pt x="14124" y="5931"/>
                  </a:lnTo>
                  <a:lnTo>
                    <a:pt x="14115" y="5922"/>
                  </a:lnTo>
                  <a:lnTo>
                    <a:pt x="14106" y="5922"/>
                  </a:lnTo>
                  <a:lnTo>
                    <a:pt x="14071" y="5913"/>
                  </a:lnTo>
                  <a:lnTo>
                    <a:pt x="14053" y="5904"/>
                  </a:lnTo>
                  <a:lnTo>
                    <a:pt x="14053" y="5896"/>
                  </a:lnTo>
                  <a:lnTo>
                    <a:pt x="14053" y="5878"/>
                  </a:lnTo>
                  <a:lnTo>
                    <a:pt x="14044" y="5878"/>
                  </a:lnTo>
                  <a:lnTo>
                    <a:pt x="14027" y="5869"/>
                  </a:lnTo>
                  <a:lnTo>
                    <a:pt x="14009" y="5869"/>
                  </a:lnTo>
                  <a:lnTo>
                    <a:pt x="14000" y="5860"/>
                  </a:lnTo>
                  <a:lnTo>
                    <a:pt x="13991" y="5860"/>
                  </a:lnTo>
                  <a:lnTo>
                    <a:pt x="13965" y="5860"/>
                  </a:lnTo>
                  <a:lnTo>
                    <a:pt x="13956" y="5851"/>
                  </a:lnTo>
                  <a:lnTo>
                    <a:pt x="13947" y="5851"/>
                  </a:lnTo>
                  <a:lnTo>
                    <a:pt x="13930" y="5869"/>
                  </a:lnTo>
                  <a:lnTo>
                    <a:pt x="13921" y="5869"/>
                  </a:lnTo>
                  <a:lnTo>
                    <a:pt x="13903" y="5869"/>
                  </a:lnTo>
                  <a:lnTo>
                    <a:pt x="13877" y="5887"/>
                  </a:lnTo>
                  <a:lnTo>
                    <a:pt x="13850" y="5896"/>
                  </a:lnTo>
                  <a:lnTo>
                    <a:pt x="13832" y="5913"/>
                  </a:lnTo>
                  <a:lnTo>
                    <a:pt x="13832" y="5922"/>
                  </a:lnTo>
                  <a:lnTo>
                    <a:pt x="13824" y="5931"/>
                  </a:lnTo>
                  <a:lnTo>
                    <a:pt x="13824" y="5948"/>
                  </a:lnTo>
                  <a:lnTo>
                    <a:pt x="13824" y="5966"/>
                  </a:lnTo>
                  <a:lnTo>
                    <a:pt x="13832" y="5975"/>
                  </a:lnTo>
                  <a:lnTo>
                    <a:pt x="13832" y="5984"/>
                  </a:lnTo>
                  <a:lnTo>
                    <a:pt x="13841" y="5993"/>
                  </a:lnTo>
                  <a:lnTo>
                    <a:pt x="13841" y="6001"/>
                  </a:lnTo>
                  <a:lnTo>
                    <a:pt x="13832" y="6010"/>
                  </a:lnTo>
                  <a:lnTo>
                    <a:pt x="13824" y="6028"/>
                  </a:lnTo>
                  <a:lnTo>
                    <a:pt x="13806" y="6054"/>
                  </a:lnTo>
                  <a:lnTo>
                    <a:pt x="13797" y="6054"/>
                  </a:lnTo>
                  <a:lnTo>
                    <a:pt x="13771" y="6072"/>
                  </a:lnTo>
                  <a:lnTo>
                    <a:pt x="13762" y="6072"/>
                  </a:lnTo>
                  <a:lnTo>
                    <a:pt x="13753" y="6072"/>
                  </a:lnTo>
                  <a:lnTo>
                    <a:pt x="13727" y="6054"/>
                  </a:lnTo>
                  <a:lnTo>
                    <a:pt x="13691" y="6028"/>
                  </a:lnTo>
                  <a:lnTo>
                    <a:pt x="13674" y="6028"/>
                  </a:lnTo>
                  <a:lnTo>
                    <a:pt x="13665" y="6019"/>
                  </a:lnTo>
                  <a:lnTo>
                    <a:pt x="13630" y="6001"/>
                  </a:lnTo>
                  <a:lnTo>
                    <a:pt x="13594" y="5993"/>
                  </a:lnTo>
                  <a:lnTo>
                    <a:pt x="13568" y="5993"/>
                  </a:lnTo>
                  <a:lnTo>
                    <a:pt x="13541" y="5993"/>
                  </a:lnTo>
                  <a:lnTo>
                    <a:pt x="13524" y="5984"/>
                  </a:lnTo>
                  <a:lnTo>
                    <a:pt x="13515" y="5975"/>
                  </a:lnTo>
                  <a:lnTo>
                    <a:pt x="13506" y="5966"/>
                  </a:lnTo>
                  <a:lnTo>
                    <a:pt x="13497" y="5957"/>
                  </a:lnTo>
                  <a:lnTo>
                    <a:pt x="13488" y="5948"/>
                  </a:lnTo>
                  <a:lnTo>
                    <a:pt x="13488" y="5931"/>
                  </a:lnTo>
                  <a:lnTo>
                    <a:pt x="13488" y="5922"/>
                  </a:lnTo>
                  <a:lnTo>
                    <a:pt x="13480" y="5904"/>
                  </a:lnTo>
                  <a:lnTo>
                    <a:pt x="13471" y="5896"/>
                  </a:lnTo>
                  <a:lnTo>
                    <a:pt x="13427" y="5887"/>
                  </a:lnTo>
                  <a:lnTo>
                    <a:pt x="13418" y="5887"/>
                  </a:lnTo>
                  <a:lnTo>
                    <a:pt x="13400" y="5878"/>
                  </a:lnTo>
                  <a:lnTo>
                    <a:pt x="13400" y="5869"/>
                  </a:lnTo>
                  <a:lnTo>
                    <a:pt x="13374" y="5869"/>
                  </a:lnTo>
                  <a:lnTo>
                    <a:pt x="13356" y="5869"/>
                  </a:lnTo>
                  <a:lnTo>
                    <a:pt x="13356" y="5860"/>
                  </a:lnTo>
                  <a:lnTo>
                    <a:pt x="13330" y="5860"/>
                  </a:lnTo>
                  <a:lnTo>
                    <a:pt x="13321" y="5860"/>
                  </a:lnTo>
                  <a:lnTo>
                    <a:pt x="13294" y="5869"/>
                  </a:lnTo>
                  <a:lnTo>
                    <a:pt x="13268" y="5860"/>
                  </a:lnTo>
                  <a:lnTo>
                    <a:pt x="13259" y="5860"/>
                  </a:lnTo>
                  <a:lnTo>
                    <a:pt x="13224" y="5843"/>
                  </a:lnTo>
                  <a:lnTo>
                    <a:pt x="13215" y="5843"/>
                  </a:lnTo>
                  <a:lnTo>
                    <a:pt x="13207" y="5834"/>
                  </a:lnTo>
                  <a:lnTo>
                    <a:pt x="13198" y="5834"/>
                  </a:lnTo>
                  <a:lnTo>
                    <a:pt x="13189" y="5834"/>
                  </a:lnTo>
                  <a:lnTo>
                    <a:pt x="13181" y="5834"/>
                  </a:lnTo>
                  <a:lnTo>
                    <a:pt x="13181" y="5825"/>
                  </a:lnTo>
                  <a:lnTo>
                    <a:pt x="13189" y="5825"/>
                  </a:lnTo>
                  <a:lnTo>
                    <a:pt x="13181" y="5816"/>
                  </a:lnTo>
                  <a:lnTo>
                    <a:pt x="13172" y="5807"/>
                  </a:lnTo>
                  <a:lnTo>
                    <a:pt x="13163" y="5798"/>
                  </a:lnTo>
                  <a:lnTo>
                    <a:pt x="13163" y="5807"/>
                  </a:lnTo>
                  <a:lnTo>
                    <a:pt x="13154" y="5807"/>
                  </a:lnTo>
                  <a:lnTo>
                    <a:pt x="13145" y="5807"/>
                  </a:lnTo>
                  <a:lnTo>
                    <a:pt x="13145" y="5798"/>
                  </a:lnTo>
                  <a:lnTo>
                    <a:pt x="13145" y="5790"/>
                  </a:lnTo>
                  <a:lnTo>
                    <a:pt x="13128" y="5798"/>
                  </a:lnTo>
                  <a:lnTo>
                    <a:pt x="13119" y="5790"/>
                  </a:lnTo>
                  <a:lnTo>
                    <a:pt x="13101" y="5781"/>
                  </a:lnTo>
                  <a:lnTo>
                    <a:pt x="13092" y="5763"/>
                  </a:lnTo>
                  <a:lnTo>
                    <a:pt x="13092" y="5754"/>
                  </a:lnTo>
                  <a:lnTo>
                    <a:pt x="13101" y="5745"/>
                  </a:lnTo>
                  <a:lnTo>
                    <a:pt x="13110" y="5737"/>
                  </a:lnTo>
                  <a:lnTo>
                    <a:pt x="13137" y="5719"/>
                  </a:lnTo>
                  <a:lnTo>
                    <a:pt x="13145" y="5710"/>
                  </a:lnTo>
                  <a:lnTo>
                    <a:pt x="13154" y="5693"/>
                  </a:lnTo>
                  <a:lnTo>
                    <a:pt x="13163" y="5684"/>
                  </a:lnTo>
                  <a:lnTo>
                    <a:pt x="13172" y="5666"/>
                  </a:lnTo>
                  <a:lnTo>
                    <a:pt x="13172" y="5657"/>
                  </a:lnTo>
                  <a:lnTo>
                    <a:pt x="13172" y="5648"/>
                  </a:lnTo>
                  <a:lnTo>
                    <a:pt x="13163" y="5640"/>
                  </a:lnTo>
                  <a:lnTo>
                    <a:pt x="13163" y="5631"/>
                  </a:lnTo>
                  <a:lnTo>
                    <a:pt x="13154" y="5622"/>
                  </a:lnTo>
                  <a:lnTo>
                    <a:pt x="13145" y="5622"/>
                  </a:lnTo>
                  <a:lnTo>
                    <a:pt x="13137" y="5613"/>
                  </a:lnTo>
                  <a:lnTo>
                    <a:pt x="13128" y="5595"/>
                  </a:lnTo>
                  <a:lnTo>
                    <a:pt x="13128" y="5587"/>
                  </a:lnTo>
                  <a:lnTo>
                    <a:pt x="13128" y="5578"/>
                  </a:lnTo>
                  <a:lnTo>
                    <a:pt x="13137" y="5569"/>
                  </a:lnTo>
                  <a:lnTo>
                    <a:pt x="13154" y="5560"/>
                  </a:lnTo>
                  <a:lnTo>
                    <a:pt x="13163" y="5543"/>
                  </a:lnTo>
                  <a:lnTo>
                    <a:pt x="13172" y="5534"/>
                  </a:lnTo>
                  <a:lnTo>
                    <a:pt x="13172" y="5525"/>
                  </a:lnTo>
                  <a:lnTo>
                    <a:pt x="13172" y="5516"/>
                  </a:lnTo>
                  <a:lnTo>
                    <a:pt x="13172" y="5507"/>
                  </a:lnTo>
                  <a:lnTo>
                    <a:pt x="13163" y="5516"/>
                  </a:lnTo>
                  <a:lnTo>
                    <a:pt x="13145" y="5525"/>
                  </a:lnTo>
                  <a:lnTo>
                    <a:pt x="13137" y="5525"/>
                  </a:lnTo>
                  <a:lnTo>
                    <a:pt x="13128" y="5534"/>
                  </a:lnTo>
                  <a:lnTo>
                    <a:pt x="13119" y="5543"/>
                  </a:lnTo>
                  <a:lnTo>
                    <a:pt x="13110" y="5534"/>
                  </a:lnTo>
                  <a:lnTo>
                    <a:pt x="13119" y="5525"/>
                  </a:lnTo>
                  <a:lnTo>
                    <a:pt x="13110" y="5516"/>
                  </a:lnTo>
                  <a:lnTo>
                    <a:pt x="13110" y="5498"/>
                  </a:lnTo>
                  <a:lnTo>
                    <a:pt x="13101" y="5498"/>
                  </a:lnTo>
                  <a:lnTo>
                    <a:pt x="13092" y="5498"/>
                  </a:lnTo>
                  <a:lnTo>
                    <a:pt x="13084" y="5498"/>
                  </a:lnTo>
                  <a:lnTo>
                    <a:pt x="13084" y="5507"/>
                  </a:lnTo>
                  <a:lnTo>
                    <a:pt x="13075" y="5498"/>
                  </a:lnTo>
                  <a:lnTo>
                    <a:pt x="13084" y="5498"/>
                  </a:lnTo>
                  <a:lnTo>
                    <a:pt x="13084" y="5490"/>
                  </a:lnTo>
                  <a:lnTo>
                    <a:pt x="13075" y="5490"/>
                  </a:lnTo>
                  <a:lnTo>
                    <a:pt x="13066" y="5490"/>
                  </a:lnTo>
                  <a:lnTo>
                    <a:pt x="13031" y="5498"/>
                  </a:lnTo>
                  <a:lnTo>
                    <a:pt x="13022" y="5507"/>
                  </a:lnTo>
                  <a:lnTo>
                    <a:pt x="13004" y="5516"/>
                  </a:lnTo>
                  <a:lnTo>
                    <a:pt x="12987" y="5525"/>
                  </a:lnTo>
                  <a:lnTo>
                    <a:pt x="12951" y="5525"/>
                  </a:lnTo>
                  <a:lnTo>
                    <a:pt x="12942" y="5525"/>
                  </a:lnTo>
                  <a:lnTo>
                    <a:pt x="12934" y="5525"/>
                  </a:lnTo>
                  <a:lnTo>
                    <a:pt x="12916" y="5516"/>
                  </a:lnTo>
                  <a:lnTo>
                    <a:pt x="12907" y="5516"/>
                  </a:lnTo>
                  <a:lnTo>
                    <a:pt x="12889" y="5507"/>
                  </a:lnTo>
                  <a:lnTo>
                    <a:pt x="12889" y="5516"/>
                  </a:lnTo>
                  <a:lnTo>
                    <a:pt x="12881" y="5525"/>
                  </a:lnTo>
                  <a:lnTo>
                    <a:pt x="12863" y="5525"/>
                  </a:lnTo>
                  <a:lnTo>
                    <a:pt x="12845" y="5516"/>
                  </a:lnTo>
                  <a:lnTo>
                    <a:pt x="12837" y="5507"/>
                  </a:lnTo>
                  <a:lnTo>
                    <a:pt x="12819" y="5516"/>
                  </a:lnTo>
                  <a:lnTo>
                    <a:pt x="12819" y="5525"/>
                  </a:lnTo>
                  <a:lnTo>
                    <a:pt x="12801" y="5525"/>
                  </a:lnTo>
                  <a:lnTo>
                    <a:pt x="12775" y="5534"/>
                  </a:lnTo>
                  <a:lnTo>
                    <a:pt x="12757" y="5543"/>
                  </a:lnTo>
                  <a:lnTo>
                    <a:pt x="12748" y="5543"/>
                  </a:lnTo>
                  <a:lnTo>
                    <a:pt x="12740" y="5543"/>
                  </a:lnTo>
                  <a:lnTo>
                    <a:pt x="12722" y="5534"/>
                  </a:lnTo>
                  <a:lnTo>
                    <a:pt x="12713" y="5525"/>
                  </a:lnTo>
                  <a:lnTo>
                    <a:pt x="12704" y="5525"/>
                  </a:lnTo>
                  <a:lnTo>
                    <a:pt x="12634" y="5525"/>
                  </a:lnTo>
                  <a:lnTo>
                    <a:pt x="12616" y="5534"/>
                  </a:lnTo>
                  <a:lnTo>
                    <a:pt x="12581" y="5534"/>
                  </a:lnTo>
                  <a:lnTo>
                    <a:pt x="12563" y="5543"/>
                  </a:lnTo>
                  <a:lnTo>
                    <a:pt x="12545" y="5551"/>
                  </a:lnTo>
                  <a:lnTo>
                    <a:pt x="12528" y="5551"/>
                  </a:lnTo>
                  <a:lnTo>
                    <a:pt x="12501" y="5551"/>
                  </a:lnTo>
                  <a:lnTo>
                    <a:pt x="12448" y="5560"/>
                  </a:lnTo>
                  <a:lnTo>
                    <a:pt x="12431" y="5560"/>
                  </a:lnTo>
                  <a:lnTo>
                    <a:pt x="12413" y="5569"/>
                  </a:lnTo>
                  <a:lnTo>
                    <a:pt x="12395" y="5578"/>
                  </a:lnTo>
                  <a:lnTo>
                    <a:pt x="12378" y="5587"/>
                  </a:lnTo>
                  <a:lnTo>
                    <a:pt x="12369" y="5595"/>
                  </a:lnTo>
                  <a:lnTo>
                    <a:pt x="12360" y="5613"/>
                  </a:lnTo>
                  <a:lnTo>
                    <a:pt x="12351" y="5613"/>
                  </a:lnTo>
                  <a:lnTo>
                    <a:pt x="12342" y="5613"/>
                  </a:lnTo>
                  <a:lnTo>
                    <a:pt x="12334" y="5613"/>
                  </a:lnTo>
                  <a:lnTo>
                    <a:pt x="12325" y="5613"/>
                  </a:lnTo>
                  <a:lnTo>
                    <a:pt x="12290" y="5631"/>
                  </a:lnTo>
                  <a:lnTo>
                    <a:pt x="12281" y="5640"/>
                  </a:lnTo>
                  <a:lnTo>
                    <a:pt x="12272" y="5640"/>
                  </a:lnTo>
                  <a:lnTo>
                    <a:pt x="12263" y="5657"/>
                  </a:lnTo>
                  <a:lnTo>
                    <a:pt x="12245" y="5657"/>
                  </a:lnTo>
                  <a:lnTo>
                    <a:pt x="12237" y="5666"/>
                  </a:lnTo>
                  <a:lnTo>
                    <a:pt x="12219" y="5675"/>
                  </a:lnTo>
                  <a:lnTo>
                    <a:pt x="12210" y="5675"/>
                  </a:lnTo>
                  <a:lnTo>
                    <a:pt x="12193" y="5675"/>
                  </a:lnTo>
                  <a:lnTo>
                    <a:pt x="12184" y="5675"/>
                  </a:lnTo>
                  <a:lnTo>
                    <a:pt x="12166" y="5675"/>
                  </a:lnTo>
                  <a:lnTo>
                    <a:pt x="12157" y="5675"/>
                  </a:lnTo>
                  <a:lnTo>
                    <a:pt x="12148" y="5675"/>
                  </a:lnTo>
                  <a:lnTo>
                    <a:pt x="12148" y="5666"/>
                  </a:lnTo>
                  <a:lnTo>
                    <a:pt x="12140" y="5657"/>
                  </a:lnTo>
                  <a:lnTo>
                    <a:pt x="12140" y="5648"/>
                  </a:lnTo>
                  <a:lnTo>
                    <a:pt x="12131" y="5657"/>
                  </a:lnTo>
                  <a:lnTo>
                    <a:pt x="12122" y="5666"/>
                  </a:lnTo>
                  <a:lnTo>
                    <a:pt x="12104" y="5666"/>
                  </a:lnTo>
                  <a:lnTo>
                    <a:pt x="12095" y="5666"/>
                  </a:lnTo>
                  <a:lnTo>
                    <a:pt x="12087" y="5657"/>
                  </a:lnTo>
                  <a:lnTo>
                    <a:pt x="12078" y="5666"/>
                  </a:lnTo>
                  <a:lnTo>
                    <a:pt x="12069" y="5666"/>
                  </a:lnTo>
                  <a:lnTo>
                    <a:pt x="12043" y="5675"/>
                  </a:lnTo>
                  <a:lnTo>
                    <a:pt x="12016" y="5666"/>
                  </a:lnTo>
                  <a:lnTo>
                    <a:pt x="11998" y="5657"/>
                  </a:lnTo>
                  <a:lnTo>
                    <a:pt x="11981" y="5648"/>
                  </a:lnTo>
                  <a:lnTo>
                    <a:pt x="11972" y="5631"/>
                  </a:lnTo>
                  <a:lnTo>
                    <a:pt x="11963" y="5622"/>
                  </a:lnTo>
                  <a:lnTo>
                    <a:pt x="11963" y="5613"/>
                  </a:lnTo>
                  <a:lnTo>
                    <a:pt x="11972" y="5613"/>
                  </a:lnTo>
                  <a:lnTo>
                    <a:pt x="11963" y="5604"/>
                  </a:lnTo>
                  <a:lnTo>
                    <a:pt x="11954" y="5613"/>
                  </a:lnTo>
                  <a:lnTo>
                    <a:pt x="11945" y="5613"/>
                  </a:lnTo>
                  <a:lnTo>
                    <a:pt x="11937" y="5613"/>
                  </a:lnTo>
                  <a:lnTo>
                    <a:pt x="11919" y="5622"/>
                  </a:lnTo>
                  <a:lnTo>
                    <a:pt x="11919" y="5631"/>
                  </a:lnTo>
                  <a:lnTo>
                    <a:pt x="11893" y="5701"/>
                  </a:lnTo>
                  <a:lnTo>
                    <a:pt x="11857" y="5754"/>
                  </a:lnTo>
                  <a:lnTo>
                    <a:pt x="11848" y="5772"/>
                  </a:lnTo>
                  <a:lnTo>
                    <a:pt x="11831" y="5781"/>
                  </a:lnTo>
                  <a:lnTo>
                    <a:pt x="11804" y="5798"/>
                  </a:lnTo>
                  <a:lnTo>
                    <a:pt x="11751" y="5816"/>
                  </a:lnTo>
                  <a:lnTo>
                    <a:pt x="11734" y="5825"/>
                  </a:lnTo>
                  <a:lnTo>
                    <a:pt x="11725" y="5834"/>
                  </a:lnTo>
                  <a:lnTo>
                    <a:pt x="11707" y="5851"/>
                  </a:lnTo>
                  <a:lnTo>
                    <a:pt x="11681" y="5887"/>
                  </a:lnTo>
                  <a:lnTo>
                    <a:pt x="11672" y="5913"/>
                  </a:lnTo>
                  <a:lnTo>
                    <a:pt x="11672" y="5922"/>
                  </a:lnTo>
                  <a:lnTo>
                    <a:pt x="11646" y="5957"/>
                  </a:lnTo>
                  <a:lnTo>
                    <a:pt x="11637" y="5975"/>
                  </a:lnTo>
                  <a:lnTo>
                    <a:pt x="11637" y="6010"/>
                  </a:lnTo>
                  <a:lnTo>
                    <a:pt x="11637" y="6028"/>
                  </a:lnTo>
                  <a:lnTo>
                    <a:pt x="11628" y="6037"/>
                  </a:lnTo>
                  <a:lnTo>
                    <a:pt x="11637" y="6037"/>
                  </a:lnTo>
                  <a:lnTo>
                    <a:pt x="11637" y="6046"/>
                  </a:lnTo>
                  <a:lnTo>
                    <a:pt x="11646" y="6054"/>
                  </a:lnTo>
                  <a:lnTo>
                    <a:pt x="11654" y="6063"/>
                  </a:lnTo>
                  <a:lnTo>
                    <a:pt x="11646" y="6081"/>
                  </a:lnTo>
                  <a:lnTo>
                    <a:pt x="11646" y="6099"/>
                  </a:lnTo>
                  <a:lnTo>
                    <a:pt x="11637" y="6107"/>
                  </a:lnTo>
                  <a:lnTo>
                    <a:pt x="11619" y="6125"/>
                  </a:lnTo>
                  <a:lnTo>
                    <a:pt x="11610" y="6143"/>
                  </a:lnTo>
                  <a:lnTo>
                    <a:pt x="11584" y="6169"/>
                  </a:lnTo>
                  <a:lnTo>
                    <a:pt x="11575" y="6178"/>
                  </a:lnTo>
                  <a:lnTo>
                    <a:pt x="11540" y="6196"/>
                  </a:lnTo>
                  <a:lnTo>
                    <a:pt x="11531" y="6213"/>
                  </a:lnTo>
                  <a:lnTo>
                    <a:pt x="11513" y="6222"/>
                  </a:lnTo>
                  <a:lnTo>
                    <a:pt x="11504" y="6231"/>
                  </a:lnTo>
                  <a:lnTo>
                    <a:pt x="11478" y="6240"/>
                  </a:lnTo>
                  <a:lnTo>
                    <a:pt x="11443" y="6249"/>
                  </a:lnTo>
                  <a:lnTo>
                    <a:pt x="11416" y="6249"/>
                  </a:lnTo>
                  <a:lnTo>
                    <a:pt x="11407" y="6257"/>
                  </a:lnTo>
                  <a:lnTo>
                    <a:pt x="11399" y="6266"/>
                  </a:lnTo>
                  <a:lnTo>
                    <a:pt x="11390" y="6275"/>
                  </a:lnTo>
                  <a:lnTo>
                    <a:pt x="11381" y="6293"/>
                  </a:lnTo>
                  <a:lnTo>
                    <a:pt x="11372" y="6319"/>
                  </a:lnTo>
                  <a:lnTo>
                    <a:pt x="11363" y="6337"/>
                  </a:lnTo>
                  <a:lnTo>
                    <a:pt x="11363" y="6354"/>
                  </a:lnTo>
                  <a:lnTo>
                    <a:pt x="11354" y="6354"/>
                  </a:lnTo>
                  <a:lnTo>
                    <a:pt x="11328" y="6372"/>
                  </a:lnTo>
                  <a:lnTo>
                    <a:pt x="11319" y="6372"/>
                  </a:lnTo>
                  <a:lnTo>
                    <a:pt x="11301" y="6390"/>
                  </a:lnTo>
                  <a:lnTo>
                    <a:pt x="11293" y="6399"/>
                  </a:lnTo>
                  <a:lnTo>
                    <a:pt x="11293" y="6416"/>
                  </a:lnTo>
                  <a:lnTo>
                    <a:pt x="11284" y="6425"/>
                  </a:lnTo>
                  <a:lnTo>
                    <a:pt x="11275" y="6443"/>
                  </a:lnTo>
                  <a:lnTo>
                    <a:pt x="11266" y="6452"/>
                  </a:lnTo>
                  <a:lnTo>
                    <a:pt x="11266" y="6469"/>
                  </a:lnTo>
                  <a:lnTo>
                    <a:pt x="11266" y="6496"/>
                  </a:lnTo>
                  <a:lnTo>
                    <a:pt x="11266" y="6505"/>
                  </a:lnTo>
                  <a:lnTo>
                    <a:pt x="11249" y="6522"/>
                  </a:lnTo>
                  <a:lnTo>
                    <a:pt x="11240" y="6531"/>
                  </a:lnTo>
                  <a:lnTo>
                    <a:pt x="11213" y="6557"/>
                  </a:lnTo>
                  <a:lnTo>
                    <a:pt x="11196" y="6566"/>
                  </a:lnTo>
                  <a:lnTo>
                    <a:pt x="11187" y="6575"/>
                  </a:lnTo>
                  <a:lnTo>
                    <a:pt x="11187" y="6584"/>
                  </a:lnTo>
                  <a:lnTo>
                    <a:pt x="11187" y="6593"/>
                  </a:lnTo>
                  <a:lnTo>
                    <a:pt x="11187" y="6584"/>
                  </a:lnTo>
                  <a:lnTo>
                    <a:pt x="11196" y="6584"/>
                  </a:lnTo>
                  <a:lnTo>
                    <a:pt x="11196" y="6575"/>
                  </a:lnTo>
                  <a:lnTo>
                    <a:pt x="11196" y="6584"/>
                  </a:lnTo>
                  <a:lnTo>
                    <a:pt x="11187" y="6602"/>
                  </a:lnTo>
                  <a:lnTo>
                    <a:pt x="11178" y="6609"/>
                  </a:lnTo>
                  <a:lnTo>
                    <a:pt x="11169" y="6627"/>
                  </a:lnTo>
                  <a:lnTo>
                    <a:pt x="11169" y="6636"/>
                  </a:lnTo>
                  <a:lnTo>
                    <a:pt x="11169" y="6645"/>
                  </a:lnTo>
                  <a:lnTo>
                    <a:pt x="11160" y="6654"/>
                  </a:lnTo>
                  <a:lnTo>
                    <a:pt x="11151" y="6671"/>
                  </a:lnTo>
                  <a:lnTo>
                    <a:pt x="11143" y="6689"/>
                  </a:lnTo>
                  <a:lnTo>
                    <a:pt x="11134" y="6698"/>
                  </a:lnTo>
                  <a:lnTo>
                    <a:pt x="11125" y="6706"/>
                  </a:lnTo>
                  <a:lnTo>
                    <a:pt x="11116" y="6724"/>
                  </a:lnTo>
                  <a:lnTo>
                    <a:pt x="11107" y="6768"/>
                  </a:lnTo>
                  <a:lnTo>
                    <a:pt x="11099" y="6804"/>
                  </a:lnTo>
                  <a:lnTo>
                    <a:pt x="11107" y="6812"/>
                  </a:lnTo>
                  <a:lnTo>
                    <a:pt x="11107" y="6795"/>
                  </a:lnTo>
                  <a:lnTo>
                    <a:pt x="11107" y="6786"/>
                  </a:lnTo>
                  <a:lnTo>
                    <a:pt x="11116" y="6786"/>
                  </a:lnTo>
                  <a:lnTo>
                    <a:pt x="11125" y="6812"/>
                  </a:lnTo>
                  <a:lnTo>
                    <a:pt x="11134" y="6821"/>
                  </a:lnTo>
                  <a:lnTo>
                    <a:pt x="11143" y="6821"/>
                  </a:lnTo>
                  <a:lnTo>
                    <a:pt x="11143" y="6812"/>
                  </a:lnTo>
                  <a:lnTo>
                    <a:pt x="11143" y="6821"/>
                  </a:lnTo>
                  <a:lnTo>
                    <a:pt x="11151" y="6821"/>
                  </a:lnTo>
                  <a:lnTo>
                    <a:pt x="11160" y="6839"/>
                  </a:lnTo>
                  <a:lnTo>
                    <a:pt x="11169" y="6857"/>
                  </a:lnTo>
                  <a:lnTo>
                    <a:pt x="11160" y="6857"/>
                  </a:lnTo>
                  <a:lnTo>
                    <a:pt x="11160" y="6874"/>
                  </a:lnTo>
                  <a:lnTo>
                    <a:pt x="11160" y="6883"/>
                  </a:lnTo>
                  <a:lnTo>
                    <a:pt x="11151" y="6909"/>
                  </a:lnTo>
                  <a:lnTo>
                    <a:pt x="11160" y="6909"/>
                  </a:lnTo>
                  <a:lnTo>
                    <a:pt x="11151" y="6918"/>
                  </a:lnTo>
                  <a:lnTo>
                    <a:pt x="11143" y="6918"/>
                  </a:lnTo>
                  <a:lnTo>
                    <a:pt x="11143" y="6927"/>
                  </a:lnTo>
                  <a:lnTo>
                    <a:pt x="11160" y="6936"/>
                  </a:lnTo>
                  <a:lnTo>
                    <a:pt x="11169" y="6945"/>
                  </a:lnTo>
                  <a:lnTo>
                    <a:pt x="11169" y="6971"/>
                  </a:lnTo>
                  <a:lnTo>
                    <a:pt x="11178" y="6980"/>
                  </a:lnTo>
                  <a:lnTo>
                    <a:pt x="11178" y="7007"/>
                  </a:lnTo>
                  <a:lnTo>
                    <a:pt x="11178" y="7033"/>
                  </a:lnTo>
                  <a:lnTo>
                    <a:pt x="11178" y="7060"/>
                  </a:lnTo>
                  <a:lnTo>
                    <a:pt x="11169" y="7086"/>
                  </a:lnTo>
                  <a:lnTo>
                    <a:pt x="11160" y="7104"/>
                  </a:lnTo>
                  <a:lnTo>
                    <a:pt x="11151" y="7130"/>
                  </a:lnTo>
                  <a:lnTo>
                    <a:pt x="11143" y="7139"/>
                  </a:lnTo>
                  <a:lnTo>
                    <a:pt x="11143" y="7148"/>
                  </a:lnTo>
                  <a:lnTo>
                    <a:pt x="11143" y="7183"/>
                  </a:lnTo>
                  <a:lnTo>
                    <a:pt x="11143" y="7192"/>
                  </a:lnTo>
                  <a:lnTo>
                    <a:pt x="11116" y="7227"/>
                  </a:lnTo>
                  <a:lnTo>
                    <a:pt x="11099" y="7254"/>
                  </a:lnTo>
                  <a:lnTo>
                    <a:pt x="11081" y="7263"/>
                  </a:lnTo>
                  <a:lnTo>
                    <a:pt x="11072" y="7263"/>
                  </a:lnTo>
                  <a:lnTo>
                    <a:pt x="11072" y="7271"/>
                  </a:lnTo>
                  <a:lnTo>
                    <a:pt x="11081" y="7271"/>
                  </a:lnTo>
                  <a:lnTo>
                    <a:pt x="11090" y="7271"/>
                  </a:lnTo>
                  <a:lnTo>
                    <a:pt x="11099" y="7271"/>
                  </a:lnTo>
                  <a:lnTo>
                    <a:pt x="11099" y="7289"/>
                  </a:lnTo>
                  <a:lnTo>
                    <a:pt x="11107" y="7289"/>
                  </a:lnTo>
                  <a:lnTo>
                    <a:pt x="11116" y="7307"/>
                  </a:lnTo>
                  <a:lnTo>
                    <a:pt x="11125" y="7315"/>
                  </a:lnTo>
                  <a:lnTo>
                    <a:pt x="11125" y="7324"/>
                  </a:lnTo>
                  <a:lnTo>
                    <a:pt x="11134" y="7315"/>
                  </a:lnTo>
                  <a:lnTo>
                    <a:pt x="11134" y="7324"/>
                  </a:lnTo>
                  <a:lnTo>
                    <a:pt x="11125" y="7324"/>
                  </a:lnTo>
                  <a:lnTo>
                    <a:pt x="11125" y="7333"/>
                  </a:lnTo>
                  <a:lnTo>
                    <a:pt x="11134" y="7342"/>
                  </a:lnTo>
                  <a:lnTo>
                    <a:pt x="11143" y="7342"/>
                  </a:lnTo>
                  <a:lnTo>
                    <a:pt x="11143" y="7351"/>
                  </a:lnTo>
                  <a:lnTo>
                    <a:pt x="11143" y="7360"/>
                  </a:lnTo>
                  <a:lnTo>
                    <a:pt x="11151" y="7368"/>
                  </a:lnTo>
                  <a:lnTo>
                    <a:pt x="11169" y="7360"/>
                  </a:lnTo>
                  <a:lnTo>
                    <a:pt x="11196" y="7360"/>
                  </a:lnTo>
                  <a:lnTo>
                    <a:pt x="11213" y="7360"/>
                  </a:lnTo>
                  <a:lnTo>
                    <a:pt x="11222" y="7360"/>
                  </a:lnTo>
                  <a:lnTo>
                    <a:pt x="11213" y="7360"/>
                  </a:lnTo>
                  <a:lnTo>
                    <a:pt x="11196" y="7368"/>
                  </a:lnTo>
                  <a:lnTo>
                    <a:pt x="11187" y="7368"/>
                  </a:lnTo>
                  <a:lnTo>
                    <a:pt x="11169" y="7368"/>
                  </a:lnTo>
                  <a:lnTo>
                    <a:pt x="11169" y="7377"/>
                  </a:lnTo>
                  <a:lnTo>
                    <a:pt x="11160" y="7377"/>
                  </a:lnTo>
                  <a:lnTo>
                    <a:pt x="11151" y="7377"/>
                  </a:lnTo>
                  <a:lnTo>
                    <a:pt x="11143" y="7377"/>
                  </a:lnTo>
                  <a:lnTo>
                    <a:pt x="11134" y="7368"/>
                  </a:lnTo>
                  <a:lnTo>
                    <a:pt x="11134" y="7360"/>
                  </a:lnTo>
                  <a:lnTo>
                    <a:pt x="11125" y="7368"/>
                  </a:lnTo>
                  <a:lnTo>
                    <a:pt x="11125" y="7386"/>
                  </a:lnTo>
                  <a:lnTo>
                    <a:pt x="11125" y="7395"/>
                  </a:lnTo>
                  <a:lnTo>
                    <a:pt x="11125" y="7404"/>
                  </a:lnTo>
                  <a:lnTo>
                    <a:pt x="11125" y="7421"/>
                  </a:lnTo>
                  <a:lnTo>
                    <a:pt x="11125" y="7430"/>
                  </a:lnTo>
                  <a:lnTo>
                    <a:pt x="11134" y="7421"/>
                  </a:lnTo>
                  <a:lnTo>
                    <a:pt x="11143" y="7421"/>
                  </a:lnTo>
                  <a:lnTo>
                    <a:pt x="11151" y="7421"/>
                  </a:lnTo>
                  <a:lnTo>
                    <a:pt x="11151" y="7430"/>
                  </a:lnTo>
                  <a:lnTo>
                    <a:pt x="11143" y="7430"/>
                  </a:lnTo>
                  <a:lnTo>
                    <a:pt x="11143" y="7421"/>
                  </a:lnTo>
                  <a:lnTo>
                    <a:pt x="11134" y="7430"/>
                  </a:lnTo>
                  <a:lnTo>
                    <a:pt x="11125" y="7430"/>
                  </a:lnTo>
                  <a:lnTo>
                    <a:pt x="11125" y="7439"/>
                  </a:lnTo>
                  <a:lnTo>
                    <a:pt x="11125" y="7448"/>
                  </a:lnTo>
                  <a:lnTo>
                    <a:pt x="11151" y="7457"/>
                  </a:lnTo>
                  <a:lnTo>
                    <a:pt x="11160" y="7457"/>
                  </a:lnTo>
                  <a:lnTo>
                    <a:pt x="11160" y="7466"/>
                  </a:lnTo>
                  <a:lnTo>
                    <a:pt x="11160" y="7474"/>
                  </a:lnTo>
                  <a:lnTo>
                    <a:pt x="11169" y="7474"/>
                  </a:lnTo>
                  <a:lnTo>
                    <a:pt x="11187" y="7474"/>
                  </a:lnTo>
                  <a:lnTo>
                    <a:pt x="11187" y="7483"/>
                  </a:lnTo>
                  <a:lnTo>
                    <a:pt x="11196" y="7492"/>
                  </a:lnTo>
                  <a:lnTo>
                    <a:pt x="11204" y="7483"/>
                  </a:lnTo>
                  <a:lnTo>
                    <a:pt x="11213" y="7474"/>
                  </a:lnTo>
                  <a:lnTo>
                    <a:pt x="11222" y="7474"/>
                  </a:lnTo>
                  <a:lnTo>
                    <a:pt x="11240" y="7474"/>
                  </a:lnTo>
                  <a:lnTo>
                    <a:pt x="11249" y="7474"/>
                  </a:lnTo>
                  <a:lnTo>
                    <a:pt x="11240" y="7483"/>
                  </a:lnTo>
                  <a:lnTo>
                    <a:pt x="11222" y="7483"/>
                  </a:lnTo>
                  <a:lnTo>
                    <a:pt x="11222" y="7492"/>
                  </a:lnTo>
                  <a:lnTo>
                    <a:pt x="11222" y="7501"/>
                  </a:lnTo>
                  <a:lnTo>
                    <a:pt x="11231" y="7501"/>
                  </a:lnTo>
                  <a:lnTo>
                    <a:pt x="11231" y="7492"/>
                  </a:lnTo>
                  <a:lnTo>
                    <a:pt x="11240" y="7492"/>
                  </a:lnTo>
                  <a:lnTo>
                    <a:pt x="11249" y="7492"/>
                  </a:lnTo>
                  <a:lnTo>
                    <a:pt x="11249" y="7501"/>
                  </a:lnTo>
                  <a:lnTo>
                    <a:pt x="11240" y="7501"/>
                  </a:lnTo>
                  <a:lnTo>
                    <a:pt x="11222" y="7510"/>
                  </a:lnTo>
                  <a:lnTo>
                    <a:pt x="11222" y="7518"/>
                  </a:lnTo>
                  <a:lnTo>
                    <a:pt x="11231" y="7518"/>
                  </a:lnTo>
                  <a:lnTo>
                    <a:pt x="11222" y="7518"/>
                  </a:lnTo>
                  <a:lnTo>
                    <a:pt x="11222" y="7527"/>
                  </a:lnTo>
                  <a:lnTo>
                    <a:pt x="11231" y="7536"/>
                  </a:lnTo>
                  <a:lnTo>
                    <a:pt x="11240" y="7536"/>
                  </a:lnTo>
                  <a:lnTo>
                    <a:pt x="11240" y="7545"/>
                  </a:lnTo>
                  <a:lnTo>
                    <a:pt x="11249" y="7536"/>
                  </a:lnTo>
                  <a:lnTo>
                    <a:pt x="11249" y="7545"/>
                  </a:lnTo>
                  <a:lnTo>
                    <a:pt x="11249" y="7554"/>
                  </a:lnTo>
                  <a:lnTo>
                    <a:pt x="11257" y="7563"/>
                  </a:lnTo>
                  <a:lnTo>
                    <a:pt x="11257" y="7545"/>
                  </a:lnTo>
                  <a:lnTo>
                    <a:pt x="11266" y="7545"/>
                  </a:lnTo>
                  <a:lnTo>
                    <a:pt x="11275" y="7554"/>
                  </a:lnTo>
                  <a:lnTo>
                    <a:pt x="11275" y="7563"/>
                  </a:lnTo>
                  <a:lnTo>
                    <a:pt x="11275" y="7571"/>
                  </a:lnTo>
                  <a:lnTo>
                    <a:pt x="11284" y="7563"/>
                  </a:lnTo>
                  <a:lnTo>
                    <a:pt x="11284" y="7571"/>
                  </a:lnTo>
                  <a:lnTo>
                    <a:pt x="11284" y="7580"/>
                  </a:lnTo>
                  <a:lnTo>
                    <a:pt x="11301" y="7598"/>
                  </a:lnTo>
                  <a:lnTo>
                    <a:pt x="11319" y="7607"/>
                  </a:lnTo>
                  <a:lnTo>
                    <a:pt x="11328" y="7607"/>
                  </a:lnTo>
                  <a:lnTo>
                    <a:pt x="11328" y="7616"/>
                  </a:lnTo>
                  <a:lnTo>
                    <a:pt x="11328" y="7624"/>
                  </a:lnTo>
                  <a:lnTo>
                    <a:pt x="11346" y="7624"/>
                  </a:lnTo>
                  <a:lnTo>
                    <a:pt x="11354" y="7624"/>
                  </a:lnTo>
                  <a:lnTo>
                    <a:pt x="11354" y="7633"/>
                  </a:lnTo>
                  <a:lnTo>
                    <a:pt x="11354" y="7642"/>
                  </a:lnTo>
                  <a:lnTo>
                    <a:pt x="11354" y="7651"/>
                  </a:lnTo>
                  <a:lnTo>
                    <a:pt x="11363" y="7651"/>
                  </a:lnTo>
                  <a:lnTo>
                    <a:pt x="11372" y="7660"/>
                  </a:lnTo>
                  <a:lnTo>
                    <a:pt x="11372" y="7668"/>
                  </a:lnTo>
                  <a:lnTo>
                    <a:pt x="11381" y="7677"/>
                  </a:lnTo>
                  <a:lnTo>
                    <a:pt x="11381" y="7686"/>
                  </a:lnTo>
                  <a:lnTo>
                    <a:pt x="11381" y="7695"/>
                  </a:lnTo>
                  <a:lnTo>
                    <a:pt x="11390" y="7704"/>
                  </a:lnTo>
                  <a:lnTo>
                    <a:pt x="11399" y="7704"/>
                  </a:lnTo>
                  <a:lnTo>
                    <a:pt x="11390" y="7704"/>
                  </a:lnTo>
                  <a:lnTo>
                    <a:pt x="11390" y="7713"/>
                  </a:lnTo>
                  <a:lnTo>
                    <a:pt x="11390" y="7721"/>
                  </a:lnTo>
                  <a:lnTo>
                    <a:pt x="11399" y="7721"/>
                  </a:lnTo>
                  <a:lnTo>
                    <a:pt x="11407" y="7721"/>
                  </a:lnTo>
                  <a:lnTo>
                    <a:pt x="11399" y="7730"/>
                  </a:lnTo>
                  <a:lnTo>
                    <a:pt x="11390" y="7730"/>
                  </a:lnTo>
                  <a:lnTo>
                    <a:pt x="11381" y="7730"/>
                  </a:lnTo>
                  <a:lnTo>
                    <a:pt x="11390" y="7739"/>
                  </a:lnTo>
                  <a:lnTo>
                    <a:pt x="11390" y="7748"/>
                  </a:lnTo>
                  <a:lnTo>
                    <a:pt x="11399" y="7748"/>
                  </a:lnTo>
                  <a:lnTo>
                    <a:pt x="11407" y="7757"/>
                  </a:lnTo>
                  <a:lnTo>
                    <a:pt x="11407" y="7766"/>
                  </a:lnTo>
                  <a:lnTo>
                    <a:pt x="11407" y="7774"/>
                  </a:lnTo>
                  <a:lnTo>
                    <a:pt x="11416" y="7783"/>
                  </a:lnTo>
                  <a:lnTo>
                    <a:pt x="11425" y="7783"/>
                  </a:lnTo>
                  <a:lnTo>
                    <a:pt x="11434" y="7783"/>
                  </a:lnTo>
                  <a:lnTo>
                    <a:pt x="11443" y="7783"/>
                  </a:lnTo>
                  <a:lnTo>
                    <a:pt x="11434" y="7792"/>
                  </a:lnTo>
                  <a:lnTo>
                    <a:pt x="11443" y="7801"/>
                  </a:lnTo>
                  <a:lnTo>
                    <a:pt x="11443" y="7810"/>
                  </a:lnTo>
                  <a:lnTo>
                    <a:pt x="11451" y="7810"/>
                  </a:lnTo>
                  <a:lnTo>
                    <a:pt x="11478" y="7827"/>
                  </a:lnTo>
                  <a:lnTo>
                    <a:pt x="11496" y="7836"/>
                  </a:lnTo>
                  <a:lnTo>
                    <a:pt x="11513" y="7845"/>
                  </a:lnTo>
                  <a:lnTo>
                    <a:pt x="11531" y="7863"/>
                  </a:lnTo>
                  <a:lnTo>
                    <a:pt x="11548" y="7871"/>
                  </a:lnTo>
                  <a:lnTo>
                    <a:pt x="11557" y="7880"/>
                  </a:lnTo>
                  <a:lnTo>
                    <a:pt x="11566" y="7889"/>
                  </a:lnTo>
                  <a:lnTo>
                    <a:pt x="11575" y="7889"/>
                  </a:lnTo>
                  <a:lnTo>
                    <a:pt x="11575" y="7898"/>
                  </a:lnTo>
                  <a:lnTo>
                    <a:pt x="11593" y="7898"/>
                  </a:lnTo>
                  <a:lnTo>
                    <a:pt x="11601" y="7907"/>
                  </a:lnTo>
                  <a:lnTo>
                    <a:pt x="11646" y="7951"/>
                  </a:lnTo>
                  <a:lnTo>
                    <a:pt x="11672" y="7969"/>
                  </a:lnTo>
                  <a:lnTo>
                    <a:pt x="11690" y="7977"/>
                  </a:lnTo>
                  <a:lnTo>
                    <a:pt x="11751" y="8013"/>
                  </a:lnTo>
                  <a:lnTo>
                    <a:pt x="11769" y="8022"/>
                  </a:lnTo>
                  <a:lnTo>
                    <a:pt x="11796" y="8030"/>
                  </a:lnTo>
                  <a:lnTo>
                    <a:pt x="11804" y="8030"/>
                  </a:lnTo>
                  <a:lnTo>
                    <a:pt x="11813" y="8030"/>
                  </a:lnTo>
                  <a:lnTo>
                    <a:pt x="11822" y="8022"/>
                  </a:lnTo>
                  <a:lnTo>
                    <a:pt x="11840" y="8022"/>
                  </a:lnTo>
                  <a:lnTo>
                    <a:pt x="11848" y="8013"/>
                  </a:lnTo>
                  <a:lnTo>
                    <a:pt x="11857" y="8013"/>
                  </a:lnTo>
                  <a:lnTo>
                    <a:pt x="11875" y="8004"/>
                  </a:lnTo>
                  <a:lnTo>
                    <a:pt x="11910" y="7986"/>
                  </a:lnTo>
                  <a:lnTo>
                    <a:pt x="11919" y="7986"/>
                  </a:lnTo>
                  <a:lnTo>
                    <a:pt x="11945" y="7977"/>
                  </a:lnTo>
                  <a:lnTo>
                    <a:pt x="11990" y="7977"/>
                  </a:lnTo>
                  <a:lnTo>
                    <a:pt x="11981" y="7977"/>
                  </a:lnTo>
                  <a:lnTo>
                    <a:pt x="11972" y="7977"/>
                  </a:lnTo>
                  <a:lnTo>
                    <a:pt x="11963" y="7977"/>
                  </a:lnTo>
                  <a:lnTo>
                    <a:pt x="11963" y="7969"/>
                  </a:lnTo>
                  <a:lnTo>
                    <a:pt x="11972" y="7969"/>
                  </a:lnTo>
                  <a:lnTo>
                    <a:pt x="11990" y="7969"/>
                  </a:lnTo>
                  <a:lnTo>
                    <a:pt x="11990" y="7977"/>
                  </a:lnTo>
                  <a:lnTo>
                    <a:pt x="11998" y="7977"/>
                  </a:lnTo>
                  <a:lnTo>
                    <a:pt x="12016" y="7977"/>
                  </a:lnTo>
                  <a:lnTo>
                    <a:pt x="12060" y="7969"/>
                  </a:lnTo>
                  <a:lnTo>
                    <a:pt x="12051" y="7969"/>
                  </a:lnTo>
                  <a:lnTo>
                    <a:pt x="12016" y="7969"/>
                  </a:lnTo>
                  <a:lnTo>
                    <a:pt x="12025" y="7969"/>
                  </a:lnTo>
                  <a:lnTo>
                    <a:pt x="12034" y="7960"/>
                  </a:lnTo>
                  <a:lnTo>
                    <a:pt x="12051" y="7960"/>
                  </a:lnTo>
                  <a:lnTo>
                    <a:pt x="12069" y="7969"/>
                  </a:lnTo>
                  <a:lnTo>
                    <a:pt x="12113" y="7977"/>
                  </a:lnTo>
                  <a:lnTo>
                    <a:pt x="12122" y="7960"/>
                  </a:lnTo>
                  <a:lnTo>
                    <a:pt x="12122" y="7969"/>
                  </a:lnTo>
                  <a:lnTo>
                    <a:pt x="12131" y="7977"/>
                  </a:lnTo>
                  <a:lnTo>
                    <a:pt x="12140" y="7977"/>
                  </a:lnTo>
                  <a:lnTo>
                    <a:pt x="12131" y="7977"/>
                  </a:lnTo>
                  <a:lnTo>
                    <a:pt x="12122" y="7977"/>
                  </a:lnTo>
                  <a:lnTo>
                    <a:pt x="12131" y="7977"/>
                  </a:lnTo>
                  <a:lnTo>
                    <a:pt x="12140" y="7986"/>
                  </a:lnTo>
                  <a:lnTo>
                    <a:pt x="12157" y="7986"/>
                  </a:lnTo>
                  <a:lnTo>
                    <a:pt x="12184" y="7995"/>
                  </a:lnTo>
                  <a:lnTo>
                    <a:pt x="12193" y="7995"/>
                  </a:lnTo>
                  <a:lnTo>
                    <a:pt x="12201" y="8004"/>
                  </a:lnTo>
                  <a:lnTo>
                    <a:pt x="12210" y="8004"/>
                  </a:lnTo>
                  <a:lnTo>
                    <a:pt x="12228" y="7995"/>
                  </a:lnTo>
                  <a:lnTo>
                    <a:pt x="12237" y="7986"/>
                  </a:lnTo>
                  <a:lnTo>
                    <a:pt x="12245" y="7986"/>
                  </a:lnTo>
                  <a:lnTo>
                    <a:pt x="12281" y="7969"/>
                  </a:lnTo>
                  <a:lnTo>
                    <a:pt x="12298" y="7969"/>
                  </a:lnTo>
                  <a:lnTo>
                    <a:pt x="12307" y="7960"/>
                  </a:lnTo>
                  <a:lnTo>
                    <a:pt x="12325" y="7960"/>
                  </a:lnTo>
                  <a:lnTo>
                    <a:pt x="12334" y="7951"/>
                  </a:lnTo>
                  <a:lnTo>
                    <a:pt x="12351" y="7942"/>
                  </a:lnTo>
                  <a:lnTo>
                    <a:pt x="12378" y="7933"/>
                  </a:lnTo>
                  <a:lnTo>
                    <a:pt x="12404" y="7933"/>
                  </a:lnTo>
                  <a:lnTo>
                    <a:pt x="12413" y="7933"/>
                  </a:lnTo>
                  <a:lnTo>
                    <a:pt x="12431" y="7924"/>
                  </a:lnTo>
                  <a:lnTo>
                    <a:pt x="12431" y="7916"/>
                  </a:lnTo>
                  <a:lnTo>
                    <a:pt x="12440" y="7907"/>
                  </a:lnTo>
                  <a:lnTo>
                    <a:pt x="12448" y="7907"/>
                  </a:lnTo>
                  <a:lnTo>
                    <a:pt x="12457" y="7898"/>
                  </a:lnTo>
                  <a:lnTo>
                    <a:pt x="12475" y="7898"/>
                  </a:lnTo>
                  <a:lnTo>
                    <a:pt x="12492" y="7889"/>
                  </a:lnTo>
                  <a:lnTo>
                    <a:pt x="12528" y="7889"/>
                  </a:lnTo>
                  <a:lnTo>
                    <a:pt x="12554" y="7889"/>
                  </a:lnTo>
                  <a:lnTo>
                    <a:pt x="12563" y="7889"/>
                  </a:lnTo>
                  <a:lnTo>
                    <a:pt x="12607" y="7880"/>
                  </a:lnTo>
                  <a:lnTo>
                    <a:pt x="12607" y="7871"/>
                  </a:lnTo>
                  <a:lnTo>
                    <a:pt x="12616" y="7871"/>
                  </a:lnTo>
                  <a:lnTo>
                    <a:pt x="12634" y="7871"/>
                  </a:lnTo>
                  <a:lnTo>
                    <a:pt x="12616" y="7880"/>
                  </a:lnTo>
                  <a:lnTo>
                    <a:pt x="12607" y="7880"/>
                  </a:lnTo>
                  <a:lnTo>
                    <a:pt x="12616" y="7880"/>
                  </a:lnTo>
                  <a:lnTo>
                    <a:pt x="12660" y="7880"/>
                  </a:lnTo>
                  <a:lnTo>
                    <a:pt x="12687" y="7889"/>
                  </a:lnTo>
                  <a:lnTo>
                    <a:pt x="12695" y="7898"/>
                  </a:lnTo>
                  <a:lnTo>
                    <a:pt x="12713" y="7907"/>
                  </a:lnTo>
                  <a:lnTo>
                    <a:pt x="12731" y="7924"/>
                  </a:lnTo>
                  <a:lnTo>
                    <a:pt x="12731" y="7933"/>
                  </a:lnTo>
                  <a:lnTo>
                    <a:pt x="12731" y="7942"/>
                  </a:lnTo>
                  <a:lnTo>
                    <a:pt x="12740" y="7942"/>
                  </a:lnTo>
                  <a:lnTo>
                    <a:pt x="12748" y="7942"/>
                  </a:lnTo>
                  <a:lnTo>
                    <a:pt x="12748" y="7933"/>
                  </a:lnTo>
                  <a:lnTo>
                    <a:pt x="12748" y="7942"/>
                  </a:lnTo>
                  <a:lnTo>
                    <a:pt x="12757" y="7942"/>
                  </a:lnTo>
                  <a:lnTo>
                    <a:pt x="12748" y="7942"/>
                  </a:lnTo>
                  <a:lnTo>
                    <a:pt x="12740" y="7942"/>
                  </a:lnTo>
                  <a:lnTo>
                    <a:pt x="12740" y="7951"/>
                  </a:lnTo>
                  <a:lnTo>
                    <a:pt x="12757" y="7960"/>
                  </a:lnTo>
                  <a:lnTo>
                    <a:pt x="12766" y="7951"/>
                  </a:lnTo>
                  <a:lnTo>
                    <a:pt x="12766" y="7960"/>
                  </a:lnTo>
                  <a:lnTo>
                    <a:pt x="12757" y="7960"/>
                  </a:lnTo>
                  <a:lnTo>
                    <a:pt x="12748" y="7960"/>
                  </a:lnTo>
                  <a:lnTo>
                    <a:pt x="12748" y="7969"/>
                  </a:lnTo>
                  <a:lnTo>
                    <a:pt x="12757" y="7969"/>
                  </a:lnTo>
                  <a:lnTo>
                    <a:pt x="12757" y="7977"/>
                  </a:lnTo>
                  <a:lnTo>
                    <a:pt x="12757" y="7986"/>
                  </a:lnTo>
                  <a:lnTo>
                    <a:pt x="12766" y="7995"/>
                  </a:lnTo>
                  <a:lnTo>
                    <a:pt x="12766" y="8004"/>
                  </a:lnTo>
                  <a:lnTo>
                    <a:pt x="12766" y="8013"/>
                  </a:lnTo>
                  <a:lnTo>
                    <a:pt x="12784" y="8022"/>
                  </a:lnTo>
                  <a:lnTo>
                    <a:pt x="12792" y="8030"/>
                  </a:lnTo>
                  <a:lnTo>
                    <a:pt x="12801" y="8039"/>
                  </a:lnTo>
                  <a:lnTo>
                    <a:pt x="12810" y="8039"/>
                  </a:lnTo>
                  <a:lnTo>
                    <a:pt x="12819" y="8030"/>
                  </a:lnTo>
                  <a:lnTo>
                    <a:pt x="12819" y="8039"/>
                  </a:lnTo>
                  <a:lnTo>
                    <a:pt x="12837" y="8030"/>
                  </a:lnTo>
                  <a:lnTo>
                    <a:pt x="12845" y="8022"/>
                  </a:lnTo>
                  <a:lnTo>
                    <a:pt x="12845" y="8030"/>
                  </a:lnTo>
                  <a:lnTo>
                    <a:pt x="12854" y="8030"/>
                  </a:lnTo>
                  <a:lnTo>
                    <a:pt x="12863" y="8030"/>
                  </a:lnTo>
                  <a:lnTo>
                    <a:pt x="12854" y="8022"/>
                  </a:lnTo>
                  <a:lnTo>
                    <a:pt x="12854" y="8013"/>
                  </a:lnTo>
                  <a:lnTo>
                    <a:pt x="12854" y="8004"/>
                  </a:lnTo>
                  <a:lnTo>
                    <a:pt x="12863" y="8013"/>
                  </a:lnTo>
                  <a:lnTo>
                    <a:pt x="12863" y="8022"/>
                  </a:lnTo>
                  <a:lnTo>
                    <a:pt x="12863" y="8030"/>
                  </a:lnTo>
                  <a:lnTo>
                    <a:pt x="12872" y="8030"/>
                  </a:lnTo>
                  <a:lnTo>
                    <a:pt x="12881" y="8022"/>
                  </a:lnTo>
                  <a:lnTo>
                    <a:pt x="12881" y="8013"/>
                  </a:lnTo>
                  <a:lnTo>
                    <a:pt x="12881" y="8004"/>
                  </a:lnTo>
                  <a:lnTo>
                    <a:pt x="12881" y="8013"/>
                  </a:lnTo>
                  <a:lnTo>
                    <a:pt x="12889" y="8013"/>
                  </a:lnTo>
                  <a:lnTo>
                    <a:pt x="12889" y="8022"/>
                  </a:lnTo>
                  <a:lnTo>
                    <a:pt x="12907" y="8022"/>
                  </a:lnTo>
                  <a:lnTo>
                    <a:pt x="12907" y="8013"/>
                  </a:lnTo>
                  <a:lnTo>
                    <a:pt x="12916" y="8022"/>
                  </a:lnTo>
                  <a:lnTo>
                    <a:pt x="12934" y="8022"/>
                  </a:lnTo>
                  <a:lnTo>
                    <a:pt x="12951" y="8022"/>
                  </a:lnTo>
                  <a:lnTo>
                    <a:pt x="12969" y="8022"/>
                  </a:lnTo>
                  <a:lnTo>
                    <a:pt x="12969" y="8013"/>
                  </a:lnTo>
                  <a:lnTo>
                    <a:pt x="12960" y="7995"/>
                  </a:lnTo>
                  <a:lnTo>
                    <a:pt x="12969" y="7995"/>
                  </a:lnTo>
                  <a:lnTo>
                    <a:pt x="12978" y="7995"/>
                  </a:lnTo>
                  <a:lnTo>
                    <a:pt x="12978" y="8004"/>
                  </a:lnTo>
                  <a:lnTo>
                    <a:pt x="12987" y="8004"/>
                  </a:lnTo>
                  <a:lnTo>
                    <a:pt x="12987" y="8013"/>
                  </a:lnTo>
                  <a:lnTo>
                    <a:pt x="12987" y="8022"/>
                  </a:lnTo>
                  <a:lnTo>
                    <a:pt x="12995" y="8022"/>
                  </a:lnTo>
                  <a:lnTo>
                    <a:pt x="12995" y="8013"/>
                  </a:lnTo>
                  <a:lnTo>
                    <a:pt x="13004" y="8013"/>
                  </a:lnTo>
                  <a:lnTo>
                    <a:pt x="13013" y="8013"/>
                  </a:lnTo>
                  <a:lnTo>
                    <a:pt x="13013" y="8022"/>
                  </a:lnTo>
                  <a:lnTo>
                    <a:pt x="13013" y="8030"/>
                  </a:lnTo>
                  <a:lnTo>
                    <a:pt x="13013" y="8039"/>
                  </a:lnTo>
                  <a:lnTo>
                    <a:pt x="13022" y="8039"/>
                  </a:lnTo>
                  <a:lnTo>
                    <a:pt x="13022" y="8048"/>
                  </a:lnTo>
                  <a:lnTo>
                    <a:pt x="13031" y="8057"/>
                  </a:lnTo>
                  <a:lnTo>
                    <a:pt x="13039" y="8057"/>
                  </a:lnTo>
                  <a:lnTo>
                    <a:pt x="13039" y="8066"/>
                  </a:lnTo>
                  <a:lnTo>
                    <a:pt x="13048" y="8066"/>
                  </a:lnTo>
                  <a:lnTo>
                    <a:pt x="13057" y="8066"/>
                  </a:lnTo>
                  <a:lnTo>
                    <a:pt x="13057" y="8057"/>
                  </a:lnTo>
                  <a:lnTo>
                    <a:pt x="13066" y="8057"/>
                  </a:lnTo>
                  <a:lnTo>
                    <a:pt x="13066" y="8066"/>
                  </a:lnTo>
                  <a:lnTo>
                    <a:pt x="13075" y="8066"/>
                  </a:lnTo>
                  <a:lnTo>
                    <a:pt x="13066" y="8066"/>
                  </a:lnTo>
                  <a:lnTo>
                    <a:pt x="13066" y="8074"/>
                  </a:lnTo>
                  <a:lnTo>
                    <a:pt x="13057" y="8074"/>
                  </a:lnTo>
                  <a:lnTo>
                    <a:pt x="13066" y="8083"/>
                  </a:lnTo>
                  <a:lnTo>
                    <a:pt x="13075" y="8083"/>
                  </a:lnTo>
                  <a:lnTo>
                    <a:pt x="13066" y="8092"/>
                  </a:lnTo>
                  <a:lnTo>
                    <a:pt x="13084" y="8110"/>
                  </a:lnTo>
                  <a:lnTo>
                    <a:pt x="13084" y="8119"/>
                  </a:lnTo>
                  <a:lnTo>
                    <a:pt x="13092" y="8127"/>
                  </a:lnTo>
                  <a:lnTo>
                    <a:pt x="13084" y="8136"/>
                  </a:lnTo>
                  <a:lnTo>
                    <a:pt x="13084" y="8154"/>
                  </a:lnTo>
                  <a:lnTo>
                    <a:pt x="13084" y="8163"/>
                  </a:lnTo>
                  <a:lnTo>
                    <a:pt x="13075" y="8180"/>
                  </a:lnTo>
                  <a:lnTo>
                    <a:pt x="13075" y="8198"/>
                  </a:lnTo>
                  <a:lnTo>
                    <a:pt x="13075" y="8207"/>
                  </a:lnTo>
                  <a:lnTo>
                    <a:pt x="13075" y="8225"/>
                  </a:lnTo>
                  <a:lnTo>
                    <a:pt x="13066" y="8233"/>
                  </a:lnTo>
                  <a:lnTo>
                    <a:pt x="13066" y="8242"/>
                  </a:lnTo>
                  <a:lnTo>
                    <a:pt x="13057" y="8242"/>
                  </a:lnTo>
                  <a:lnTo>
                    <a:pt x="13048" y="8260"/>
                  </a:lnTo>
                  <a:lnTo>
                    <a:pt x="13048" y="8269"/>
                  </a:lnTo>
                  <a:lnTo>
                    <a:pt x="13057" y="8269"/>
                  </a:lnTo>
                  <a:lnTo>
                    <a:pt x="13066" y="8277"/>
                  </a:lnTo>
                  <a:lnTo>
                    <a:pt x="13066" y="8295"/>
                  </a:lnTo>
                  <a:lnTo>
                    <a:pt x="13066" y="8304"/>
                  </a:lnTo>
                  <a:lnTo>
                    <a:pt x="13066" y="8313"/>
                  </a:lnTo>
                  <a:lnTo>
                    <a:pt x="13057" y="8304"/>
                  </a:lnTo>
                  <a:lnTo>
                    <a:pt x="13039" y="8304"/>
                  </a:lnTo>
                  <a:lnTo>
                    <a:pt x="13039" y="8313"/>
                  </a:lnTo>
                  <a:lnTo>
                    <a:pt x="13048" y="8313"/>
                  </a:lnTo>
                  <a:lnTo>
                    <a:pt x="13057" y="8322"/>
                  </a:lnTo>
                  <a:lnTo>
                    <a:pt x="13057" y="8330"/>
                  </a:lnTo>
                  <a:lnTo>
                    <a:pt x="13075" y="8339"/>
                  </a:lnTo>
                  <a:lnTo>
                    <a:pt x="13092" y="8339"/>
                  </a:lnTo>
                  <a:lnTo>
                    <a:pt x="13075" y="8339"/>
                  </a:lnTo>
                  <a:lnTo>
                    <a:pt x="13075" y="8348"/>
                  </a:lnTo>
                  <a:lnTo>
                    <a:pt x="13066" y="8339"/>
                  </a:lnTo>
                  <a:lnTo>
                    <a:pt x="13057" y="8339"/>
                  </a:lnTo>
                  <a:lnTo>
                    <a:pt x="13048" y="8339"/>
                  </a:lnTo>
                  <a:lnTo>
                    <a:pt x="13048" y="8330"/>
                  </a:lnTo>
                  <a:lnTo>
                    <a:pt x="13039" y="8330"/>
                  </a:lnTo>
                  <a:lnTo>
                    <a:pt x="13039" y="8339"/>
                  </a:lnTo>
                  <a:lnTo>
                    <a:pt x="13048" y="8357"/>
                  </a:lnTo>
                  <a:lnTo>
                    <a:pt x="13039" y="8375"/>
                  </a:lnTo>
                  <a:lnTo>
                    <a:pt x="13031" y="8392"/>
                  </a:lnTo>
                  <a:lnTo>
                    <a:pt x="13022" y="8401"/>
                  </a:lnTo>
                  <a:lnTo>
                    <a:pt x="13013" y="8401"/>
                  </a:lnTo>
                  <a:lnTo>
                    <a:pt x="13004" y="8401"/>
                  </a:lnTo>
                  <a:lnTo>
                    <a:pt x="13004" y="8392"/>
                  </a:lnTo>
                  <a:lnTo>
                    <a:pt x="12995" y="8392"/>
                  </a:lnTo>
                  <a:lnTo>
                    <a:pt x="13004" y="8419"/>
                  </a:lnTo>
                  <a:lnTo>
                    <a:pt x="13013" y="8419"/>
                  </a:lnTo>
                  <a:lnTo>
                    <a:pt x="13013" y="8427"/>
                  </a:lnTo>
                  <a:lnTo>
                    <a:pt x="13022" y="8445"/>
                  </a:lnTo>
                  <a:lnTo>
                    <a:pt x="13031" y="8454"/>
                  </a:lnTo>
                  <a:lnTo>
                    <a:pt x="13039" y="8454"/>
                  </a:lnTo>
                  <a:lnTo>
                    <a:pt x="13039" y="8445"/>
                  </a:lnTo>
                  <a:lnTo>
                    <a:pt x="13048" y="8445"/>
                  </a:lnTo>
                  <a:lnTo>
                    <a:pt x="13039" y="8463"/>
                  </a:lnTo>
                  <a:lnTo>
                    <a:pt x="13048" y="8463"/>
                  </a:lnTo>
                  <a:lnTo>
                    <a:pt x="13057" y="8463"/>
                  </a:lnTo>
                  <a:lnTo>
                    <a:pt x="13057" y="8472"/>
                  </a:lnTo>
                  <a:lnTo>
                    <a:pt x="13048" y="8472"/>
                  </a:lnTo>
                  <a:lnTo>
                    <a:pt x="13039" y="8472"/>
                  </a:lnTo>
                  <a:lnTo>
                    <a:pt x="13022" y="8445"/>
                  </a:lnTo>
                  <a:lnTo>
                    <a:pt x="13022" y="8454"/>
                  </a:lnTo>
                  <a:lnTo>
                    <a:pt x="13031" y="8463"/>
                  </a:lnTo>
                  <a:lnTo>
                    <a:pt x="13039" y="8480"/>
                  </a:lnTo>
                  <a:lnTo>
                    <a:pt x="13048" y="8480"/>
                  </a:lnTo>
                  <a:lnTo>
                    <a:pt x="13057" y="8489"/>
                  </a:lnTo>
                  <a:lnTo>
                    <a:pt x="13057" y="8498"/>
                  </a:lnTo>
                  <a:lnTo>
                    <a:pt x="13048" y="8489"/>
                  </a:lnTo>
                  <a:lnTo>
                    <a:pt x="13039" y="8489"/>
                  </a:lnTo>
                  <a:lnTo>
                    <a:pt x="13048" y="8498"/>
                  </a:lnTo>
                  <a:lnTo>
                    <a:pt x="13057" y="8507"/>
                  </a:lnTo>
                  <a:lnTo>
                    <a:pt x="13066" y="8516"/>
                  </a:lnTo>
                  <a:lnTo>
                    <a:pt x="13066" y="8525"/>
                  </a:lnTo>
                  <a:lnTo>
                    <a:pt x="13075" y="8525"/>
                  </a:lnTo>
                  <a:lnTo>
                    <a:pt x="13084" y="8533"/>
                  </a:lnTo>
                  <a:lnTo>
                    <a:pt x="13092" y="8533"/>
                  </a:lnTo>
                  <a:lnTo>
                    <a:pt x="13101" y="8533"/>
                  </a:lnTo>
                  <a:lnTo>
                    <a:pt x="13092" y="8542"/>
                  </a:lnTo>
                  <a:lnTo>
                    <a:pt x="13075" y="8533"/>
                  </a:lnTo>
                  <a:lnTo>
                    <a:pt x="13092" y="8551"/>
                  </a:lnTo>
                  <a:lnTo>
                    <a:pt x="13119" y="8569"/>
                  </a:lnTo>
                  <a:lnTo>
                    <a:pt x="13137" y="8586"/>
                  </a:lnTo>
                  <a:lnTo>
                    <a:pt x="13137" y="8595"/>
                  </a:lnTo>
                  <a:lnTo>
                    <a:pt x="13154" y="8613"/>
                  </a:lnTo>
                  <a:lnTo>
                    <a:pt x="13163" y="8622"/>
                  </a:lnTo>
                  <a:lnTo>
                    <a:pt x="13172" y="8630"/>
                  </a:lnTo>
                  <a:lnTo>
                    <a:pt x="13172" y="8639"/>
                  </a:lnTo>
                  <a:lnTo>
                    <a:pt x="13189" y="8657"/>
                  </a:lnTo>
                  <a:lnTo>
                    <a:pt x="13198" y="8657"/>
                  </a:lnTo>
                  <a:lnTo>
                    <a:pt x="13215" y="8675"/>
                  </a:lnTo>
                  <a:lnTo>
                    <a:pt x="13224" y="8683"/>
                  </a:lnTo>
                  <a:lnTo>
                    <a:pt x="13224" y="8692"/>
                  </a:lnTo>
                  <a:lnTo>
                    <a:pt x="13224" y="8701"/>
                  </a:lnTo>
                  <a:lnTo>
                    <a:pt x="13233" y="8710"/>
                  </a:lnTo>
                  <a:lnTo>
                    <a:pt x="13241" y="8719"/>
                  </a:lnTo>
                  <a:lnTo>
                    <a:pt x="13250" y="8728"/>
                  </a:lnTo>
                  <a:lnTo>
                    <a:pt x="13250" y="8736"/>
                  </a:lnTo>
                  <a:lnTo>
                    <a:pt x="13250" y="8754"/>
                  </a:lnTo>
                  <a:lnTo>
                    <a:pt x="13250" y="8763"/>
                  </a:lnTo>
                  <a:lnTo>
                    <a:pt x="13250" y="8772"/>
                  </a:lnTo>
                  <a:lnTo>
                    <a:pt x="13259" y="8772"/>
                  </a:lnTo>
                  <a:lnTo>
                    <a:pt x="13259" y="8781"/>
                  </a:lnTo>
                  <a:lnTo>
                    <a:pt x="13268" y="8789"/>
                  </a:lnTo>
                  <a:lnTo>
                    <a:pt x="13277" y="8789"/>
                  </a:lnTo>
                  <a:lnTo>
                    <a:pt x="13285" y="8789"/>
                  </a:lnTo>
                  <a:lnTo>
                    <a:pt x="13294" y="8781"/>
                  </a:lnTo>
                  <a:lnTo>
                    <a:pt x="13303" y="8781"/>
                  </a:lnTo>
                  <a:lnTo>
                    <a:pt x="13312" y="8781"/>
                  </a:lnTo>
                  <a:lnTo>
                    <a:pt x="13321" y="8781"/>
                  </a:lnTo>
                  <a:lnTo>
                    <a:pt x="13312" y="8781"/>
                  </a:lnTo>
                  <a:lnTo>
                    <a:pt x="13294" y="8789"/>
                  </a:lnTo>
                  <a:lnTo>
                    <a:pt x="13277" y="8789"/>
                  </a:lnTo>
                  <a:lnTo>
                    <a:pt x="13268" y="8798"/>
                  </a:lnTo>
                  <a:lnTo>
                    <a:pt x="13259" y="8798"/>
                  </a:lnTo>
                  <a:lnTo>
                    <a:pt x="13268" y="8807"/>
                  </a:lnTo>
                  <a:lnTo>
                    <a:pt x="13268" y="8816"/>
                  </a:lnTo>
                  <a:lnTo>
                    <a:pt x="13277" y="8833"/>
                  </a:lnTo>
                  <a:lnTo>
                    <a:pt x="13303" y="8860"/>
                  </a:lnTo>
                  <a:lnTo>
                    <a:pt x="13303" y="8878"/>
                  </a:lnTo>
                  <a:lnTo>
                    <a:pt x="13321" y="8922"/>
                  </a:lnTo>
                  <a:lnTo>
                    <a:pt x="13338" y="8966"/>
                  </a:lnTo>
                  <a:lnTo>
                    <a:pt x="13338" y="8975"/>
                  </a:lnTo>
                  <a:lnTo>
                    <a:pt x="13338" y="8984"/>
                  </a:lnTo>
                  <a:lnTo>
                    <a:pt x="13321" y="9010"/>
                  </a:lnTo>
                  <a:lnTo>
                    <a:pt x="13312" y="9010"/>
                  </a:lnTo>
                  <a:lnTo>
                    <a:pt x="13321" y="9001"/>
                  </a:lnTo>
                  <a:lnTo>
                    <a:pt x="13312" y="9001"/>
                  </a:lnTo>
                  <a:lnTo>
                    <a:pt x="13312" y="9010"/>
                  </a:lnTo>
                  <a:lnTo>
                    <a:pt x="13321" y="9028"/>
                  </a:lnTo>
                  <a:lnTo>
                    <a:pt x="13321" y="9036"/>
                  </a:lnTo>
                  <a:lnTo>
                    <a:pt x="13330" y="9054"/>
                  </a:lnTo>
                  <a:lnTo>
                    <a:pt x="13330" y="9063"/>
                  </a:lnTo>
                  <a:lnTo>
                    <a:pt x="13330" y="9072"/>
                  </a:lnTo>
                  <a:lnTo>
                    <a:pt x="13338" y="9081"/>
                  </a:lnTo>
                  <a:lnTo>
                    <a:pt x="13347" y="9107"/>
                  </a:lnTo>
                  <a:lnTo>
                    <a:pt x="13356" y="9116"/>
                  </a:lnTo>
                  <a:lnTo>
                    <a:pt x="13356" y="9125"/>
                  </a:lnTo>
                  <a:lnTo>
                    <a:pt x="13365" y="9134"/>
                  </a:lnTo>
                  <a:lnTo>
                    <a:pt x="13365" y="9142"/>
                  </a:lnTo>
                  <a:lnTo>
                    <a:pt x="13374" y="9151"/>
                  </a:lnTo>
                  <a:lnTo>
                    <a:pt x="13374" y="9160"/>
                  </a:lnTo>
                  <a:lnTo>
                    <a:pt x="13374" y="9195"/>
                  </a:lnTo>
                  <a:lnTo>
                    <a:pt x="13374" y="9222"/>
                  </a:lnTo>
                  <a:lnTo>
                    <a:pt x="13365" y="9239"/>
                  </a:lnTo>
                  <a:lnTo>
                    <a:pt x="13356" y="9257"/>
                  </a:lnTo>
                  <a:lnTo>
                    <a:pt x="13347" y="9275"/>
                  </a:lnTo>
                  <a:lnTo>
                    <a:pt x="13321" y="9284"/>
                  </a:lnTo>
                  <a:lnTo>
                    <a:pt x="13312" y="9292"/>
                  </a:lnTo>
                  <a:lnTo>
                    <a:pt x="13303" y="9310"/>
                  </a:lnTo>
                  <a:lnTo>
                    <a:pt x="13277" y="9337"/>
                  </a:lnTo>
                  <a:lnTo>
                    <a:pt x="13277" y="9363"/>
                  </a:lnTo>
                  <a:lnTo>
                    <a:pt x="13268" y="9381"/>
                  </a:lnTo>
                  <a:lnTo>
                    <a:pt x="13259" y="9425"/>
                  </a:lnTo>
                  <a:lnTo>
                    <a:pt x="13241" y="9478"/>
                  </a:lnTo>
                  <a:lnTo>
                    <a:pt x="13241" y="9495"/>
                  </a:lnTo>
                  <a:lnTo>
                    <a:pt x="13233" y="9504"/>
                  </a:lnTo>
                  <a:lnTo>
                    <a:pt x="13233" y="9513"/>
                  </a:lnTo>
                  <a:lnTo>
                    <a:pt x="13224" y="9513"/>
                  </a:lnTo>
                  <a:lnTo>
                    <a:pt x="13224" y="9522"/>
                  </a:lnTo>
                  <a:lnTo>
                    <a:pt x="13224" y="9531"/>
                  </a:lnTo>
                  <a:lnTo>
                    <a:pt x="13224" y="9566"/>
                  </a:lnTo>
                  <a:lnTo>
                    <a:pt x="13224" y="9584"/>
                  </a:lnTo>
                  <a:lnTo>
                    <a:pt x="13224" y="9592"/>
                  </a:lnTo>
                  <a:lnTo>
                    <a:pt x="13224" y="9628"/>
                  </a:lnTo>
                  <a:lnTo>
                    <a:pt x="13215" y="9637"/>
                  </a:lnTo>
                  <a:lnTo>
                    <a:pt x="13215" y="9663"/>
                  </a:lnTo>
                  <a:lnTo>
                    <a:pt x="13224" y="9681"/>
                  </a:lnTo>
                  <a:lnTo>
                    <a:pt x="13233" y="9698"/>
                  </a:lnTo>
                  <a:lnTo>
                    <a:pt x="13241" y="9716"/>
                  </a:lnTo>
                  <a:lnTo>
                    <a:pt x="13250" y="9725"/>
                  </a:lnTo>
                  <a:lnTo>
                    <a:pt x="13259" y="9734"/>
                  </a:lnTo>
                  <a:lnTo>
                    <a:pt x="13277" y="9751"/>
                  </a:lnTo>
                  <a:lnTo>
                    <a:pt x="13312" y="9831"/>
                  </a:lnTo>
                  <a:lnTo>
                    <a:pt x="13321" y="9848"/>
                  </a:lnTo>
                  <a:lnTo>
                    <a:pt x="13330" y="9875"/>
                  </a:lnTo>
                  <a:lnTo>
                    <a:pt x="13347" y="9901"/>
                  </a:lnTo>
                  <a:lnTo>
                    <a:pt x="13374" y="9946"/>
                  </a:lnTo>
                  <a:lnTo>
                    <a:pt x="13374" y="9954"/>
                  </a:lnTo>
                  <a:lnTo>
                    <a:pt x="13383" y="9963"/>
                  </a:lnTo>
                  <a:lnTo>
                    <a:pt x="13409" y="9998"/>
                  </a:lnTo>
                  <a:lnTo>
                    <a:pt x="13418" y="10016"/>
                  </a:lnTo>
                  <a:lnTo>
                    <a:pt x="13427" y="10043"/>
                  </a:lnTo>
                  <a:lnTo>
                    <a:pt x="13427" y="10051"/>
                  </a:lnTo>
                  <a:lnTo>
                    <a:pt x="13418" y="10051"/>
                  </a:lnTo>
                  <a:lnTo>
                    <a:pt x="13418" y="10060"/>
                  </a:lnTo>
                  <a:lnTo>
                    <a:pt x="13418" y="10069"/>
                  </a:lnTo>
                  <a:lnTo>
                    <a:pt x="13418" y="10087"/>
                  </a:lnTo>
                  <a:lnTo>
                    <a:pt x="13418" y="10096"/>
                  </a:lnTo>
                  <a:lnTo>
                    <a:pt x="13427" y="10113"/>
                  </a:lnTo>
                  <a:lnTo>
                    <a:pt x="13418" y="10140"/>
                  </a:lnTo>
                  <a:lnTo>
                    <a:pt x="13427" y="10157"/>
                  </a:lnTo>
                  <a:lnTo>
                    <a:pt x="13435" y="10184"/>
                  </a:lnTo>
                  <a:lnTo>
                    <a:pt x="13444" y="10201"/>
                  </a:lnTo>
                  <a:lnTo>
                    <a:pt x="13444" y="10219"/>
                  </a:lnTo>
                  <a:lnTo>
                    <a:pt x="13444" y="10237"/>
                  </a:lnTo>
                  <a:lnTo>
                    <a:pt x="13444" y="10246"/>
                  </a:lnTo>
                  <a:lnTo>
                    <a:pt x="13453" y="10254"/>
                  </a:lnTo>
                  <a:lnTo>
                    <a:pt x="13444" y="10272"/>
                  </a:lnTo>
                  <a:lnTo>
                    <a:pt x="13453" y="10290"/>
                  </a:lnTo>
                  <a:lnTo>
                    <a:pt x="13453" y="10316"/>
                  </a:lnTo>
                  <a:lnTo>
                    <a:pt x="13471" y="10325"/>
                  </a:lnTo>
                  <a:lnTo>
                    <a:pt x="13471" y="10334"/>
                  </a:lnTo>
                  <a:lnTo>
                    <a:pt x="13471" y="10343"/>
                  </a:lnTo>
                  <a:lnTo>
                    <a:pt x="13471" y="10360"/>
                  </a:lnTo>
                  <a:lnTo>
                    <a:pt x="13480" y="10369"/>
                  </a:lnTo>
                  <a:lnTo>
                    <a:pt x="13480" y="10396"/>
                  </a:lnTo>
                  <a:lnTo>
                    <a:pt x="13488" y="10404"/>
                  </a:lnTo>
                  <a:lnTo>
                    <a:pt x="13515" y="10449"/>
                  </a:lnTo>
                  <a:lnTo>
                    <a:pt x="13524" y="10466"/>
                  </a:lnTo>
                  <a:lnTo>
                    <a:pt x="13533" y="10466"/>
                  </a:lnTo>
                  <a:lnTo>
                    <a:pt x="13559" y="10493"/>
                  </a:lnTo>
                  <a:lnTo>
                    <a:pt x="13568" y="10502"/>
                  </a:lnTo>
                  <a:lnTo>
                    <a:pt x="13585" y="10528"/>
                  </a:lnTo>
                  <a:lnTo>
                    <a:pt x="13603" y="10563"/>
                  </a:lnTo>
                  <a:lnTo>
                    <a:pt x="13621" y="10616"/>
                  </a:lnTo>
                  <a:lnTo>
                    <a:pt x="13630" y="10643"/>
                  </a:lnTo>
                  <a:lnTo>
                    <a:pt x="13656" y="10696"/>
                  </a:lnTo>
                  <a:lnTo>
                    <a:pt x="13674" y="10722"/>
                  </a:lnTo>
                  <a:lnTo>
                    <a:pt x="13691" y="10749"/>
                  </a:lnTo>
                  <a:lnTo>
                    <a:pt x="13700" y="10784"/>
                  </a:lnTo>
                  <a:lnTo>
                    <a:pt x="13700" y="10793"/>
                  </a:lnTo>
                  <a:lnTo>
                    <a:pt x="13700" y="10810"/>
                  </a:lnTo>
                  <a:lnTo>
                    <a:pt x="13700" y="10828"/>
                  </a:lnTo>
                  <a:lnTo>
                    <a:pt x="13691" y="10837"/>
                  </a:lnTo>
                  <a:lnTo>
                    <a:pt x="13682" y="10837"/>
                  </a:lnTo>
                  <a:lnTo>
                    <a:pt x="13674" y="10828"/>
                  </a:lnTo>
                  <a:lnTo>
                    <a:pt x="13674" y="10837"/>
                  </a:lnTo>
                  <a:lnTo>
                    <a:pt x="13665" y="10837"/>
                  </a:lnTo>
                  <a:lnTo>
                    <a:pt x="13674" y="10855"/>
                  </a:lnTo>
                  <a:lnTo>
                    <a:pt x="13682" y="10863"/>
                  </a:lnTo>
                  <a:lnTo>
                    <a:pt x="13682" y="10872"/>
                  </a:lnTo>
                  <a:lnTo>
                    <a:pt x="13691" y="10881"/>
                  </a:lnTo>
                  <a:lnTo>
                    <a:pt x="13700" y="10890"/>
                  </a:lnTo>
                  <a:lnTo>
                    <a:pt x="13700" y="10899"/>
                  </a:lnTo>
                  <a:lnTo>
                    <a:pt x="13709" y="10916"/>
                  </a:lnTo>
                  <a:lnTo>
                    <a:pt x="13718" y="10916"/>
                  </a:lnTo>
                  <a:lnTo>
                    <a:pt x="13718" y="10925"/>
                  </a:lnTo>
                  <a:lnTo>
                    <a:pt x="13709" y="10934"/>
                  </a:lnTo>
                  <a:lnTo>
                    <a:pt x="13700" y="10943"/>
                  </a:lnTo>
                  <a:lnTo>
                    <a:pt x="13709" y="10952"/>
                  </a:lnTo>
                  <a:lnTo>
                    <a:pt x="13709" y="10960"/>
                  </a:lnTo>
                  <a:lnTo>
                    <a:pt x="13718" y="10969"/>
                  </a:lnTo>
                  <a:lnTo>
                    <a:pt x="13718" y="10952"/>
                  </a:lnTo>
                  <a:lnTo>
                    <a:pt x="13718" y="10943"/>
                  </a:lnTo>
                  <a:lnTo>
                    <a:pt x="13727" y="10943"/>
                  </a:lnTo>
                  <a:lnTo>
                    <a:pt x="13735" y="10943"/>
                  </a:lnTo>
                  <a:lnTo>
                    <a:pt x="13744" y="10952"/>
                  </a:lnTo>
                  <a:lnTo>
                    <a:pt x="13744" y="10960"/>
                  </a:lnTo>
                  <a:lnTo>
                    <a:pt x="13744" y="10969"/>
                  </a:lnTo>
                  <a:lnTo>
                    <a:pt x="13753" y="10960"/>
                  </a:lnTo>
                  <a:lnTo>
                    <a:pt x="13762" y="10969"/>
                  </a:lnTo>
                  <a:lnTo>
                    <a:pt x="13771" y="10969"/>
                  </a:lnTo>
                  <a:lnTo>
                    <a:pt x="13780" y="10978"/>
                  </a:lnTo>
                  <a:lnTo>
                    <a:pt x="13780" y="10987"/>
                  </a:lnTo>
                  <a:lnTo>
                    <a:pt x="13797" y="10996"/>
                  </a:lnTo>
                  <a:lnTo>
                    <a:pt x="13815" y="10996"/>
                  </a:lnTo>
                  <a:lnTo>
                    <a:pt x="13824" y="11005"/>
                  </a:lnTo>
                  <a:lnTo>
                    <a:pt x="13832" y="11005"/>
                  </a:lnTo>
                  <a:lnTo>
                    <a:pt x="13859" y="10978"/>
                  </a:lnTo>
                  <a:lnTo>
                    <a:pt x="13868" y="10978"/>
                  </a:lnTo>
                  <a:lnTo>
                    <a:pt x="13885" y="10969"/>
                  </a:lnTo>
                  <a:lnTo>
                    <a:pt x="13894" y="10969"/>
                  </a:lnTo>
                  <a:lnTo>
                    <a:pt x="13903" y="10969"/>
                  </a:lnTo>
                  <a:lnTo>
                    <a:pt x="13921" y="10969"/>
                  </a:lnTo>
                  <a:lnTo>
                    <a:pt x="13930" y="10969"/>
                  </a:lnTo>
                  <a:lnTo>
                    <a:pt x="13938" y="10969"/>
                  </a:lnTo>
                  <a:lnTo>
                    <a:pt x="13956" y="10969"/>
                  </a:lnTo>
                  <a:lnTo>
                    <a:pt x="13991" y="10943"/>
                  </a:lnTo>
                  <a:lnTo>
                    <a:pt x="14000" y="10943"/>
                  </a:lnTo>
                  <a:lnTo>
                    <a:pt x="14018" y="10934"/>
                  </a:lnTo>
                  <a:lnTo>
                    <a:pt x="14027" y="10934"/>
                  </a:lnTo>
                  <a:lnTo>
                    <a:pt x="14044" y="10943"/>
                  </a:lnTo>
                  <a:lnTo>
                    <a:pt x="14071" y="10943"/>
                  </a:lnTo>
                  <a:lnTo>
                    <a:pt x="14088" y="10934"/>
                  </a:lnTo>
                  <a:lnTo>
                    <a:pt x="14097" y="10934"/>
                  </a:lnTo>
                  <a:lnTo>
                    <a:pt x="14132" y="10943"/>
                  </a:lnTo>
                  <a:lnTo>
                    <a:pt x="14168" y="10952"/>
                  </a:lnTo>
                  <a:lnTo>
                    <a:pt x="14185" y="10952"/>
                  </a:lnTo>
                  <a:lnTo>
                    <a:pt x="14185" y="10943"/>
                  </a:lnTo>
                  <a:lnTo>
                    <a:pt x="14194" y="10934"/>
                  </a:lnTo>
                  <a:lnTo>
                    <a:pt x="14203" y="10934"/>
                  </a:lnTo>
                  <a:lnTo>
                    <a:pt x="14229" y="10943"/>
                  </a:lnTo>
                  <a:lnTo>
                    <a:pt x="14238" y="10943"/>
                  </a:lnTo>
                  <a:lnTo>
                    <a:pt x="14238" y="10934"/>
                  </a:lnTo>
                  <a:lnTo>
                    <a:pt x="14238" y="10925"/>
                  </a:lnTo>
                  <a:lnTo>
                    <a:pt x="14256" y="10916"/>
                  </a:lnTo>
                  <a:lnTo>
                    <a:pt x="14265" y="10916"/>
                  </a:lnTo>
                  <a:lnTo>
                    <a:pt x="14300" y="10916"/>
                  </a:lnTo>
                  <a:lnTo>
                    <a:pt x="14309" y="10916"/>
                  </a:lnTo>
                  <a:lnTo>
                    <a:pt x="14344" y="10899"/>
                  </a:lnTo>
                  <a:lnTo>
                    <a:pt x="14371" y="10881"/>
                  </a:lnTo>
                  <a:lnTo>
                    <a:pt x="14397" y="10863"/>
                  </a:lnTo>
                  <a:lnTo>
                    <a:pt x="14406" y="10855"/>
                  </a:lnTo>
                  <a:lnTo>
                    <a:pt x="14432" y="10837"/>
                  </a:lnTo>
                  <a:lnTo>
                    <a:pt x="14450" y="10819"/>
                  </a:lnTo>
                  <a:lnTo>
                    <a:pt x="14477" y="10793"/>
                  </a:lnTo>
                  <a:lnTo>
                    <a:pt x="14494" y="10775"/>
                  </a:lnTo>
                  <a:lnTo>
                    <a:pt x="14521" y="10749"/>
                  </a:lnTo>
                  <a:lnTo>
                    <a:pt x="14538" y="10731"/>
                  </a:lnTo>
                  <a:lnTo>
                    <a:pt x="14547" y="10722"/>
                  </a:lnTo>
                  <a:lnTo>
                    <a:pt x="14556" y="10722"/>
                  </a:lnTo>
                  <a:lnTo>
                    <a:pt x="14582" y="10687"/>
                  </a:lnTo>
                  <a:lnTo>
                    <a:pt x="14600" y="10669"/>
                  </a:lnTo>
                  <a:lnTo>
                    <a:pt x="14609" y="10643"/>
                  </a:lnTo>
                  <a:lnTo>
                    <a:pt x="14626" y="10616"/>
                  </a:lnTo>
                  <a:lnTo>
                    <a:pt x="14635" y="10607"/>
                  </a:lnTo>
                  <a:lnTo>
                    <a:pt x="14644" y="10581"/>
                  </a:lnTo>
                  <a:lnTo>
                    <a:pt x="14662" y="10563"/>
                  </a:lnTo>
                  <a:lnTo>
                    <a:pt x="14697" y="10528"/>
                  </a:lnTo>
                  <a:lnTo>
                    <a:pt x="14706" y="10519"/>
                  </a:lnTo>
                  <a:lnTo>
                    <a:pt x="14715" y="10519"/>
                  </a:lnTo>
                  <a:lnTo>
                    <a:pt x="14732" y="10502"/>
                  </a:lnTo>
                  <a:lnTo>
                    <a:pt x="14732" y="10493"/>
                  </a:lnTo>
                  <a:lnTo>
                    <a:pt x="14750" y="10466"/>
                  </a:lnTo>
                  <a:lnTo>
                    <a:pt x="14759" y="10422"/>
                  </a:lnTo>
                  <a:lnTo>
                    <a:pt x="14759" y="10404"/>
                  </a:lnTo>
                  <a:lnTo>
                    <a:pt x="14768" y="10378"/>
                  </a:lnTo>
                  <a:lnTo>
                    <a:pt x="14776" y="10360"/>
                  </a:lnTo>
                  <a:lnTo>
                    <a:pt x="14776" y="10316"/>
                  </a:lnTo>
                  <a:lnTo>
                    <a:pt x="14776" y="10299"/>
                  </a:lnTo>
                  <a:lnTo>
                    <a:pt x="14776" y="10307"/>
                  </a:lnTo>
                  <a:lnTo>
                    <a:pt x="14768" y="10316"/>
                  </a:lnTo>
                  <a:lnTo>
                    <a:pt x="14768" y="10307"/>
                  </a:lnTo>
                  <a:lnTo>
                    <a:pt x="14759" y="10307"/>
                  </a:lnTo>
                  <a:lnTo>
                    <a:pt x="14759" y="10299"/>
                  </a:lnTo>
                  <a:lnTo>
                    <a:pt x="14750" y="10299"/>
                  </a:lnTo>
                  <a:lnTo>
                    <a:pt x="14759" y="10290"/>
                  </a:lnTo>
                  <a:lnTo>
                    <a:pt x="14759" y="10281"/>
                  </a:lnTo>
                  <a:lnTo>
                    <a:pt x="14768" y="10263"/>
                  </a:lnTo>
                  <a:lnTo>
                    <a:pt x="14776" y="10254"/>
                  </a:lnTo>
                  <a:lnTo>
                    <a:pt x="14812" y="10237"/>
                  </a:lnTo>
                  <a:lnTo>
                    <a:pt x="14821" y="10228"/>
                  </a:lnTo>
                  <a:lnTo>
                    <a:pt x="14847" y="10219"/>
                  </a:lnTo>
                  <a:lnTo>
                    <a:pt x="14900" y="10201"/>
                  </a:lnTo>
                  <a:lnTo>
                    <a:pt x="14926" y="10193"/>
                  </a:lnTo>
                  <a:lnTo>
                    <a:pt x="14944" y="10184"/>
                  </a:lnTo>
                  <a:lnTo>
                    <a:pt x="14944" y="10175"/>
                  </a:lnTo>
                  <a:lnTo>
                    <a:pt x="14962" y="10148"/>
                  </a:lnTo>
                  <a:lnTo>
                    <a:pt x="14962" y="10140"/>
                  </a:lnTo>
                  <a:lnTo>
                    <a:pt x="14971" y="10122"/>
                  </a:lnTo>
                  <a:lnTo>
                    <a:pt x="14962" y="10122"/>
                  </a:lnTo>
                  <a:lnTo>
                    <a:pt x="14962" y="10131"/>
                  </a:lnTo>
                  <a:lnTo>
                    <a:pt x="14962" y="10122"/>
                  </a:lnTo>
                  <a:lnTo>
                    <a:pt x="14953" y="10122"/>
                  </a:lnTo>
                  <a:lnTo>
                    <a:pt x="14962" y="10113"/>
                  </a:lnTo>
                  <a:lnTo>
                    <a:pt x="14962" y="10078"/>
                  </a:lnTo>
                  <a:lnTo>
                    <a:pt x="14971" y="10060"/>
                  </a:lnTo>
                  <a:lnTo>
                    <a:pt x="14971" y="10043"/>
                  </a:lnTo>
                  <a:lnTo>
                    <a:pt x="14962" y="10034"/>
                  </a:lnTo>
                  <a:lnTo>
                    <a:pt x="14971" y="10016"/>
                  </a:lnTo>
                  <a:lnTo>
                    <a:pt x="14971" y="10007"/>
                  </a:lnTo>
                  <a:lnTo>
                    <a:pt x="14971" y="9998"/>
                  </a:lnTo>
                  <a:lnTo>
                    <a:pt x="14962" y="9998"/>
                  </a:lnTo>
                  <a:lnTo>
                    <a:pt x="14962" y="9990"/>
                  </a:lnTo>
                  <a:lnTo>
                    <a:pt x="14962" y="9998"/>
                  </a:lnTo>
                  <a:lnTo>
                    <a:pt x="14962" y="10007"/>
                  </a:lnTo>
                  <a:lnTo>
                    <a:pt x="14962" y="10016"/>
                  </a:lnTo>
                  <a:lnTo>
                    <a:pt x="14953" y="10016"/>
                  </a:lnTo>
                  <a:lnTo>
                    <a:pt x="14953" y="10007"/>
                  </a:lnTo>
                  <a:lnTo>
                    <a:pt x="14953" y="9990"/>
                  </a:lnTo>
                  <a:lnTo>
                    <a:pt x="14953" y="9963"/>
                  </a:lnTo>
                  <a:lnTo>
                    <a:pt x="14953" y="9954"/>
                  </a:lnTo>
                  <a:lnTo>
                    <a:pt x="14935" y="9937"/>
                  </a:lnTo>
                  <a:lnTo>
                    <a:pt x="14935" y="9919"/>
                  </a:lnTo>
                  <a:lnTo>
                    <a:pt x="14926" y="9893"/>
                  </a:lnTo>
                  <a:lnTo>
                    <a:pt x="14918" y="9884"/>
                  </a:lnTo>
                  <a:lnTo>
                    <a:pt x="14909" y="9875"/>
                  </a:lnTo>
                  <a:lnTo>
                    <a:pt x="14909" y="9866"/>
                  </a:lnTo>
                  <a:lnTo>
                    <a:pt x="14909" y="9840"/>
                  </a:lnTo>
                  <a:lnTo>
                    <a:pt x="14909" y="9831"/>
                  </a:lnTo>
                  <a:lnTo>
                    <a:pt x="14909" y="9822"/>
                  </a:lnTo>
                  <a:lnTo>
                    <a:pt x="14909" y="9813"/>
                  </a:lnTo>
                  <a:lnTo>
                    <a:pt x="14900" y="9813"/>
                  </a:lnTo>
                  <a:lnTo>
                    <a:pt x="14909" y="9813"/>
                  </a:lnTo>
                  <a:lnTo>
                    <a:pt x="14918" y="9822"/>
                  </a:lnTo>
                  <a:lnTo>
                    <a:pt x="14926" y="9822"/>
                  </a:lnTo>
                  <a:lnTo>
                    <a:pt x="14953" y="9795"/>
                  </a:lnTo>
                  <a:lnTo>
                    <a:pt x="14979" y="9769"/>
                  </a:lnTo>
                  <a:lnTo>
                    <a:pt x="14988" y="9751"/>
                  </a:lnTo>
                  <a:lnTo>
                    <a:pt x="15006" y="9751"/>
                  </a:lnTo>
                  <a:lnTo>
                    <a:pt x="15015" y="9743"/>
                  </a:lnTo>
                  <a:lnTo>
                    <a:pt x="15023" y="9743"/>
                  </a:lnTo>
                  <a:lnTo>
                    <a:pt x="15023" y="9734"/>
                  </a:lnTo>
                  <a:lnTo>
                    <a:pt x="15023" y="9743"/>
                  </a:lnTo>
                  <a:lnTo>
                    <a:pt x="15032" y="9743"/>
                  </a:lnTo>
                  <a:lnTo>
                    <a:pt x="15032" y="9734"/>
                  </a:lnTo>
                  <a:lnTo>
                    <a:pt x="15041" y="9725"/>
                  </a:lnTo>
                  <a:lnTo>
                    <a:pt x="15041" y="9716"/>
                  </a:lnTo>
                  <a:lnTo>
                    <a:pt x="15059" y="9707"/>
                  </a:lnTo>
                  <a:lnTo>
                    <a:pt x="15068" y="9690"/>
                  </a:lnTo>
                  <a:lnTo>
                    <a:pt x="15076" y="9681"/>
                  </a:lnTo>
                  <a:lnTo>
                    <a:pt x="15076" y="9672"/>
                  </a:lnTo>
                  <a:lnTo>
                    <a:pt x="15094" y="9663"/>
                  </a:lnTo>
                  <a:lnTo>
                    <a:pt x="15112" y="9645"/>
                  </a:lnTo>
                  <a:lnTo>
                    <a:pt x="15138" y="9637"/>
                  </a:lnTo>
                  <a:lnTo>
                    <a:pt x="15156" y="9628"/>
                  </a:lnTo>
                  <a:lnTo>
                    <a:pt x="15165" y="9628"/>
                  </a:lnTo>
                  <a:lnTo>
                    <a:pt x="15182" y="9619"/>
                  </a:lnTo>
                  <a:lnTo>
                    <a:pt x="15200" y="9610"/>
                  </a:lnTo>
                  <a:lnTo>
                    <a:pt x="15209" y="9610"/>
                  </a:lnTo>
                  <a:lnTo>
                    <a:pt x="15218" y="9610"/>
                  </a:lnTo>
                  <a:lnTo>
                    <a:pt x="15218" y="9601"/>
                  </a:lnTo>
                  <a:lnTo>
                    <a:pt x="15226" y="9601"/>
                  </a:lnTo>
                  <a:lnTo>
                    <a:pt x="15235" y="9592"/>
                  </a:lnTo>
                  <a:lnTo>
                    <a:pt x="15244" y="9592"/>
                  </a:lnTo>
                  <a:lnTo>
                    <a:pt x="15271" y="9575"/>
                  </a:lnTo>
                  <a:lnTo>
                    <a:pt x="15279" y="9566"/>
                  </a:lnTo>
                  <a:lnTo>
                    <a:pt x="15288" y="9566"/>
                  </a:lnTo>
                  <a:lnTo>
                    <a:pt x="15279" y="9548"/>
                  </a:lnTo>
                  <a:lnTo>
                    <a:pt x="15288" y="9548"/>
                  </a:lnTo>
                  <a:lnTo>
                    <a:pt x="15297" y="9548"/>
                  </a:lnTo>
                  <a:lnTo>
                    <a:pt x="15306" y="9531"/>
                  </a:lnTo>
                  <a:lnTo>
                    <a:pt x="15315" y="9522"/>
                  </a:lnTo>
                  <a:lnTo>
                    <a:pt x="15323" y="9513"/>
                  </a:lnTo>
                  <a:lnTo>
                    <a:pt x="15341" y="9487"/>
                  </a:lnTo>
                  <a:lnTo>
                    <a:pt x="15341" y="9478"/>
                  </a:lnTo>
                  <a:lnTo>
                    <a:pt x="15341" y="9469"/>
                  </a:lnTo>
                  <a:lnTo>
                    <a:pt x="15341" y="9460"/>
                  </a:lnTo>
                  <a:lnTo>
                    <a:pt x="15350" y="9460"/>
                  </a:lnTo>
                  <a:lnTo>
                    <a:pt x="15350" y="9451"/>
                  </a:lnTo>
                  <a:lnTo>
                    <a:pt x="15350" y="9442"/>
                  </a:lnTo>
                  <a:lnTo>
                    <a:pt x="15359" y="9442"/>
                  </a:lnTo>
                  <a:lnTo>
                    <a:pt x="15359" y="9434"/>
                  </a:lnTo>
                  <a:lnTo>
                    <a:pt x="15359" y="9425"/>
                  </a:lnTo>
                  <a:lnTo>
                    <a:pt x="15359" y="9416"/>
                  </a:lnTo>
                  <a:lnTo>
                    <a:pt x="15350" y="9416"/>
                  </a:lnTo>
                  <a:lnTo>
                    <a:pt x="15341" y="9425"/>
                  </a:lnTo>
                  <a:lnTo>
                    <a:pt x="15341" y="9416"/>
                  </a:lnTo>
                  <a:lnTo>
                    <a:pt x="15341" y="9407"/>
                  </a:lnTo>
                  <a:lnTo>
                    <a:pt x="15350" y="9398"/>
                  </a:lnTo>
                  <a:lnTo>
                    <a:pt x="15341" y="9398"/>
                  </a:lnTo>
                  <a:lnTo>
                    <a:pt x="15341" y="9389"/>
                  </a:lnTo>
                  <a:lnTo>
                    <a:pt x="15341" y="9372"/>
                  </a:lnTo>
                  <a:lnTo>
                    <a:pt x="15341" y="9354"/>
                  </a:lnTo>
                  <a:lnTo>
                    <a:pt x="15341" y="9345"/>
                  </a:lnTo>
                  <a:lnTo>
                    <a:pt x="15341" y="9337"/>
                  </a:lnTo>
                  <a:lnTo>
                    <a:pt x="15341" y="9328"/>
                  </a:lnTo>
                  <a:lnTo>
                    <a:pt x="15341" y="9319"/>
                  </a:lnTo>
                  <a:lnTo>
                    <a:pt x="15341" y="9310"/>
                  </a:lnTo>
                  <a:lnTo>
                    <a:pt x="15341" y="9301"/>
                  </a:lnTo>
                  <a:lnTo>
                    <a:pt x="15332" y="9301"/>
                  </a:lnTo>
                  <a:lnTo>
                    <a:pt x="15341" y="9292"/>
                  </a:lnTo>
                  <a:lnTo>
                    <a:pt x="15341" y="9275"/>
                  </a:lnTo>
                  <a:lnTo>
                    <a:pt x="15332" y="9266"/>
                  </a:lnTo>
                  <a:lnTo>
                    <a:pt x="15332" y="9257"/>
                  </a:lnTo>
                  <a:lnTo>
                    <a:pt x="15332" y="9239"/>
                  </a:lnTo>
                  <a:lnTo>
                    <a:pt x="15332" y="9231"/>
                  </a:lnTo>
                  <a:lnTo>
                    <a:pt x="15332" y="9222"/>
                  </a:lnTo>
                  <a:lnTo>
                    <a:pt x="15332" y="9204"/>
                  </a:lnTo>
                  <a:lnTo>
                    <a:pt x="15332" y="9195"/>
                  </a:lnTo>
                  <a:lnTo>
                    <a:pt x="15323" y="9187"/>
                  </a:lnTo>
                  <a:lnTo>
                    <a:pt x="15332" y="9178"/>
                  </a:lnTo>
                  <a:lnTo>
                    <a:pt x="15332" y="9169"/>
                  </a:lnTo>
                  <a:lnTo>
                    <a:pt x="15341" y="9160"/>
                  </a:lnTo>
                  <a:lnTo>
                    <a:pt x="15332" y="9160"/>
                  </a:lnTo>
                  <a:lnTo>
                    <a:pt x="15332" y="9151"/>
                  </a:lnTo>
                  <a:lnTo>
                    <a:pt x="15341" y="9142"/>
                  </a:lnTo>
                  <a:lnTo>
                    <a:pt x="15332" y="9142"/>
                  </a:lnTo>
                  <a:lnTo>
                    <a:pt x="15341" y="9134"/>
                  </a:lnTo>
                  <a:lnTo>
                    <a:pt x="15332" y="9125"/>
                  </a:lnTo>
                  <a:lnTo>
                    <a:pt x="15332" y="9116"/>
                  </a:lnTo>
                  <a:lnTo>
                    <a:pt x="15323" y="9107"/>
                  </a:lnTo>
                  <a:lnTo>
                    <a:pt x="15315" y="9098"/>
                  </a:lnTo>
                  <a:lnTo>
                    <a:pt x="15306" y="9098"/>
                  </a:lnTo>
                  <a:lnTo>
                    <a:pt x="15297" y="9098"/>
                  </a:lnTo>
                  <a:lnTo>
                    <a:pt x="15297" y="9089"/>
                  </a:lnTo>
                  <a:lnTo>
                    <a:pt x="15288" y="9089"/>
                  </a:lnTo>
                  <a:lnTo>
                    <a:pt x="15279" y="9081"/>
                  </a:lnTo>
                  <a:lnTo>
                    <a:pt x="15279" y="9072"/>
                  </a:lnTo>
                  <a:lnTo>
                    <a:pt x="15279" y="9063"/>
                  </a:lnTo>
                  <a:lnTo>
                    <a:pt x="15271" y="9054"/>
                  </a:lnTo>
                  <a:lnTo>
                    <a:pt x="15271" y="9036"/>
                  </a:lnTo>
                  <a:lnTo>
                    <a:pt x="15271" y="9028"/>
                  </a:lnTo>
                  <a:lnTo>
                    <a:pt x="15253" y="9010"/>
                  </a:lnTo>
                  <a:lnTo>
                    <a:pt x="15262" y="9001"/>
                  </a:lnTo>
                  <a:lnTo>
                    <a:pt x="15253" y="8992"/>
                  </a:lnTo>
                  <a:lnTo>
                    <a:pt x="15244" y="8966"/>
                  </a:lnTo>
                  <a:lnTo>
                    <a:pt x="15253" y="8957"/>
                  </a:lnTo>
                  <a:lnTo>
                    <a:pt x="15253" y="8939"/>
                  </a:lnTo>
                  <a:lnTo>
                    <a:pt x="15253" y="8922"/>
                  </a:lnTo>
                  <a:lnTo>
                    <a:pt x="15244" y="8922"/>
                  </a:lnTo>
                  <a:lnTo>
                    <a:pt x="15244" y="8904"/>
                  </a:lnTo>
                  <a:lnTo>
                    <a:pt x="15253" y="8886"/>
                  </a:lnTo>
                  <a:lnTo>
                    <a:pt x="15253" y="8878"/>
                  </a:lnTo>
                  <a:lnTo>
                    <a:pt x="15262" y="8869"/>
                  </a:lnTo>
                  <a:lnTo>
                    <a:pt x="15262" y="8851"/>
                  </a:lnTo>
                  <a:lnTo>
                    <a:pt x="15244" y="8851"/>
                  </a:lnTo>
                  <a:lnTo>
                    <a:pt x="15244" y="8842"/>
                  </a:lnTo>
                  <a:lnTo>
                    <a:pt x="15235" y="8833"/>
                  </a:lnTo>
                  <a:lnTo>
                    <a:pt x="15226" y="8825"/>
                  </a:lnTo>
                  <a:lnTo>
                    <a:pt x="15218" y="8816"/>
                  </a:lnTo>
                  <a:lnTo>
                    <a:pt x="15209" y="8807"/>
                  </a:lnTo>
                  <a:lnTo>
                    <a:pt x="15209" y="8798"/>
                  </a:lnTo>
                  <a:lnTo>
                    <a:pt x="15209" y="8781"/>
                  </a:lnTo>
                  <a:lnTo>
                    <a:pt x="15218" y="8763"/>
                  </a:lnTo>
                  <a:lnTo>
                    <a:pt x="15226" y="8754"/>
                  </a:lnTo>
                  <a:lnTo>
                    <a:pt x="15226" y="8736"/>
                  </a:lnTo>
                  <a:lnTo>
                    <a:pt x="15226" y="8728"/>
                  </a:lnTo>
                  <a:lnTo>
                    <a:pt x="15235" y="8719"/>
                  </a:lnTo>
                  <a:lnTo>
                    <a:pt x="15235" y="8701"/>
                  </a:lnTo>
                  <a:lnTo>
                    <a:pt x="15244" y="8692"/>
                  </a:lnTo>
                  <a:lnTo>
                    <a:pt x="15253" y="8692"/>
                  </a:lnTo>
                  <a:lnTo>
                    <a:pt x="15262" y="8675"/>
                  </a:lnTo>
                  <a:lnTo>
                    <a:pt x="15271" y="8657"/>
                  </a:lnTo>
                  <a:lnTo>
                    <a:pt x="15271" y="8648"/>
                  </a:lnTo>
                  <a:lnTo>
                    <a:pt x="15279" y="8639"/>
                  </a:lnTo>
                  <a:lnTo>
                    <a:pt x="15288" y="8630"/>
                  </a:lnTo>
                  <a:lnTo>
                    <a:pt x="15288" y="8613"/>
                  </a:lnTo>
                  <a:lnTo>
                    <a:pt x="15288" y="8604"/>
                  </a:lnTo>
                  <a:lnTo>
                    <a:pt x="15297" y="8595"/>
                  </a:lnTo>
                  <a:lnTo>
                    <a:pt x="15306" y="8586"/>
                  </a:lnTo>
                  <a:lnTo>
                    <a:pt x="15315" y="8569"/>
                  </a:lnTo>
                  <a:lnTo>
                    <a:pt x="15315" y="8560"/>
                  </a:lnTo>
                  <a:lnTo>
                    <a:pt x="15315" y="8551"/>
                  </a:lnTo>
                  <a:lnTo>
                    <a:pt x="15315" y="8542"/>
                  </a:lnTo>
                  <a:lnTo>
                    <a:pt x="15323" y="8542"/>
                  </a:lnTo>
                  <a:lnTo>
                    <a:pt x="15341" y="8533"/>
                  </a:lnTo>
                  <a:lnTo>
                    <a:pt x="15359" y="8525"/>
                  </a:lnTo>
                  <a:lnTo>
                    <a:pt x="15368" y="8516"/>
                  </a:lnTo>
                  <a:lnTo>
                    <a:pt x="15368" y="8507"/>
                  </a:lnTo>
                  <a:lnTo>
                    <a:pt x="15359" y="8498"/>
                  </a:lnTo>
                  <a:lnTo>
                    <a:pt x="15368" y="8498"/>
                  </a:lnTo>
                  <a:lnTo>
                    <a:pt x="15368" y="8489"/>
                  </a:lnTo>
                  <a:lnTo>
                    <a:pt x="15376" y="8498"/>
                  </a:lnTo>
                  <a:lnTo>
                    <a:pt x="15394" y="8489"/>
                  </a:lnTo>
                  <a:lnTo>
                    <a:pt x="15403" y="8489"/>
                  </a:lnTo>
                  <a:lnTo>
                    <a:pt x="15412" y="8472"/>
                  </a:lnTo>
                  <a:lnTo>
                    <a:pt x="15421" y="8463"/>
                  </a:lnTo>
                  <a:lnTo>
                    <a:pt x="15421" y="8454"/>
                  </a:lnTo>
                  <a:lnTo>
                    <a:pt x="15429" y="8436"/>
                  </a:lnTo>
                  <a:lnTo>
                    <a:pt x="15438" y="8436"/>
                  </a:lnTo>
                  <a:lnTo>
                    <a:pt x="15438" y="8427"/>
                  </a:lnTo>
                  <a:lnTo>
                    <a:pt x="15447" y="8419"/>
                  </a:lnTo>
                  <a:lnTo>
                    <a:pt x="15456" y="8410"/>
                  </a:lnTo>
                  <a:lnTo>
                    <a:pt x="15465" y="8401"/>
                  </a:lnTo>
                  <a:lnTo>
                    <a:pt x="15473" y="8392"/>
                  </a:lnTo>
                  <a:lnTo>
                    <a:pt x="15482" y="8383"/>
                  </a:lnTo>
                  <a:lnTo>
                    <a:pt x="15482" y="8375"/>
                  </a:lnTo>
                  <a:lnTo>
                    <a:pt x="15491" y="8366"/>
                  </a:lnTo>
                  <a:lnTo>
                    <a:pt x="15500" y="8366"/>
                  </a:lnTo>
                  <a:lnTo>
                    <a:pt x="15553" y="8304"/>
                  </a:lnTo>
                  <a:lnTo>
                    <a:pt x="15570" y="8286"/>
                  </a:lnTo>
                  <a:lnTo>
                    <a:pt x="15597" y="8269"/>
                  </a:lnTo>
                  <a:lnTo>
                    <a:pt x="15615" y="8251"/>
                  </a:lnTo>
                  <a:lnTo>
                    <a:pt x="15659" y="8216"/>
                  </a:lnTo>
                  <a:lnTo>
                    <a:pt x="15729" y="8180"/>
                  </a:lnTo>
                  <a:lnTo>
                    <a:pt x="15738" y="8172"/>
                  </a:lnTo>
                  <a:lnTo>
                    <a:pt x="15800" y="8110"/>
                  </a:lnTo>
                  <a:lnTo>
                    <a:pt x="15853" y="8057"/>
                  </a:lnTo>
                  <a:lnTo>
                    <a:pt x="15879" y="8022"/>
                  </a:lnTo>
                  <a:lnTo>
                    <a:pt x="15906" y="7986"/>
                  </a:lnTo>
                  <a:lnTo>
                    <a:pt x="15932" y="7951"/>
                  </a:lnTo>
                  <a:lnTo>
                    <a:pt x="15959" y="7898"/>
                  </a:lnTo>
                  <a:lnTo>
                    <a:pt x="15967" y="7880"/>
                  </a:lnTo>
                  <a:lnTo>
                    <a:pt x="15976" y="7854"/>
                  </a:lnTo>
                  <a:lnTo>
                    <a:pt x="15985" y="7836"/>
                  </a:lnTo>
                  <a:lnTo>
                    <a:pt x="16003" y="7819"/>
                  </a:lnTo>
                  <a:lnTo>
                    <a:pt x="16012" y="7801"/>
                  </a:lnTo>
                  <a:lnTo>
                    <a:pt x="16012" y="7792"/>
                  </a:lnTo>
                  <a:lnTo>
                    <a:pt x="16020" y="7766"/>
                  </a:lnTo>
                  <a:lnTo>
                    <a:pt x="16038" y="7748"/>
                  </a:lnTo>
                  <a:lnTo>
                    <a:pt x="16056" y="7730"/>
                  </a:lnTo>
                  <a:lnTo>
                    <a:pt x="16056" y="7721"/>
                  </a:lnTo>
                  <a:lnTo>
                    <a:pt x="16065" y="7704"/>
                  </a:lnTo>
                  <a:lnTo>
                    <a:pt x="16082" y="7686"/>
                  </a:lnTo>
                  <a:lnTo>
                    <a:pt x="16082" y="7677"/>
                  </a:lnTo>
                  <a:lnTo>
                    <a:pt x="16091" y="7660"/>
                  </a:lnTo>
                  <a:lnTo>
                    <a:pt x="16091" y="7642"/>
                  </a:lnTo>
                  <a:lnTo>
                    <a:pt x="16100" y="7624"/>
                  </a:lnTo>
                  <a:lnTo>
                    <a:pt x="16100" y="7598"/>
                  </a:lnTo>
                  <a:lnTo>
                    <a:pt x="16109" y="7589"/>
                  </a:lnTo>
                  <a:lnTo>
                    <a:pt x="16117" y="7589"/>
                  </a:lnTo>
                  <a:lnTo>
                    <a:pt x="16126" y="7589"/>
                  </a:lnTo>
                  <a:lnTo>
                    <a:pt x="16135" y="7589"/>
                  </a:lnTo>
                  <a:lnTo>
                    <a:pt x="16135" y="7580"/>
                  </a:lnTo>
                  <a:lnTo>
                    <a:pt x="16126" y="7580"/>
                  </a:lnTo>
                  <a:lnTo>
                    <a:pt x="16117" y="7580"/>
                  </a:lnTo>
                  <a:lnTo>
                    <a:pt x="16109" y="7589"/>
                  </a:lnTo>
                  <a:lnTo>
                    <a:pt x="16109" y="7580"/>
                  </a:lnTo>
                  <a:lnTo>
                    <a:pt x="16117" y="7580"/>
                  </a:lnTo>
                  <a:lnTo>
                    <a:pt x="16117" y="7571"/>
                  </a:lnTo>
                  <a:lnTo>
                    <a:pt x="16117" y="7536"/>
                  </a:lnTo>
                  <a:lnTo>
                    <a:pt x="16109" y="7518"/>
                  </a:lnTo>
                  <a:lnTo>
                    <a:pt x="16117" y="7510"/>
                  </a:lnTo>
                  <a:lnTo>
                    <a:pt x="16117" y="7492"/>
                  </a:lnTo>
                  <a:lnTo>
                    <a:pt x="16126" y="7492"/>
                  </a:lnTo>
                  <a:lnTo>
                    <a:pt x="16126" y="7483"/>
                  </a:lnTo>
                  <a:lnTo>
                    <a:pt x="16117" y="7483"/>
                  </a:lnTo>
                  <a:lnTo>
                    <a:pt x="16091" y="7474"/>
                  </a:lnTo>
                  <a:lnTo>
                    <a:pt x="16082" y="7474"/>
                  </a:lnTo>
                  <a:lnTo>
                    <a:pt x="16073" y="7483"/>
                  </a:lnTo>
                  <a:lnTo>
                    <a:pt x="16065" y="7492"/>
                  </a:lnTo>
                  <a:lnTo>
                    <a:pt x="16038" y="7510"/>
                  </a:lnTo>
                  <a:lnTo>
                    <a:pt x="16003" y="7510"/>
                  </a:lnTo>
                  <a:lnTo>
                    <a:pt x="15985" y="7518"/>
                  </a:lnTo>
                  <a:lnTo>
                    <a:pt x="15967" y="7527"/>
                  </a:lnTo>
                  <a:lnTo>
                    <a:pt x="15950" y="7527"/>
                  </a:lnTo>
                  <a:lnTo>
                    <a:pt x="15932" y="7518"/>
                  </a:lnTo>
                  <a:lnTo>
                    <a:pt x="15923" y="7518"/>
                  </a:lnTo>
                  <a:lnTo>
                    <a:pt x="15915" y="7527"/>
                  </a:lnTo>
                  <a:lnTo>
                    <a:pt x="15888" y="7536"/>
                  </a:lnTo>
                  <a:lnTo>
                    <a:pt x="15862" y="7536"/>
                  </a:lnTo>
                  <a:lnTo>
                    <a:pt x="15844" y="7527"/>
                  </a:lnTo>
                  <a:lnTo>
                    <a:pt x="15826" y="7536"/>
                  </a:lnTo>
                  <a:lnTo>
                    <a:pt x="15809" y="7554"/>
                  </a:lnTo>
                  <a:lnTo>
                    <a:pt x="15782" y="7563"/>
                  </a:lnTo>
                  <a:lnTo>
                    <a:pt x="15773" y="7563"/>
                  </a:lnTo>
                  <a:lnTo>
                    <a:pt x="15756" y="7563"/>
                  </a:lnTo>
                  <a:lnTo>
                    <a:pt x="15738" y="7563"/>
                  </a:lnTo>
                  <a:lnTo>
                    <a:pt x="15720" y="7554"/>
                  </a:lnTo>
                  <a:lnTo>
                    <a:pt x="15712" y="7563"/>
                  </a:lnTo>
                  <a:lnTo>
                    <a:pt x="15685" y="7571"/>
                  </a:lnTo>
                  <a:lnTo>
                    <a:pt x="15659" y="7589"/>
                  </a:lnTo>
                  <a:lnTo>
                    <a:pt x="15623" y="7589"/>
                  </a:lnTo>
                  <a:lnTo>
                    <a:pt x="15615" y="7580"/>
                  </a:lnTo>
                  <a:lnTo>
                    <a:pt x="15606" y="7580"/>
                  </a:lnTo>
                  <a:lnTo>
                    <a:pt x="15579" y="7563"/>
                  </a:lnTo>
                  <a:lnTo>
                    <a:pt x="15562" y="7545"/>
                  </a:lnTo>
                  <a:lnTo>
                    <a:pt x="15553" y="7518"/>
                  </a:lnTo>
                  <a:lnTo>
                    <a:pt x="15535" y="7510"/>
                  </a:lnTo>
                  <a:lnTo>
                    <a:pt x="15526" y="7501"/>
                  </a:lnTo>
                  <a:lnTo>
                    <a:pt x="15518" y="7501"/>
                  </a:lnTo>
                  <a:lnTo>
                    <a:pt x="15509" y="7501"/>
                  </a:lnTo>
                  <a:lnTo>
                    <a:pt x="15500" y="7501"/>
                  </a:lnTo>
                  <a:lnTo>
                    <a:pt x="15491" y="7510"/>
                  </a:lnTo>
                  <a:lnTo>
                    <a:pt x="15482" y="7510"/>
                  </a:lnTo>
                  <a:lnTo>
                    <a:pt x="15482" y="7501"/>
                  </a:lnTo>
                  <a:lnTo>
                    <a:pt x="15491" y="7501"/>
                  </a:lnTo>
                  <a:lnTo>
                    <a:pt x="15500" y="7492"/>
                  </a:lnTo>
                  <a:lnTo>
                    <a:pt x="15518" y="7483"/>
                  </a:lnTo>
                  <a:lnTo>
                    <a:pt x="15535" y="7474"/>
                  </a:lnTo>
                  <a:lnTo>
                    <a:pt x="15544" y="7466"/>
                  </a:lnTo>
                  <a:lnTo>
                    <a:pt x="15544" y="7457"/>
                  </a:lnTo>
                  <a:lnTo>
                    <a:pt x="15544" y="7439"/>
                  </a:lnTo>
                  <a:lnTo>
                    <a:pt x="15526" y="7421"/>
                  </a:lnTo>
                  <a:lnTo>
                    <a:pt x="15526" y="7413"/>
                  </a:lnTo>
                  <a:lnTo>
                    <a:pt x="15518" y="7404"/>
                  </a:lnTo>
                  <a:lnTo>
                    <a:pt x="15518" y="7413"/>
                  </a:lnTo>
                  <a:lnTo>
                    <a:pt x="15500" y="7404"/>
                  </a:lnTo>
                  <a:lnTo>
                    <a:pt x="15500" y="7395"/>
                  </a:lnTo>
                  <a:lnTo>
                    <a:pt x="15482" y="7377"/>
                  </a:lnTo>
                  <a:lnTo>
                    <a:pt x="15473" y="7377"/>
                  </a:lnTo>
                  <a:lnTo>
                    <a:pt x="15473" y="7368"/>
                  </a:lnTo>
                  <a:lnTo>
                    <a:pt x="15465" y="7351"/>
                  </a:lnTo>
                  <a:lnTo>
                    <a:pt x="15421" y="7324"/>
                  </a:lnTo>
                  <a:lnTo>
                    <a:pt x="15403" y="7307"/>
                  </a:lnTo>
                  <a:lnTo>
                    <a:pt x="15385" y="7271"/>
                  </a:lnTo>
                  <a:lnTo>
                    <a:pt x="15359" y="7263"/>
                  </a:lnTo>
                  <a:lnTo>
                    <a:pt x="15341" y="7254"/>
                  </a:lnTo>
                  <a:lnTo>
                    <a:pt x="15332" y="7254"/>
                  </a:lnTo>
                  <a:lnTo>
                    <a:pt x="15323" y="7245"/>
                  </a:lnTo>
                  <a:lnTo>
                    <a:pt x="15315" y="7245"/>
                  </a:lnTo>
                  <a:lnTo>
                    <a:pt x="15306" y="7236"/>
                  </a:lnTo>
                  <a:lnTo>
                    <a:pt x="15306" y="7227"/>
                  </a:lnTo>
                  <a:lnTo>
                    <a:pt x="15297" y="7218"/>
                  </a:lnTo>
                  <a:lnTo>
                    <a:pt x="15288" y="7210"/>
                  </a:lnTo>
                  <a:lnTo>
                    <a:pt x="15279" y="7218"/>
                  </a:lnTo>
                  <a:lnTo>
                    <a:pt x="15279" y="7227"/>
                  </a:lnTo>
                  <a:lnTo>
                    <a:pt x="15288" y="7236"/>
                  </a:lnTo>
                  <a:lnTo>
                    <a:pt x="15279" y="7236"/>
                  </a:lnTo>
                  <a:lnTo>
                    <a:pt x="15279" y="7227"/>
                  </a:lnTo>
                  <a:lnTo>
                    <a:pt x="15271" y="7210"/>
                  </a:lnTo>
                  <a:lnTo>
                    <a:pt x="15262" y="7210"/>
                  </a:lnTo>
                  <a:lnTo>
                    <a:pt x="15253" y="7192"/>
                  </a:lnTo>
                  <a:lnTo>
                    <a:pt x="15244" y="7174"/>
                  </a:lnTo>
                  <a:lnTo>
                    <a:pt x="15244" y="7157"/>
                  </a:lnTo>
                  <a:lnTo>
                    <a:pt x="15235" y="7121"/>
                  </a:lnTo>
                  <a:lnTo>
                    <a:pt x="15226" y="7095"/>
                  </a:lnTo>
                  <a:lnTo>
                    <a:pt x="15218" y="7068"/>
                  </a:lnTo>
                  <a:lnTo>
                    <a:pt x="15191" y="7024"/>
                  </a:lnTo>
                  <a:lnTo>
                    <a:pt x="15191" y="7015"/>
                  </a:lnTo>
                  <a:lnTo>
                    <a:pt x="15173" y="7007"/>
                  </a:lnTo>
                  <a:lnTo>
                    <a:pt x="15173" y="6998"/>
                  </a:lnTo>
                  <a:lnTo>
                    <a:pt x="15165" y="6998"/>
                  </a:lnTo>
                  <a:lnTo>
                    <a:pt x="15165" y="7007"/>
                  </a:lnTo>
                  <a:lnTo>
                    <a:pt x="15156" y="6998"/>
                  </a:lnTo>
                  <a:lnTo>
                    <a:pt x="15156" y="6989"/>
                  </a:lnTo>
                  <a:lnTo>
                    <a:pt x="15147" y="6980"/>
                  </a:lnTo>
                  <a:lnTo>
                    <a:pt x="15129" y="6971"/>
                  </a:lnTo>
                  <a:lnTo>
                    <a:pt x="15121" y="6971"/>
                  </a:lnTo>
                  <a:lnTo>
                    <a:pt x="15112" y="6962"/>
                  </a:lnTo>
                  <a:lnTo>
                    <a:pt x="15103" y="6936"/>
                  </a:lnTo>
                  <a:lnTo>
                    <a:pt x="15094" y="6901"/>
                  </a:lnTo>
                  <a:lnTo>
                    <a:pt x="15094" y="6883"/>
                  </a:lnTo>
                  <a:lnTo>
                    <a:pt x="15094" y="6865"/>
                  </a:lnTo>
                  <a:lnTo>
                    <a:pt x="15094" y="6839"/>
                  </a:lnTo>
                  <a:lnTo>
                    <a:pt x="15094" y="6830"/>
                  </a:lnTo>
                  <a:lnTo>
                    <a:pt x="15085" y="6812"/>
                  </a:lnTo>
                  <a:lnTo>
                    <a:pt x="15085" y="6804"/>
                  </a:lnTo>
                  <a:lnTo>
                    <a:pt x="15085" y="6795"/>
                  </a:lnTo>
                  <a:lnTo>
                    <a:pt x="15085" y="6786"/>
                  </a:lnTo>
                  <a:lnTo>
                    <a:pt x="15094" y="6786"/>
                  </a:lnTo>
                  <a:lnTo>
                    <a:pt x="15094" y="6795"/>
                  </a:lnTo>
                  <a:lnTo>
                    <a:pt x="15094" y="6786"/>
                  </a:lnTo>
                  <a:lnTo>
                    <a:pt x="15094" y="6777"/>
                  </a:lnTo>
                  <a:lnTo>
                    <a:pt x="15085" y="6768"/>
                  </a:lnTo>
                  <a:lnTo>
                    <a:pt x="15068" y="6751"/>
                  </a:lnTo>
                  <a:lnTo>
                    <a:pt x="15068" y="6733"/>
                  </a:lnTo>
                  <a:lnTo>
                    <a:pt x="15068" y="6715"/>
                  </a:lnTo>
                  <a:lnTo>
                    <a:pt x="15068" y="6706"/>
                  </a:lnTo>
                  <a:lnTo>
                    <a:pt x="15032" y="6689"/>
                  </a:lnTo>
                  <a:lnTo>
                    <a:pt x="15023" y="6671"/>
                  </a:lnTo>
                  <a:lnTo>
                    <a:pt x="14997" y="6662"/>
                  </a:lnTo>
                  <a:lnTo>
                    <a:pt x="14988" y="6654"/>
                  </a:lnTo>
                  <a:lnTo>
                    <a:pt x="14979" y="6645"/>
                  </a:lnTo>
                  <a:lnTo>
                    <a:pt x="14971" y="6618"/>
                  </a:lnTo>
                  <a:lnTo>
                    <a:pt x="14971" y="6609"/>
                  </a:lnTo>
                  <a:lnTo>
                    <a:pt x="14971" y="6584"/>
                  </a:lnTo>
                  <a:lnTo>
                    <a:pt x="14971" y="6575"/>
                  </a:lnTo>
                  <a:lnTo>
                    <a:pt x="14971" y="6566"/>
                  </a:lnTo>
                  <a:lnTo>
                    <a:pt x="14979" y="6566"/>
                  </a:lnTo>
                  <a:lnTo>
                    <a:pt x="14988" y="6566"/>
                  </a:lnTo>
                  <a:lnTo>
                    <a:pt x="14979" y="6557"/>
                  </a:lnTo>
                  <a:lnTo>
                    <a:pt x="14962" y="6549"/>
                  </a:lnTo>
                  <a:lnTo>
                    <a:pt x="14962" y="6540"/>
                  </a:lnTo>
                  <a:lnTo>
                    <a:pt x="14944" y="6531"/>
                  </a:lnTo>
                  <a:lnTo>
                    <a:pt x="14918" y="6478"/>
                  </a:lnTo>
                  <a:lnTo>
                    <a:pt x="14909" y="6452"/>
                  </a:lnTo>
                  <a:lnTo>
                    <a:pt x="14900" y="6434"/>
                  </a:lnTo>
                  <a:lnTo>
                    <a:pt x="14882" y="6407"/>
                  </a:lnTo>
                  <a:lnTo>
                    <a:pt x="14856" y="6363"/>
                  </a:lnTo>
                  <a:lnTo>
                    <a:pt x="14856" y="6354"/>
                  </a:lnTo>
                  <a:lnTo>
                    <a:pt x="14847" y="6328"/>
                  </a:lnTo>
                  <a:lnTo>
                    <a:pt x="14847" y="6319"/>
                  </a:lnTo>
                  <a:lnTo>
                    <a:pt x="14838" y="6310"/>
                  </a:lnTo>
                  <a:lnTo>
                    <a:pt x="14838" y="6302"/>
                  </a:lnTo>
                  <a:lnTo>
                    <a:pt x="14829" y="6293"/>
                  </a:lnTo>
                  <a:lnTo>
                    <a:pt x="14821" y="6284"/>
                  </a:lnTo>
                  <a:lnTo>
                    <a:pt x="14821" y="6275"/>
                  </a:lnTo>
                  <a:lnTo>
                    <a:pt x="14821" y="6257"/>
                  </a:lnTo>
                  <a:lnTo>
                    <a:pt x="14812" y="6249"/>
                  </a:lnTo>
                  <a:lnTo>
                    <a:pt x="14794" y="6231"/>
                  </a:lnTo>
                  <a:lnTo>
                    <a:pt x="14785" y="6213"/>
                  </a:lnTo>
                  <a:lnTo>
                    <a:pt x="14776" y="6204"/>
                  </a:lnTo>
                  <a:lnTo>
                    <a:pt x="14768" y="6196"/>
                  </a:lnTo>
                  <a:lnTo>
                    <a:pt x="14768" y="6187"/>
                  </a:lnTo>
                  <a:lnTo>
                    <a:pt x="14759" y="6178"/>
                  </a:lnTo>
                  <a:lnTo>
                    <a:pt x="14759" y="6169"/>
                  </a:lnTo>
                  <a:lnTo>
                    <a:pt x="14759" y="6160"/>
                  </a:lnTo>
                  <a:lnTo>
                    <a:pt x="14750" y="6143"/>
                  </a:lnTo>
                  <a:lnTo>
                    <a:pt x="14741" y="6125"/>
                  </a:lnTo>
                  <a:lnTo>
                    <a:pt x="14732" y="6125"/>
                  </a:lnTo>
                  <a:lnTo>
                    <a:pt x="14741" y="6116"/>
                  </a:lnTo>
                  <a:lnTo>
                    <a:pt x="14741" y="6107"/>
                  </a:lnTo>
                  <a:lnTo>
                    <a:pt x="14741" y="6099"/>
                  </a:lnTo>
                  <a:lnTo>
                    <a:pt x="14750" y="6090"/>
                  </a:lnTo>
                  <a:lnTo>
                    <a:pt x="14759" y="6107"/>
                  </a:lnTo>
                  <a:lnTo>
                    <a:pt x="14759" y="6134"/>
                  </a:lnTo>
                  <a:lnTo>
                    <a:pt x="14768" y="6134"/>
                  </a:lnTo>
                  <a:lnTo>
                    <a:pt x="14768" y="6143"/>
                  </a:lnTo>
                  <a:lnTo>
                    <a:pt x="14776" y="6151"/>
                  </a:lnTo>
                  <a:lnTo>
                    <a:pt x="14785" y="6169"/>
                  </a:lnTo>
                  <a:lnTo>
                    <a:pt x="14794" y="6178"/>
                  </a:lnTo>
                  <a:lnTo>
                    <a:pt x="14794" y="6187"/>
                  </a:lnTo>
                  <a:lnTo>
                    <a:pt x="14794" y="6196"/>
                  </a:lnTo>
                  <a:lnTo>
                    <a:pt x="14803" y="6204"/>
                  </a:lnTo>
                  <a:lnTo>
                    <a:pt x="14812" y="6222"/>
                  </a:lnTo>
                  <a:lnTo>
                    <a:pt x="14829" y="6231"/>
                  </a:lnTo>
                  <a:lnTo>
                    <a:pt x="14838" y="6249"/>
                  </a:lnTo>
                  <a:lnTo>
                    <a:pt x="14856" y="6266"/>
                  </a:lnTo>
                  <a:lnTo>
                    <a:pt x="14874" y="6266"/>
                  </a:lnTo>
                  <a:lnTo>
                    <a:pt x="14882" y="6257"/>
                  </a:lnTo>
                  <a:lnTo>
                    <a:pt x="14882" y="6249"/>
                  </a:lnTo>
                  <a:lnTo>
                    <a:pt x="14891" y="6240"/>
                  </a:lnTo>
                  <a:lnTo>
                    <a:pt x="14891" y="6222"/>
                  </a:lnTo>
                  <a:lnTo>
                    <a:pt x="14900" y="6187"/>
                  </a:lnTo>
                  <a:lnTo>
                    <a:pt x="14909" y="6151"/>
                  </a:lnTo>
                  <a:lnTo>
                    <a:pt x="14918" y="6134"/>
                  </a:lnTo>
                  <a:lnTo>
                    <a:pt x="14926" y="6134"/>
                  </a:lnTo>
                  <a:lnTo>
                    <a:pt x="14926" y="6125"/>
                  </a:lnTo>
                  <a:lnTo>
                    <a:pt x="14926" y="6134"/>
                  </a:lnTo>
                  <a:lnTo>
                    <a:pt x="14926" y="6143"/>
                  </a:lnTo>
                  <a:lnTo>
                    <a:pt x="14918" y="6196"/>
                  </a:lnTo>
                  <a:lnTo>
                    <a:pt x="14918" y="6213"/>
                  </a:lnTo>
                  <a:lnTo>
                    <a:pt x="14909" y="6231"/>
                  </a:lnTo>
                  <a:lnTo>
                    <a:pt x="14900" y="6240"/>
                  </a:lnTo>
                  <a:lnTo>
                    <a:pt x="14900" y="6249"/>
                  </a:lnTo>
                  <a:lnTo>
                    <a:pt x="14909" y="6240"/>
                  </a:lnTo>
                  <a:lnTo>
                    <a:pt x="14918" y="6240"/>
                  </a:lnTo>
                  <a:lnTo>
                    <a:pt x="14935" y="6249"/>
                  </a:lnTo>
                  <a:lnTo>
                    <a:pt x="14944" y="6249"/>
                  </a:lnTo>
                  <a:lnTo>
                    <a:pt x="14962" y="6275"/>
                  </a:lnTo>
                  <a:lnTo>
                    <a:pt x="14971" y="6293"/>
                  </a:lnTo>
                  <a:lnTo>
                    <a:pt x="14988" y="6310"/>
                  </a:lnTo>
                  <a:lnTo>
                    <a:pt x="14988" y="6328"/>
                  </a:lnTo>
                  <a:lnTo>
                    <a:pt x="15006" y="6337"/>
                  </a:lnTo>
                  <a:lnTo>
                    <a:pt x="15006" y="6346"/>
                  </a:lnTo>
                  <a:lnTo>
                    <a:pt x="15023" y="6363"/>
                  </a:lnTo>
                  <a:lnTo>
                    <a:pt x="15041" y="6399"/>
                  </a:lnTo>
                  <a:lnTo>
                    <a:pt x="15050" y="6407"/>
                  </a:lnTo>
                  <a:lnTo>
                    <a:pt x="15059" y="6416"/>
                  </a:lnTo>
                  <a:lnTo>
                    <a:pt x="15059" y="6425"/>
                  </a:lnTo>
                  <a:lnTo>
                    <a:pt x="15068" y="6434"/>
                  </a:lnTo>
                  <a:lnTo>
                    <a:pt x="15085" y="6460"/>
                  </a:lnTo>
                  <a:lnTo>
                    <a:pt x="15094" y="6478"/>
                  </a:lnTo>
                  <a:lnTo>
                    <a:pt x="15094" y="6487"/>
                  </a:lnTo>
                  <a:lnTo>
                    <a:pt x="15094" y="6496"/>
                  </a:lnTo>
                  <a:lnTo>
                    <a:pt x="15094" y="6505"/>
                  </a:lnTo>
                  <a:lnTo>
                    <a:pt x="15103" y="6513"/>
                  </a:lnTo>
                  <a:lnTo>
                    <a:pt x="15112" y="6531"/>
                  </a:lnTo>
                  <a:lnTo>
                    <a:pt x="15121" y="6540"/>
                  </a:lnTo>
                  <a:lnTo>
                    <a:pt x="15129" y="6540"/>
                  </a:lnTo>
                  <a:lnTo>
                    <a:pt x="15138" y="6549"/>
                  </a:lnTo>
                  <a:lnTo>
                    <a:pt x="15147" y="6549"/>
                  </a:lnTo>
                  <a:lnTo>
                    <a:pt x="15147" y="6557"/>
                  </a:lnTo>
                  <a:lnTo>
                    <a:pt x="15156" y="6557"/>
                  </a:lnTo>
                  <a:lnTo>
                    <a:pt x="15173" y="6575"/>
                  </a:lnTo>
                  <a:lnTo>
                    <a:pt x="15182" y="6584"/>
                  </a:lnTo>
                  <a:lnTo>
                    <a:pt x="15191" y="6602"/>
                  </a:lnTo>
                  <a:lnTo>
                    <a:pt x="15200" y="6618"/>
                  </a:lnTo>
                  <a:lnTo>
                    <a:pt x="15209" y="6627"/>
                  </a:lnTo>
                  <a:lnTo>
                    <a:pt x="15209" y="6636"/>
                  </a:lnTo>
                  <a:lnTo>
                    <a:pt x="15209" y="6645"/>
                  </a:lnTo>
                  <a:lnTo>
                    <a:pt x="15218" y="6654"/>
                  </a:lnTo>
                  <a:lnTo>
                    <a:pt x="15226" y="6662"/>
                  </a:lnTo>
                  <a:lnTo>
                    <a:pt x="15226" y="6671"/>
                  </a:lnTo>
                  <a:lnTo>
                    <a:pt x="15226" y="6689"/>
                  </a:lnTo>
                  <a:lnTo>
                    <a:pt x="15226" y="6698"/>
                  </a:lnTo>
                  <a:lnTo>
                    <a:pt x="15226" y="6715"/>
                  </a:lnTo>
                  <a:lnTo>
                    <a:pt x="15226" y="6724"/>
                  </a:lnTo>
                  <a:lnTo>
                    <a:pt x="15226" y="6733"/>
                  </a:lnTo>
                  <a:lnTo>
                    <a:pt x="15226" y="6742"/>
                  </a:lnTo>
                  <a:lnTo>
                    <a:pt x="15235" y="6751"/>
                  </a:lnTo>
                  <a:lnTo>
                    <a:pt x="15235" y="6759"/>
                  </a:lnTo>
                  <a:lnTo>
                    <a:pt x="15226" y="6768"/>
                  </a:lnTo>
                  <a:lnTo>
                    <a:pt x="15244" y="6795"/>
                  </a:lnTo>
                  <a:lnTo>
                    <a:pt x="15262" y="6812"/>
                  </a:lnTo>
                  <a:lnTo>
                    <a:pt x="15271" y="6830"/>
                  </a:lnTo>
                  <a:lnTo>
                    <a:pt x="15279" y="6839"/>
                  </a:lnTo>
                  <a:lnTo>
                    <a:pt x="15288" y="6848"/>
                  </a:lnTo>
                  <a:lnTo>
                    <a:pt x="15306" y="6848"/>
                  </a:lnTo>
                  <a:lnTo>
                    <a:pt x="15332" y="6874"/>
                  </a:lnTo>
                  <a:lnTo>
                    <a:pt x="15341" y="6883"/>
                  </a:lnTo>
                  <a:lnTo>
                    <a:pt x="15350" y="6892"/>
                  </a:lnTo>
                  <a:lnTo>
                    <a:pt x="15359" y="6901"/>
                  </a:lnTo>
                  <a:lnTo>
                    <a:pt x="15368" y="6909"/>
                  </a:lnTo>
                  <a:lnTo>
                    <a:pt x="15376" y="6936"/>
                  </a:lnTo>
                  <a:lnTo>
                    <a:pt x="15385" y="6945"/>
                  </a:lnTo>
                  <a:lnTo>
                    <a:pt x="15385" y="6954"/>
                  </a:lnTo>
                  <a:lnTo>
                    <a:pt x="15385" y="6962"/>
                  </a:lnTo>
                  <a:lnTo>
                    <a:pt x="15385" y="6971"/>
                  </a:lnTo>
                  <a:lnTo>
                    <a:pt x="15403" y="6989"/>
                  </a:lnTo>
                  <a:lnTo>
                    <a:pt x="15412" y="7007"/>
                  </a:lnTo>
                  <a:lnTo>
                    <a:pt x="15421" y="7024"/>
                  </a:lnTo>
                  <a:lnTo>
                    <a:pt x="15429" y="7033"/>
                  </a:lnTo>
                  <a:lnTo>
                    <a:pt x="15447" y="7051"/>
                  </a:lnTo>
                  <a:lnTo>
                    <a:pt x="15465" y="7068"/>
                  </a:lnTo>
                  <a:lnTo>
                    <a:pt x="15465" y="7077"/>
                  </a:lnTo>
                  <a:lnTo>
                    <a:pt x="15473" y="7086"/>
                  </a:lnTo>
                  <a:lnTo>
                    <a:pt x="15482" y="7095"/>
                  </a:lnTo>
                  <a:lnTo>
                    <a:pt x="15482" y="7104"/>
                  </a:lnTo>
                  <a:lnTo>
                    <a:pt x="15491" y="7112"/>
                  </a:lnTo>
                  <a:lnTo>
                    <a:pt x="15500" y="7121"/>
                  </a:lnTo>
                  <a:lnTo>
                    <a:pt x="15500" y="7130"/>
                  </a:lnTo>
                  <a:lnTo>
                    <a:pt x="15500" y="7139"/>
                  </a:lnTo>
                  <a:lnTo>
                    <a:pt x="15500" y="7148"/>
                  </a:lnTo>
                  <a:lnTo>
                    <a:pt x="15509" y="7174"/>
                  </a:lnTo>
                  <a:lnTo>
                    <a:pt x="15500" y="7201"/>
                  </a:lnTo>
                  <a:lnTo>
                    <a:pt x="15500" y="7218"/>
                  </a:lnTo>
                  <a:lnTo>
                    <a:pt x="15500" y="7227"/>
                  </a:lnTo>
                  <a:lnTo>
                    <a:pt x="15491" y="7227"/>
                  </a:lnTo>
                  <a:lnTo>
                    <a:pt x="15509" y="7236"/>
                  </a:lnTo>
                  <a:lnTo>
                    <a:pt x="15509" y="7245"/>
                  </a:lnTo>
                  <a:lnTo>
                    <a:pt x="15509" y="7254"/>
                  </a:lnTo>
                  <a:lnTo>
                    <a:pt x="15509" y="7263"/>
                  </a:lnTo>
                  <a:lnTo>
                    <a:pt x="15518" y="7263"/>
                  </a:lnTo>
                  <a:lnTo>
                    <a:pt x="15518" y="7280"/>
                  </a:lnTo>
                  <a:lnTo>
                    <a:pt x="15518" y="7289"/>
                  </a:lnTo>
                  <a:lnTo>
                    <a:pt x="15518" y="7298"/>
                  </a:lnTo>
                  <a:lnTo>
                    <a:pt x="15526" y="7307"/>
                  </a:lnTo>
                  <a:lnTo>
                    <a:pt x="15526" y="7324"/>
                  </a:lnTo>
                  <a:lnTo>
                    <a:pt x="15535" y="7333"/>
                  </a:lnTo>
                  <a:lnTo>
                    <a:pt x="15535" y="7342"/>
                  </a:lnTo>
                  <a:lnTo>
                    <a:pt x="15535" y="7351"/>
                  </a:lnTo>
                  <a:lnTo>
                    <a:pt x="15535" y="7377"/>
                  </a:lnTo>
                  <a:lnTo>
                    <a:pt x="15553" y="7413"/>
                  </a:lnTo>
                  <a:lnTo>
                    <a:pt x="15553" y="7421"/>
                  </a:lnTo>
                  <a:lnTo>
                    <a:pt x="15562" y="7413"/>
                  </a:lnTo>
                  <a:lnTo>
                    <a:pt x="15579" y="7421"/>
                  </a:lnTo>
                  <a:lnTo>
                    <a:pt x="15588" y="7421"/>
                  </a:lnTo>
                  <a:lnTo>
                    <a:pt x="15597" y="7421"/>
                  </a:lnTo>
                  <a:lnTo>
                    <a:pt x="15615" y="7421"/>
                  </a:lnTo>
                  <a:lnTo>
                    <a:pt x="15632" y="7413"/>
                  </a:lnTo>
                  <a:lnTo>
                    <a:pt x="15650" y="7413"/>
                  </a:lnTo>
                  <a:lnTo>
                    <a:pt x="15659" y="7413"/>
                  </a:lnTo>
                  <a:lnTo>
                    <a:pt x="15668" y="7413"/>
                  </a:lnTo>
                  <a:lnTo>
                    <a:pt x="15676" y="7404"/>
                  </a:lnTo>
                  <a:lnTo>
                    <a:pt x="15676" y="7395"/>
                  </a:lnTo>
                  <a:lnTo>
                    <a:pt x="15694" y="7395"/>
                  </a:lnTo>
                  <a:lnTo>
                    <a:pt x="15703" y="7377"/>
                  </a:lnTo>
                  <a:lnTo>
                    <a:pt x="15712" y="7368"/>
                  </a:lnTo>
                  <a:lnTo>
                    <a:pt x="15729" y="7368"/>
                  </a:lnTo>
                  <a:lnTo>
                    <a:pt x="15756" y="7368"/>
                  </a:lnTo>
                  <a:lnTo>
                    <a:pt x="15773" y="7368"/>
                  </a:lnTo>
                  <a:lnTo>
                    <a:pt x="15791" y="7368"/>
                  </a:lnTo>
                  <a:lnTo>
                    <a:pt x="15800" y="7360"/>
                  </a:lnTo>
                  <a:lnTo>
                    <a:pt x="15809" y="7360"/>
                  </a:lnTo>
                  <a:lnTo>
                    <a:pt x="15826" y="7351"/>
                  </a:lnTo>
                  <a:lnTo>
                    <a:pt x="15844" y="7351"/>
                  </a:lnTo>
                  <a:lnTo>
                    <a:pt x="15862" y="7333"/>
                  </a:lnTo>
                  <a:lnTo>
                    <a:pt x="15870" y="7324"/>
                  </a:lnTo>
                  <a:lnTo>
                    <a:pt x="15879" y="7324"/>
                  </a:lnTo>
                  <a:lnTo>
                    <a:pt x="15888" y="7315"/>
                  </a:lnTo>
                  <a:lnTo>
                    <a:pt x="15906" y="7324"/>
                  </a:lnTo>
                  <a:lnTo>
                    <a:pt x="15915" y="7324"/>
                  </a:lnTo>
                  <a:lnTo>
                    <a:pt x="15932" y="7315"/>
                  </a:lnTo>
                  <a:lnTo>
                    <a:pt x="15941" y="7315"/>
                  </a:lnTo>
                  <a:lnTo>
                    <a:pt x="15950" y="7298"/>
                  </a:lnTo>
                  <a:lnTo>
                    <a:pt x="15959" y="7298"/>
                  </a:lnTo>
                  <a:lnTo>
                    <a:pt x="15959" y="7289"/>
                  </a:lnTo>
                  <a:lnTo>
                    <a:pt x="15967" y="7280"/>
                  </a:lnTo>
                  <a:lnTo>
                    <a:pt x="15985" y="7271"/>
                  </a:lnTo>
                  <a:lnTo>
                    <a:pt x="16003" y="7271"/>
                  </a:lnTo>
                  <a:lnTo>
                    <a:pt x="16029" y="7263"/>
                  </a:lnTo>
                  <a:lnTo>
                    <a:pt x="16047" y="7263"/>
                  </a:lnTo>
                  <a:lnTo>
                    <a:pt x="16056" y="7254"/>
                  </a:lnTo>
                  <a:lnTo>
                    <a:pt x="16073" y="7245"/>
                  </a:lnTo>
                  <a:lnTo>
                    <a:pt x="16109" y="7236"/>
                  </a:lnTo>
                  <a:lnTo>
                    <a:pt x="16126" y="7227"/>
                  </a:lnTo>
                  <a:lnTo>
                    <a:pt x="16153" y="7218"/>
                  </a:lnTo>
                  <a:lnTo>
                    <a:pt x="16162" y="7218"/>
                  </a:lnTo>
                  <a:lnTo>
                    <a:pt x="16170" y="7210"/>
                  </a:lnTo>
                  <a:lnTo>
                    <a:pt x="16179" y="7210"/>
                  </a:lnTo>
                  <a:lnTo>
                    <a:pt x="16188" y="7201"/>
                  </a:lnTo>
                  <a:lnTo>
                    <a:pt x="16197" y="7201"/>
                  </a:lnTo>
                  <a:lnTo>
                    <a:pt x="16197" y="7192"/>
                  </a:lnTo>
                  <a:lnTo>
                    <a:pt x="16188" y="7174"/>
                  </a:lnTo>
                  <a:lnTo>
                    <a:pt x="16197" y="7157"/>
                  </a:lnTo>
                  <a:lnTo>
                    <a:pt x="16206" y="7148"/>
                  </a:lnTo>
                  <a:lnTo>
                    <a:pt x="16215" y="7139"/>
                  </a:lnTo>
                  <a:lnTo>
                    <a:pt x="16223" y="7139"/>
                  </a:lnTo>
                  <a:lnTo>
                    <a:pt x="16259" y="7121"/>
                  </a:lnTo>
                  <a:lnTo>
                    <a:pt x="16276" y="7121"/>
                  </a:lnTo>
                  <a:lnTo>
                    <a:pt x="16294" y="7112"/>
                  </a:lnTo>
                  <a:lnTo>
                    <a:pt x="16312" y="7112"/>
                  </a:lnTo>
                  <a:lnTo>
                    <a:pt x="16320" y="7104"/>
                  </a:lnTo>
                  <a:lnTo>
                    <a:pt x="16329" y="7095"/>
                  </a:lnTo>
                  <a:lnTo>
                    <a:pt x="16356" y="7095"/>
                  </a:lnTo>
                  <a:lnTo>
                    <a:pt x="16364" y="7095"/>
                  </a:lnTo>
                  <a:lnTo>
                    <a:pt x="16373" y="7095"/>
                  </a:lnTo>
                  <a:lnTo>
                    <a:pt x="16382" y="7104"/>
                  </a:lnTo>
                  <a:lnTo>
                    <a:pt x="16409" y="7095"/>
                  </a:lnTo>
                  <a:lnTo>
                    <a:pt x="16409" y="7086"/>
                  </a:lnTo>
                  <a:lnTo>
                    <a:pt x="16417" y="7077"/>
                  </a:lnTo>
                  <a:lnTo>
                    <a:pt x="16417" y="7068"/>
                  </a:lnTo>
                  <a:lnTo>
                    <a:pt x="16417" y="7060"/>
                  </a:lnTo>
                  <a:lnTo>
                    <a:pt x="16417" y="7051"/>
                  </a:lnTo>
                  <a:lnTo>
                    <a:pt x="16435" y="7033"/>
                  </a:lnTo>
                  <a:lnTo>
                    <a:pt x="16444" y="7033"/>
                  </a:lnTo>
                  <a:lnTo>
                    <a:pt x="16470" y="7024"/>
                  </a:lnTo>
                  <a:lnTo>
                    <a:pt x="16497" y="7024"/>
                  </a:lnTo>
                  <a:lnTo>
                    <a:pt x="16506" y="7024"/>
                  </a:lnTo>
                  <a:lnTo>
                    <a:pt x="16514" y="7007"/>
                  </a:lnTo>
                  <a:lnTo>
                    <a:pt x="16523" y="6980"/>
                  </a:lnTo>
                  <a:lnTo>
                    <a:pt x="16532" y="6962"/>
                  </a:lnTo>
                  <a:lnTo>
                    <a:pt x="16541" y="6962"/>
                  </a:lnTo>
                  <a:lnTo>
                    <a:pt x="16559" y="6954"/>
                  </a:lnTo>
                  <a:lnTo>
                    <a:pt x="16576" y="6954"/>
                  </a:lnTo>
                  <a:lnTo>
                    <a:pt x="16594" y="6954"/>
                  </a:lnTo>
                  <a:lnTo>
                    <a:pt x="16603" y="6945"/>
                  </a:lnTo>
                  <a:lnTo>
                    <a:pt x="16603" y="6936"/>
                  </a:lnTo>
                  <a:lnTo>
                    <a:pt x="16603" y="6927"/>
                  </a:lnTo>
                  <a:lnTo>
                    <a:pt x="16603" y="6909"/>
                  </a:lnTo>
                  <a:lnTo>
                    <a:pt x="16603" y="6901"/>
                  </a:lnTo>
                  <a:lnTo>
                    <a:pt x="16603" y="6892"/>
                  </a:lnTo>
                  <a:lnTo>
                    <a:pt x="16603" y="6883"/>
                  </a:lnTo>
                  <a:lnTo>
                    <a:pt x="16603" y="6874"/>
                  </a:lnTo>
                  <a:lnTo>
                    <a:pt x="16612" y="6865"/>
                  </a:lnTo>
                  <a:lnTo>
                    <a:pt x="16612" y="6848"/>
                  </a:lnTo>
                  <a:lnTo>
                    <a:pt x="16620" y="6848"/>
                  </a:lnTo>
                  <a:lnTo>
                    <a:pt x="16629" y="6830"/>
                  </a:lnTo>
                  <a:lnTo>
                    <a:pt x="16629" y="6821"/>
                  </a:lnTo>
                  <a:lnTo>
                    <a:pt x="16638" y="6821"/>
                  </a:lnTo>
                  <a:lnTo>
                    <a:pt x="16638" y="6830"/>
                  </a:lnTo>
                  <a:lnTo>
                    <a:pt x="16638" y="6839"/>
                  </a:lnTo>
                  <a:lnTo>
                    <a:pt x="16647" y="6839"/>
                  </a:lnTo>
                  <a:lnTo>
                    <a:pt x="16656" y="6839"/>
                  </a:lnTo>
                  <a:lnTo>
                    <a:pt x="16656" y="6830"/>
                  </a:lnTo>
                  <a:lnTo>
                    <a:pt x="16673" y="6812"/>
                  </a:lnTo>
                  <a:lnTo>
                    <a:pt x="16682" y="6786"/>
                  </a:lnTo>
                  <a:lnTo>
                    <a:pt x="16700" y="6768"/>
                  </a:lnTo>
                  <a:lnTo>
                    <a:pt x="16717" y="6759"/>
                  </a:lnTo>
                  <a:lnTo>
                    <a:pt x="16735" y="6733"/>
                  </a:lnTo>
                  <a:lnTo>
                    <a:pt x="16744" y="6724"/>
                  </a:lnTo>
                  <a:lnTo>
                    <a:pt x="16744" y="6715"/>
                  </a:lnTo>
                  <a:lnTo>
                    <a:pt x="16753" y="6698"/>
                  </a:lnTo>
                  <a:lnTo>
                    <a:pt x="16753" y="6689"/>
                  </a:lnTo>
                  <a:lnTo>
                    <a:pt x="16753" y="6680"/>
                  </a:lnTo>
                  <a:lnTo>
                    <a:pt x="16744" y="6680"/>
                  </a:lnTo>
                  <a:lnTo>
                    <a:pt x="16735" y="6671"/>
                  </a:lnTo>
                  <a:lnTo>
                    <a:pt x="16726" y="6671"/>
                  </a:lnTo>
                  <a:lnTo>
                    <a:pt x="16717" y="6654"/>
                  </a:lnTo>
                  <a:lnTo>
                    <a:pt x="16709" y="6645"/>
                  </a:lnTo>
                  <a:lnTo>
                    <a:pt x="16700" y="6627"/>
                  </a:lnTo>
                  <a:lnTo>
                    <a:pt x="16691" y="6618"/>
                  </a:lnTo>
                  <a:lnTo>
                    <a:pt x="16682" y="6609"/>
                  </a:lnTo>
                  <a:lnTo>
                    <a:pt x="16673" y="6602"/>
                  </a:lnTo>
                  <a:lnTo>
                    <a:pt x="16664" y="6593"/>
                  </a:lnTo>
                  <a:lnTo>
                    <a:pt x="16656" y="6593"/>
                  </a:lnTo>
                  <a:lnTo>
                    <a:pt x="16647" y="6593"/>
                  </a:lnTo>
                  <a:lnTo>
                    <a:pt x="16629" y="6584"/>
                  </a:lnTo>
                  <a:lnTo>
                    <a:pt x="16612" y="6584"/>
                  </a:lnTo>
                  <a:lnTo>
                    <a:pt x="16594" y="6584"/>
                  </a:lnTo>
                  <a:lnTo>
                    <a:pt x="16559" y="6566"/>
                  </a:lnTo>
                  <a:lnTo>
                    <a:pt x="16541" y="6549"/>
                  </a:lnTo>
                  <a:lnTo>
                    <a:pt x="16532" y="6540"/>
                  </a:lnTo>
                  <a:lnTo>
                    <a:pt x="16523" y="6531"/>
                  </a:lnTo>
                  <a:lnTo>
                    <a:pt x="16506" y="6505"/>
                  </a:lnTo>
                  <a:lnTo>
                    <a:pt x="16506" y="6487"/>
                  </a:lnTo>
                  <a:lnTo>
                    <a:pt x="16497" y="6487"/>
                  </a:lnTo>
                  <a:lnTo>
                    <a:pt x="16497" y="6443"/>
                  </a:lnTo>
                  <a:lnTo>
                    <a:pt x="16497" y="6434"/>
                  </a:lnTo>
                  <a:lnTo>
                    <a:pt x="16497" y="6425"/>
                  </a:lnTo>
                  <a:lnTo>
                    <a:pt x="16506" y="6399"/>
                  </a:lnTo>
                  <a:lnTo>
                    <a:pt x="16506" y="6390"/>
                  </a:lnTo>
                  <a:lnTo>
                    <a:pt x="16506" y="6381"/>
                  </a:lnTo>
                  <a:lnTo>
                    <a:pt x="16497" y="6381"/>
                  </a:lnTo>
                  <a:lnTo>
                    <a:pt x="16497" y="6390"/>
                  </a:lnTo>
                  <a:lnTo>
                    <a:pt x="16488" y="6390"/>
                  </a:lnTo>
                  <a:lnTo>
                    <a:pt x="16479" y="6407"/>
                  </a:lnTo>
                  <a:lnTo>
                    <a:pt x="16479" y="6416"/>
                  </a:lnTo>
                  <a:lnTo>
                    <a:pt x="16470" y="6425"/>
                  </a:lnTo>
                  <a:lnTo>
                    <a:pt x="16435" y="6452"/>
                  </a:lnTo>
                  <a:lnTo>
                    <a:pt x="16435" y="6460"/>
                  </a:lnTo>
                  <a:lnTo>
                    <a:pt x="16426" y="6460"/>
                  </a:lnTo>
                  <a:lnTo>
                    <a:pt x="16426" y="6469"/>
                  </a:lnTo>
                  <a:lnTo>
                    <a:pt x="16409" y="6487"/>
                  </a:lnTo>
                  <a:lnTo>
                    <a:pt x="16382" y="6505"/>
                  </a:lnTo>
                  <a:lnTo>
                    <a:pt x="16373" y="6505"/>
                  </a:lnTo>
                  <a:lnTo>
                    <a:pt x="16373" y="6513"/>
                  </a:lnTo>
                  <a:lnTo>
                    <a:pt x="16373" y="6522"/>
                  </a:lnTo>
                  <a:lnTo>
                    <a:pt x="16364" y="6522"/>
                  </a:lnTo>
                  <a:lnTo>
                    <a:pt x="16364" y="6531"/>
                  </a:lnTo>
                  <a:lnTo>
                    <a:pt x="16356" y="6540"/>
                  </a:lnTo>
                  <a:lnTo>
                    <a:pt x="16347" y="6549"/>
                  </a:lnTo>
                  <a:lnTo>
                    <a:pt x="16338" y="6549"/>
                  </a:lnTo>
                  <a:lnTo>
                    <a:pt x="16320" y="6557"/>
                  </a:lnTo>
                  <a:lnTo>
                    <a:pt x="16312" y="6557"/>
                  </a:lnTo>
                  <a:lnTo>
                    <a:pt x="16276" y="6557"/>
                  </a:lnTo>
                  <a:lnTo>
                    <a:pt x="16259" y="6549"/>
                  </a:lnTo>
                  <a:lnTo>
                    <a:pt x="16223" y="6549"/>
                  </a:lnTo>
                  <a:lnTo>
                    <a:pt x="16215" y="6557"/>
                  </a:lnTo>
                  <a:lnTo>
                    <a:pt x="16197" y="6566"/>
                  </a:lnTo>
                  <a:lnTo>
                    <a:pt x="16188" y="6566"/>
                  </a:lnTo>
                  <a:lnTo>
                    <a:pt x="16170" y="6566"/>
                  </a:lnTo>
                  <a:lnTo>
                    <a:pt x="16162" y="6557"/>
                  </a:lnTo>
                  <a:lnTo>
                    <a:pt x="16162" y="6549"/>
                  </a:lnTo>
                  <a:lnTo>
                    <a:pt x="16162" y="6540"/>
                  </a:lnTo>
                  <a:lnTo>
                    <a:pt x="16153" y="6549"/>
                  </a:lnTo>
                  <a:lnTo>
                    <a:pt x="16153" y="6540"/>
                  </a:lnTo>
                  <a:lnTo>
                    <a:pt x="16144" y="6540"/>
                  </a:lnTo>
                  <a:lnTo>
                    <a:pt x="16135" y="6540"/>
                  </a:lnTo>
                  <a:lnTo>
                    <a:pt x="16126" y="6540"/>
                  </a:lnTo>
                  <a:lnTo>
                    <a:pt x="16135" y="6531"/>
                  </a:lnTo>
                  <a:lnTo>
                    <a:pt x="16135" y="6522"/>
                  </a:lnTo>
                  <a:lnTo>
                    <a:pt x="16126" y="6522"/>
                  </a:lnTo>
                  <a:lnTo>
                    <a:pt x="16126" y="6513"/>
                  </a:lnTo>
                  <a:lnTo>
                    <a:pt x="16135" y="6513"/>
                  </a:lnTo>
                  <a:lnTo>
                    <a:pt x="16144" y="6496"/>
                  </a:lnTo>
                  <a:lnTo>
                    <a:pt x="16153" y="6487"/>
                  </a:lnTo>
                  <a:lnTo>
                    <a:pt x="16153" y="6478"/>
                  </a:lnTo>
                  <a:lnTo>
                    <a:pt x="16144" y="6460"/>
                  </a:lnTo>
                  <a:lnTo>
                    <a:pt x="16144" y="6452"/>
                  </a:lnTo>
                  <a:lnTo>
                    <a:pt x="16144" y="6443"/>
                  </a:lnTo>
                  <a:lnTo>
                    <a:pt x="16144" y="6434"/>
                  </a:lnTo>
                  <a:lnTo>
                    <a:pt x="16144" y="6425"/>
                  </a:lnTo>
                  <a:lnTo>
                    <a:pt x="16144" y="6416"/>
                  </a:lnTo>
                  <a:lnTo>
                    <a:pt x="16135" y="6407"/>
                  </a:lnTo>
                  <a:lnTo>
                    <a:pt x="16126" y="6399"/>
                  </a:lnTo>
                  <a:lnTo>
                    <a:pt x="16117" y="6399"/>
                  </a:lnTo>
                  <a:lnTo>
                    <a:pt x="16109" y="6407"/>
                  </a:lnTo>
                  <a:lnTo>
                    <a:pt x="16100" y="6434"/>
                  </a:lnTo>
                  <a:lnTo>
                    <a:pt x="16100" y="6443"/>
                  </a:lnTo>
                  <a:lnTo>
                    <a:pt x="16091" y="6452"/>
                  </a:lnTo>
                  <a:lnTo>
                    <a:pt x="16091" y="6469"/>
                  </a:lnTo>
                  <a:lnTo>
                    <a:pt x="16091" y="6496"/>
                  </a:lnTo>
                  <a:lnTo>
                    <a:pt x="16091" y="6505"/>
                  </a:lnTo>
                  <a:lnTo>
                    <a:pt x="16082" y="6496"/>
                  </a:lnTo>
                  <a:lnTo>
                    <a:pt x="16082" y="6487"/>
                  </a:lnTo>
                  <a:lnTo>
                    <a:pt x="16073" y="6478"/>
                  </a:lnTo>
                  <a:lnTo>
                    <a:pt x="16073" y="6460"/>
                  </a:lnTo>
                  <a:lnTo>
                    <a:pt x="16065" y="6452"/>
                  </a:lnTo>
                  <a:lnTo>
                    <a:pt x="16056" y="6443"/>
                  </a:lnTo>
                  <a:lnTo>
                    <a:pt x="16047" y="6434"/>
                  </a:lnTo>
                  <a:lnTo>
                    <a:pt x="16047" y="6425"/>
                  </a:lnTo>
                  <a:lnTo>
                    <a:pt x="16038" y="6425"/>
                  </a:lnTo>
                  <a:lnTo>
                    <a:pt x="16038" y="6407"/>
                  </a:lnTo>
                  <a:lnTo>
                    <a:pt x="16038" y="6399"/>
                  </a:lnTo>
                  <a:lnTo>
                    <a:pt x="16047" y="6399"/>
                  </a:lnTo>
                  <a:lnTo>
                    <a:pt x="16047" y="6381"/>
                  </a:lnTo>
                  <a:lnTo>
                    <a:pt x="16038" y="6372"/>
                  </a:lnTo>
                  <a:lnTo>
                    <a:pt x="16038" y="6363"/>
                  </a:lnTo>
                  <a:lnTo>
                    <a:pt x="16029" y="6363"/>
                  </a:lnTo>
                  <a:lnTo>
                    <a:pt x="16029" y="6354"/>
                  </a:lnTo>
                  <a:lnTo>
                    <a:pt x="16038" y="6354"/>
                  </a:lnTo>
                  <a:lnTo>
                    <a:pt x="16047" y="6354"/>
                  </a:lnTo>
                  <a:lnTo>
                    <a:pt x="16029" y="6346"/>
                  </a:lnTo>
                  <a:lnTo>
                    <a:pt x="16012" y="6337"/>
                  </a:lnTo>
                  <a:lnTo>
                    <a:pt x="15994" y="6319"/>
                  </a:lnTo>
                  <a:lnTo>
                    <a:pt x="15985" y="6319"/>
                  </a:lnTo>
                  <a:lnTo>
                    <a:pt x="15976" y="6302"/>
                  </a:lnTo>
                  <a:lnTo>
                    <a:pt x="15967" y="6293"/>
                  </a:lnTo>
                  <a:lnTo>
                    <a:pt x="15976" y="6293"/>
                  </a:lnTo>
                  <a:lnTo>
                    <a:pt x="15967" y="6293"/>
                  </a:lnTo>
                  <a:lnTo>
                    <a:pt x="15967" y="6284"/>
                  </a:lnTo>
                  <a:lnTo>
                    <a:pt x="15950" y="6284"/>
                  </a:lnTo>
                  <a:lnTo>
                    <a:pt x="15941" y="6275"/>
                  </a:lnTo>
                  <a:lnTo>
                    <a:pt x="15941" y="6266"/>
                  </a:lnTo>
                  <a:lnTo>
                    <a:pt x="15950" y="6266"/>
                  </a:lnTo>
                  <a:lnTo>
                    <a:pt x="15941" y="6257"/>
                  </a:lnTo>
                  <a:lnTo>
                    <a:pt x="15932" y="6240"/>
                  </a:lnTo>
                  <a:lnTo>
                    <a:pt x="15923" y="6222"/>
                  </a:lnTo>
                  <a:lnTo>
                    <a:pt x="15923" y="6213"/>
                  </a:lnTo>
                  <a:lnTo>
                    <a:pt x="15915" y="6204"/>
                  </a:lnTo>
                  <a:lnTo>
                    <a:pt x="15915" y="6196"/>
                  </a:lnTo>
                  <a:lnTo>
                    <a:pt x="15915" y="6187"/>
                  </a:lnTo>
                  <a:lnTo>
                    <a:pt x="15906" y="6178"/>
                  </a:lnTo>
                  <a:lnTo>
                    <a:pt x="15897" y="6169"/>
                  </a:lnTo>
                  <a:lnTo>
                    <a:pt x="15897" y="6151"/>
                  </a:lnTo>
                  <a:lnTo>
                    <a:pt x="15888" y="6151"/>
                  </a:lnTo>
                  <a:lnTo>
                    <a:pt x="15888" y="6143"/>
                  </a:lnTo>
                  <a:lnTo>
                    <a:pt x="15879" y="6143"/>
                  </a:lnTo>
                  <a:lnTo>
                    <a:pt x="15870" y="6143"/>
                  </a:lnTo>
                  <a:lnTo>
                    <a:pt x="15862" y="6143"/>
                  </a:lnTo>
                  <a:lnTo>
                    <a:pt x="15870" y="6134"/>
                  </a:lnTo>
                  <a:lnTo>
                    <a:pt x="15879" y="6125"/>
                  </a:lnTo>
                  <a:lnTo>
                    <a:pt x="15888" y="6125"/>
                  </a:lnTo>
                  <a:lnTo>
                    <a:pt x="15897" y="6125"/>
                  </a:lnTo>
                  <a:lnTo>
                    <a:pt x="15888" y="6116"/>
                  </a:lnTo>
                  <a:lnTo>
                    <a:pt x="15888" y="6107"/>
                  </a:lnTo>
                  <a:lnTo>
                    <a:pt x="15879" y="6099"/>
                  </a:lnTo>
                  <a:lnTo>
                    <a:pt x="15888" y="6090"/>
                  </a:lnTo>
                  <a:lnTo>
                    <a:pt x="15897" y="6090"/>
                  </a:lnTo>
                  <a:lnTo>
                    <a:pt x="15915" y="6099"/>
                  </a:lnTo>
                  <a:lnTo>
                    <a:pt x="15923" y="6099"/>
                  </a:lnTo>
                  <a:lnTo>
                    <a:pt x="15932" y="6090"/>
                  </a:lnTo>
                  <a:lnTo>
                    <a:pt x="15950" y="6090"/>
                  </a:lnTo>
                  <a:lnTo>
                    <a:pt x="15950" y="6081"/>
                  </a:lnTo>
                  <a:lnTo>
                    <a:pt x="15950" y="6072"/>
                  </a:lnTo>
                  <a:lnTo>
                    <a:pt x="15950" y="6063"/>
                  </a:lnTo>
                  <a:lnTo>
                    <a:pt x="15959" y="6054"/>
                  </a:lnTo>
                  <a:lnTo>
                    <a:pt x="15967" y="6054"/>
                  </a:lnTo>
                  <a:lnTo>
                    <a:pt x="15976" y="6054"/>
                  </a:lnTo>
                  <a:lnTo>
                    <a:pt x="15976" y="6063"/>
                  </a:lnTo>
                  <a:lnTo>
                    <a:pt x="15967" y="6063"/>
                  </a:lnTo>
                  <a:lnTo>
                    <a:pt x="15959" y="6063"/>
                  </a:lnTo>
                  <a:lnTo>
                    <a:pt x="15994" y="6081"/>
                  </a:lnTo>
                  <a:lnTo>
                    <a:pt x="16003" y="6090"/>
                  </a:lnTo>
                  <a:lnTo>
                    <a:pt x="16029" y="6072"/>
                  </a:lnTo>
                  <a:lnTo>
                    <a:pt x="16038" y="6072"/>
                  </a:lnTo>
                  <a:lnTo>
                    <a:pt x="16038" y="6090"/>
                  </a:lnTo>
                  <a:lnTo>
                    <a:pt x="16047" y="6099"/>
                  </a:lnTo>
                  <a:lnTo>
                    <a:pt x="16065" y="6116"/>
                  </a:lnTo>
                  <a:lnTo>
                    <a:pt x="16073" y="6125"/>
                  </a:lnTo>
                  <a:lnTo>
                    <a:pt x="16082" y="6143"/>
                  </a:lnTo>
                  <a:lnTo>
                    <a:pt x="16082" y="6151"/>
                  </a:lnTo>
                  <a:lnTo>
                    <a:pt x="16082" y="6160"/>
                  </a:lnTo>
                  <a:lnTo>
                    <a:pt x="16091" y="6160"/>
                  </a:lnTo>
                  <a:lnTo>
                    <a:pt x="16100" y="6169"/>
                  </a:lnTo>
                  <a:lnTo>
                    <a:pt x="16091" y="6178"/>
                  </a:lnTo>
                  <a:lnTo>
                    <a:pt x="16100" y="6178"/>
                  </a:lnTo>
                  <a:lnTo>
                    <a:pt x="16109" y="6187"/>
                  </a:lnTo>
                  <a:lnTo>
                    <a:pt x="16109" y="6196"/>
                  </a:lnTo>
                  <a:lnTo>
                    <a:pt x="16109" y="6213"/>
                  </a:lnTo>
                  <a:lnTo>
                    <a:pt x="16117" y="6213"/>
                  </a:lnTo>
                  <a:lnTo>
                    <a:pt x="16126" y="6231"/>
                  </a:lnTo>
                  <a:lnTo>
                    <a:pt x="16126" y="6240"/>
                  </a:lnTo>
                  <a:lnTo>
                    <a:pt x="16144" y="6257"/>
                  </a:lnTo>
                  <a:lnTo>
                    <a:pt x="16153" y="6266"/>
                  </a:lnTo>
                  <a:lnTo>
                    <a:pt x="16170" y="6266"/>
                  </a:lnTo>
                  <a:lnTo>
                    <a:pt x="16179" y="6266"/>
                  </a:lnTo>
                  <a:lnTo>
                    <a:pt x="16197" y="6275"/>
                  </a:lnTo>
                  <a:lnTo>
                    <a:pt x="16215" y="6284"/>
                  </a:lnTo>
                  <a:lnTo>
                    <a:pt x="16223" y="6293"/>
                  </a:lnTo>
                  <a:lnTo>
                    <a:pt x="16223" y="6302"/>
                  </a:lnTo>
                  <a:lnTo>
                    <a:pt x="16232" y="6302"/>
                  </a:lnTo>
                  <a:lnTo>
                    <a:pt x="16250" y="6319"/>
                  </a:lnTo>
                  <a:lnTo>
                    <a:pt x="16276" y="6328"/>
                  </a:lnTo>
                  <a:lnTo>
                    <a:pt x="16285" y="6337"/>
                  </a:lnTo>
                  <a:lnTo>
                    <a:pt x="16294" y="6346"/>
                  </a:lnTo>
                  <a:lnTo>
                    <a:pt x="16303" y="6354"/>
                  </a:lnTo>
                  <a:lnTo>
                    <a:pt x="16312" y="6354"/>
                  </a:lnTo>
                  <a:lnTo>
                    <a:pt x="16329" y="6354"/>
                  </a:lnTo>
                  <a:lnTo>
                    <a:pt x="16347" y="6354"/>
                  </a:lnTo>
                  <a:lnTo>
                    <a:pt x="16364" y="6363"/>
                  </a:lnTo>
                  <a:lnTo>
                    <a:pt x="16373" y="6372"/>
                  </a:lnTo>
                  <a:lnTo>
                    <a:pt x="16382" y="6372"/>
                  </a:lnTo>
                  <a:lnTo>
                    <a:pt x="16391" y="6363"/>
                  </a:lnTo>
                  <a:lnTo>
                    <a:pt x="16409" y="6354"/>
                  </a:lnTo>
                  <a:lnTo>
                    <a:pt x="16417" y="6346"/>
                  </a:lnTo>
                  <a:lnTo>
                    <a:pt x="16435" y="6346"/>
                  </a:lnTo>
                  <a:lnTo>
                    <a:pt x="16444" y="6337"/>
                  </a:lnTo>
                  <a:lnTo>
                    <a:pt x="16444" y="6328"/>
                  </a:lnTo>
                  <a:lnTo>
                    <a:pt x="16470" y="6328"/>
                  </a:lnTo>
                  <a:lnTo>
                    <a:pt x="16479" y="6319"/>
                  </a:lnTo>
                  <a:lnTo>
                    <a:pt x="16497" y="6319"/>
                  </a:lnTo>
                  <a:lnTo>
                    <a:pt x="16497" y="6310"/>
                  </a:lnTo>
                  <a:lnTo>
                    <a:pt x="16523" y="6319"/>
                  </a:lnTo>
                  <a:lnTo>
                    <a:pt x="16532" y="6319"/>
                  </a:lnTo>
                  <a:lnTo>
                    <a:pt x="16541" y="6328"/>
                  </a:lnTo>
                  <a:lnTo>
                    <a:pt x="16550" y="6337"/>
                  </a:lnTo>
                  <a:lnTo>
                    <a:pt x="16550" y="6346"/>
                  </a:lnTo>
                  <a:lnTo>
                    <a:pt x="16550" y="6354"/>
                  </a:lnTo>
                  <a:lnTo>
                    <a:pt x="16559" y="6381"/>
                  </a:lnTo>
                  <a:lnTo>
                    <a:pt x="16559" y="6399"/>
                  </a:lnTo>
                  <a:lnTo>
                    <a:pt x="16559" y="6407"/>
                  </a:lnTo>
                  <a:lnTo>
                    <a:pt x="16567" y="6416"/>
                  </a:lnTo>
                  <a:lnTo>
                    <a:pt x="16567" y="6425"/>
                  </a:lnTo>
                  <a:lnTo>
                    <a:pt x="16603" y="6434"/>
                  </a:lnTo>
                  <a:lnTo>
                    <a:pt x="16612" y="6434"/>
                  </a:lnTo>
                  <a:lnTo>
                    <a:pt x="16620" y="6434"/>
                  </a:lnTo>
                  <a:lnTo>
                    <a:pt x="16638" y="6443"/>
                  </a:lnTo>
                  <a:lnTo>
                    <a:pt x="16647" y="6443"/>
                  </a:lnTo>
                  <a:lnTo>
                    <a:pt x="16656" y="6443"/>
                  </a:lnTo>
                  <a:lnTo>
                    <a:pt x="16682" y="6443"/>
                  </a:lnTo>
                  <a:lnTo>
                    <a:pt x="16700" y="6452"/>
                  </a:lnTo>
                  <a:lnTo>
                    <a:pt x="16709" y="6452"/>
                  </a:lnTo>
                  <a:lnTo>
                    <a:pt x="16726" y="6452"/>
                  </a:lnTo>
                  <a:lnTo>
                    <a:pt x="16735" y="6452"/>
                  </a:lnTo>
                  <a:lnTo>
                    <a:pt x="16753" y="6452"/>
                  </a:lnTo>
                  <a:lnTo>
                    <a:pt x="16762" y="6460"/>
                  </a:lnTo>
                  <a:lnTo>
                    <a:pt x="16770" y="6460"/>
                  </a:lnTo>
                  <a:lnTo>
                    <a:pt x="16797" y="6460"/>
                  </a:lnTo>
                  <a:lnTo>
                    <a:pt x="16806" y="6452"/>
                  </a:lnTo>
                  <a:lnTo>
                    <a:pt x="16814" y="6452"/>
                  </a:lnTo>
                  <a:lnTo>
                    <a:pt x="16814" y="6460"/>
                  </a:lnTo>
                  <a:lnTo>
                    <a:pt x="16850" y="6469"/>
                  </a:lnTo>
                  <a:lnTo>
                    <a:pt x="16859" y="6478"/>
                  </a:lnTo>
                  <a:lnTo>
                    <a:pt x="16867" y="6478"/>
                  </a:lnTo>
                  <a:lnTo>
                    <a:pt x="16876" y="6478"/>
                  </a:lnTo>
                  <a:lnTo>
                    <a:pt x="16876" y="6469"/>
                  </a:lnTo>
                  <a:lnTo>
                    <a:pt x="16894" y="6478"/>
                  </a:lnTo>
                  <a:lnTo>
                    <a:pt x="16911" y="6478"/>
                  </a:lnTo>
                  <a:lnTo>
                    <a:pt x="16920" y="6478"/>
                  </a:lnTo>
                  <a:lnTo>
                    <a:pt x="16929" y="6469"/>
                  </a:lnTo>
                  <a:lnTo>
                    <a:pt x="16938" y="6478"/>
                  </a:lnTo>
                  <a:lnTo>
                    <a:pt x="16947" y="6478"/>
                  </a:lnTo>
                  <a:lnTo>
                    <a:pt x="16947" y="6469"/>
                  </a:lnTo>
                  <a:lnTo>
                    <a:pt x="16956" y="6469"/>
                  </a:lnTo>
                  <a:lnTo>
                    <a:pt x="16964" y="6469"/>
                  </a:lnTo>
                  <a:lnTo>
                    <a:pt x="16991" y="6469"/>
                  </a:lnTo>
                  <a:lnTo>
                    <a:pt x="17000" y="6469"/>
                  </a:lnTo>
                  <a:lnTo>
                    <a:pt x="17009" y="6469"/>
                  </a:lnTo>
                  <a:lnTo>
                    <a:pt x="17026" y="6469"/>
                  </a:lnTo>
                  <a:lnTo>
                    <a:pt x="17026" y="6460"/>
                  </a:lnTo>
                  <a:lnTo>
                    <a:pt x="17044" y="6460"/>
                  </a:lnTo>
                  <a:lnTo>
                    <a:pt x="17053" y="6460"/>
                  </a:lnTo>
                  <a:lnTo>
                    <a:pt x="17061" y="6460"/>
                  </a:lnTo>
                  <a:lnTo>
                    <a:pt x="17061" y="6452"/>
                  </a:lnTo>
                  <a:lnTo>
                    <a:pt x="17070" y="6460"/>
                  </a:lnTo>
                  <a:lnTo>
                    <a:pt x="17106" y="6469"/>
                  </a:lnTo>
                  <a:lnTo>
                    <a:pt x="17114" y="6460"/>
                  </a:lnTo>
                  <a:lnTo>
                    <a:pt x="17141" y="6460"/>
                  </a:lnTo>
                  <a:lnTo>
                    <a:pt x="17167" y="6460"/>
                  </a:lnTo>
                  <a:lnTo>
                    <a:pt x="17185" y="6460"/>
                  </a:lnTo>
                  <a:lnTo>
                    <a:pt x="17203" y="6452"/>
                  </a:lnTo>
                  <a:lnTo>
                    <a:pt x="17229" y="6452"/>
                  </a:lnTo>
                  <a:lnTo>
                    <a:pt x="17238" y="6452"/>
                  </a:lnTo>
                  <a:lnTo>
                    <a:pt x="17247" y="6452"/>
                  </a:lnTo>
                  <a:lnTo>
                    <a:pt x="17238" y="6452"/>
                  </a:lnTo>
                  <a:lnTo>
                    <a:pt x="17220" y="6452"/>
                  </a:lnTo>
                  <a:lnTo>
                    <a:pt x="17220" y="6443"/>
                  </a:lnTo>
                  <a:lnTo>
                    <a:pt x="17229" y="6443"/>
                  </a:lnTo>
                  <a:lnTo>
                    <a:pt x="17238" y="6443"/>
                  </a:lnTo>
                  <a:lnTo>
                    <a:pt x="17247" y="6452"/>
                  </a:lnTo>
                  <a:lnTo>
                    <a:pt x="17247" y="6460"/>
                  </a:lnTo>
                  <a:lnTo>
                    <a:pt x="17256" y="6469"/>
                  </a:lnTo>
                  <a:lnTo>
                    <a:pt x="17264" y="6478"/>
                  </a:lnTo>
                  <a:lnTo>
                    <a:pt x="17256" y="6496"/>
                  </a:lnTo>
                  <a:lnTo>
                    <a:pt x="17264" y="6496"/>
                  </a:lnTo>
                  <a:lnTo>
                    <a:pt x="17291" y="6505"/>
                  </a:lnTo>
                  <a:lnTo>
                    <a:pt x="17300" y="6540"/>
                  </a:lnTo>
                  <a:lnTo>
                    <a:pt x="17308" y="6540"/>
                  </a:lnTo>
                  <a:lnTo>
                    <a:pt x="17308" y="6549"/>
                  </a:lnTo>
                  <a:lnTo>
                    <a:pt x="17308" y="6557"/>
                  </a:lnTo>
                  <a:lnTo>
                    <a:pt x="17317" y="6557"/>
                  </a:lnTo>
                  <a:lnTo>
                    <a:pt x="17317" y="6566"/>
                  </a:lnTo>
                  <a:lnTo>
                    <a:pt x="17326" y="6575"/>
                  </a:lnTo>
                  <a:lnTo>
                    <a:pt x="17326" y="6566"/>
                  </a:lnTo>
                  <a:lnTo>
                    <a:pt x="17326" y="6575"/>
                  </a:lnTo>
                  <a:lnTo>
                    <a:pt x="17335" y="6575"/>
                  </a:lnTo>
                  <a:lnTo>
                    <a:pt x="17344" y="6575"/>
                  </a:lnTo>
                  <a:lnTo>
                    <a:pt x="17353" y="6575"/>
                  </a:lnTo>
                  <a:lnTo>
                    <a:pt x="17361" y="6575"/>
                  </a:lnTo>
                  <a:lnTo>
                    <a:pt x="17361" y="6584"/>
                  </a:lnTo>
                  <a:lnTo>
                    <a:pt x="17370" y="6584"/>
                  </a:lnTo>
                  <a:lnTo>
                    <a:pt x="17370" y="6575"/>
                  </a:lnTo>
                  <a:lnTo>
                    <a:pt x="17370" y="6584"/>
                  </a:lnTo>
                  <a:lnTo>
                    <a:pt x="17370" y="6593"/>
                  </a:lnTo>
                  <a:lnTo>
                    <a:pt x="17379" y="6593"/>
                  </a:lnTo>
                  <a:lnTo>
                    <a:pt x="17388" y="6584"/>
                  </a:lnTo>
                  <a:lnTo>
                    <a:pt x="17406" y="6575"/>
                  </a:lnTo>
                  <a:lnTo>
                    <a:pt x="17414" y="6575"/>
                  </a:lnTo>
                  <a:lnTo>
                    <a:pt x="17406" y="6584"/>
                  </a:lnTo>
                  <a:lnTo>
                    <a:pt x="17388" y="6593"/>
                  </a:lnTo>
                  <a:lnTo>
                    <a:pt x="17388" y="6602"/>
                  </a:lnTo>
                  <a:lnTo>
                    <a:pt x="17397" y="6609"/>
                  </a:lnTo>
                  <a:lnTo>
                    <a:pt x="17406" y="6627"/>
                  </a:lnTo>
                  <a:lnTo>
                    <a:pt x="17414" y="6636"/>
                  </a:lnTo>
                  <a:lnTo>
                    <a:pt x="17450" y="6654"/>
                  </a:lnTo>
                  <a:lnTo>
                    <a:pt x="17476" y="6662"/>
                  </a:lnTo>
                  <a:lnTo>
                    <a:pt x="17485" y="6662"/>
                  </a:lnTo>
                  <a:lnTo>
                    <a:pt x="17494" y="6654"/>
                  </a:lnTo>
                  <a:lnTo>
                    <a:pt x="17511" y="6645"/>
                  </a:lnTo>
                  <a:lnTo>
                    <a:pt x="17520" y="6645"/>
                  </a:lnTo>
                  <a:lnTo>
                    <a:pt x="17529" y="6645"/>
                  </a:lnTo>
                  <a:lnTo>
                    <a:pt x="17529" y="6636"/>
                  </a:lnTo>
                  <a:lnTo>
                    <a:pt x="17538" y="6636"/>
                  </a:lnTo>
                  <a:lnTo>
                    <a:pt x="17538" y="6645"/>
                  </a:lnTo>
                  <a:lnTo>
                    <a:pt x="17529" y="6654"/>
                  </a:lnTo>
                  <a:lnTo>
                    <a:pt x="17511" y="6671"/>
                  </a:lnTo>
                  <a:lnTo>
                    <a:pt x="17503" y="6671"/>
                  </a:lnTo>
                  <a:lnTo>
                    <a:pt x="17485" y="6680"/>
                  </a:lnTo>
                  <a:lnTo>
                    <a:pt x="17476" y="6689"/>
                  </a:lnTo>
                  <a:lnTo>
                    <a:pt x="17467" y="6689"/>
                  </a:lnTo>
                  <a:lnTo>
                    <a:pt x="17450" y="6698"/>
                  </a:lnTo>
                  <a:lnTo>
                    <a:pt x="17441" y="6689"/>
                  </a:lnTo>
                  <a:lnTo>
                    <a:pt x="17432" y="6680"/>
                  </a:lnTo>
                  <a:lnTo>
                    <a:pt x="17432" y="6689"/>
                  </a:lnTo>
                  <a:lnTo>
                    <a:pt x="17423" y="6698"/>
                  </a:lnTo>
                  <a:lnTo>
                    <a:pt x="17432" y="6706"/>
                  </a:lnTo>
                  <a:lnTo>
                    <a:pt x="17441" y="6715"/>
                  </a:lnTo>
                  <a:lnTo>
                    <a:pt x="17458" y="6733"/>
                  </a:lnTo>
                  <a:lnTo>
                    <a:pt x="17467" y="6742"/>
                  </a:lnTo>
                  <a:lnTo>
                    <a:pt x="17485" y="6759"/>
                  </a:lnTo>
                  <a:lnTo>
                    <a:pt x="17503" y="6777"/>
                  </a:lnTo>
                  <a:lnTo>
                    <a:pt x="17511" y="6786"/>
                  </a:lnTo>
                  <a:lnTo>
                    <a:pt x="17538" y="6804"/>
                  </a:lnTo>
                  <a:lnTo>
                    <a:pt x="17556" y="6812"/>
                  </a:lnTo>
                  <a:lnTo>
                    <a:pt x="17564" y="6812"/>
                  </a:lnTo>
                  <a:lnTo>
                    <a:pt x="17582" y="6812"/>
                  </a:lnTo>
                  <a:lnTo>
                    <a:pt x="17608" y="6804"/>
                  </a:lnTo>
                  <a:lnTo>
                    <a:pt x="17617" y="6795"/>
                  </a:lnTo>
                  <a:lnTo>
                    <a:pt x="17653" y="6786"/>
                  </a:lnTo>
                  <a:lnTo>
                    <a:pt x="17653" y="6777"/>
                  </a:lnTo>
                  <a:lnTo>
                    <a:pt x="17670" y="6751"/>
                  </a:lnTo>
                  <a:lnTo>
                    <a:pt x="17670" y="6742"/>
                  </a:lnTo>
                  <a:lnTo>
                    <a:pt x="17661" y="6742"/>
                  </a:lnTo>
                  <a:lnTo>
                    <a:pt x="17661" y="6733"/>
                  </a:lnTo>
                  <a:lnTo>
                    <a:pt x="17653" y="6733"/>
                  </a:lnTo>
                  <a:lnTo>
                    <a:pt x="17653" y="6724"/>
                  </a:lnTo>
                  <a:lnTo>
                    <a:pt x="17661" y="6715"/>
                  </a:lnTo>
                  <a:lnTo>
                    <a:pt x="17670" y="6715"/>
                  </a:lnTo>
                  <a:lnTo>
                    <a:pt x="17670" y="6706"/>
                  </a:lnTo>
                  <a:lnTo>
                    <a:pt x="17670" y="6698"/>
                  </a:lnTo>
                  <a:lnTo>
                    <a:pt x="17661" y="6698"/>
                  </a:lnTo>
                  <a:lnTo>
                    <a:pt x="17670" y="6698"/>
                  </a:lnTo>
                  <a:lnTo>
                    <a:pt x="17679" y="6698"/>
                  </a:lnTo>
                  <a:lnTo>
                    <a:pt x="17697" y="6698"/>
                  </a:lnTo>
                  <a:lnTo>
                    <a:pt x="17705" y="6698"/>
                  </a:lnTo>
                  <a:lnTo>
                    <a:pt x="17697" y="6706"/>
                  </a:lnTo>
                  <a:lnTo>
                    <a:pt x="17688" y="6706"/>
                  </a:lnTo>
                  <a:lnTo>
                    <a:pt x="17688" y="6715"/>
                  </a:lnTo>
                  <a:lnTo>
                    <a:pt x="17697" y="6724"/>
                  </a:lnTo>
                  <a:lnTo>
                    <a:pt x="17688" y="6742"/>
                  </a:lnTo>
                  <a:lnTo>
                    <a:pt x="17714" y="6742"/>
                  </a:lnTo>
                  <a:lnTo>
                    <a:pt x="17723" y="6742"/>
                  </a:lnTo>
                  <a:lnTo>
                    <a:pt x="17732" y="6733"/>
                  </a:lnTo>
                  <a:lnTo>
                    <a:pt x="17723" y="6742"/>
                  </a:lnTo>
                  <a:lnTo>
                    <a:pt x="17705" y="6751"/>
                  </a:lnTo>
                  <a:lnTo>
                    <a:pt x="17697" y="6759"/>
                  </a:lnTo>
                  <a:lnTo>
                    <a:pt x="17705" y="6759"/>
                  </a:lnTo>
                  <a:lnTo>
                    <a:pt x="17697" y="6759"/>
                  </a:lnTo>
                  <a:lnTo>
                    <a:pt x="17697" y="6768"/>
                  </a:lnTo>
                  <a:lnTo>
                    <a:pt x="17697" y="6777"/>
                  </a:lnTo>
                  <a:lnTo>
                    <a:pt x="17705" y="6786"/>
                  </a:lnTo>
                  <a:lnTo>
                    <a:pt x="17714" y="6786"/>
                  </a:lnTo>
                  <a:lnTo>
                    <a:pt x="17714" y="6795"/>
                  </a:lnTo>
                  <a:lnTo>
                    <a:pt x="17714" y="6804"/>
                  </a:lnTo>
                  <a:lnTo>
                    <a:pt x="17714" y="6821"/>
                  </a:lnTo>
                  <a:lnTo>
                    <a:pt x="17714" y="6830"/>
                  </a:lnTo>
                  <a:lnTo>
                    <a:pt x="17705" y="6865"/>
                  </a:lnTo>
                  <a:lnTo>
                    <a:pt x="17697" y="6883"/>
                  </a:lnTo>
                  <a:lnTo>
                    <a:pt x="17697" y="6892"/>
                  </a:lnTo>
                  <a:lnTo>
                    <a:pt x="17705" y="6901"/>
                  </a:lnTo>
                  <a:lnTo>
                    <a:pt x="17705" y="6909"/>
                  </a:lnTo>
                  <a:lnTo>
                    <a:pt x="17705" y="6918"/>
                  </a:lnTo>
                  <a:lnTo>
                    <a:pt x="17723" y="6927"/>
                  </a:lnTo>
                  <a:lnTo>
                    <a:pt x="17705" y="6927"/>
                  </a:lnTo>
                  <a:lnTo>
                    <a:pt x="17705" y="6936"/>
                  </a:lnTo>
                  <a:lnTo>
                    <a:pt x="17714" y="6945"/>
                  </a:lnTo>
                  <a:lnTo>
                    <a:pt x="17723" y="6936"/>
                  </a:lnTo>
                  <a:lnTo>
                    <a:pt x="17723" y="6945"/>
                  </a:lnTo>
                  <a:lnTo>
                    <a:pt x="17723" y="6954"/>
                  </a:lnTo>
                  <a:lnTo>
                    <a:pt x="17714" y="6962"/>
                  </a:lnTo>
                  <a:lnTo>
                    <a:pt x="17714" y="6971"/>
                  </a:lnTo>
                  <a:lnTo>
                    <a:pt x="17714" y="6980"/>
                  </a:lnTo>
                  <a:lnTo>
                    <a:pt x="17723" y="6998"/>
                  </a:lnTo>
                  <a:lnTo>
                    <a:pt x="17723" y="7007"/>
                  </a:lnTo>
                  <a:lnTo>
                    <a:pt x="17723" y="7015"/>
                  </a:lnTo>
                  <a:lnTo>
                    <a:pt x="17723" y="7033"/>
                  </a:lnTo>
                  <a:lnTo>
                    <a:pt x="17732" y="7051"/>
                  </a:lnTo>
                  <a:lnTo>
                    <a:pt x="17732" y="7060"/>
                  </a:lnTo>
                  <a:lnTo>
                    <a:pt x="17741" y="7086"/>
                  </a:lnTo>
                  <a:lnTo>
                    <a:pt x="17750" y="7139"/>
                  </a:lnTo>
                  <a:lnTo>
                    <a:pt x="17758" y="7157"/>
                  </a:lnTo>
                  <a:lnTo>
                    <a:pt x="17758" y="7165"/>
                  </a:lnTo>
                  <a:lnTo>
                    <a:pt x="17767" y="7183"/>
                  </a:lnTo>
                  <a:lnTo>
                    <a:pt x="17776" y="7192"/>
                  </a:lnTo>
                  <a:lnTo>
                    <a:pt x="17776" y="7201"/>
                  </a:lnTo>
                  <a:lnTo>
                    <a:pt x="17785" y="7201"/>
                  </a:lnTo>
                  <a:lnTo>
                    <a:pt x="17776" y="7201"/>
                  </a:lnTo>
                  <a:lnTo>
                    <a:pt x="17785" y="7210"/>
                  </a:lnTo>
                  <a:lnTo>
                    <a:pt x="17794" y="7218"/>
                  </a:lnTo>
                  <a:lnTo>
                    <a:pt x="17785" y="7218"/>
                  </a:lnTo>
                  <a:lnTo>
                    <a:pt x="17785" y="7227"/>
                  </a:lnTo>
                  <a:lnTo>
                    <a:pt x="17794" y="7245"/>
                  </a:lnTo>
                  <a:lnTo>
                    <a:pt x="17803" y="7254"/>
                  </a:lnTo>
                  <a:lnTo>
                    <a:pt x="17811" y="7271"/>
                  </a:lnTo>
                  <a:lnTo>
                    <a:pt x="17820" y="7271"/>
                  </a:lnTo>
                  <a:lnTo>
                    <a:pt x="17820" y="7280"/>
                  </a:lnTo>
                  <a:lnTo>
                    <a:pt x="17820" y="7289"/>
                  </a:lnTo>
                  <a:lnTo>
                    <a:pt x="17829" y="7289"/>
                  </a:lnTo>
                  <a:lnTo>
                    <a:pt x="17829" y="7307"/>
                  </a:lnTo>
                  <a:lnTo>
                    <a:pt x="17829" y="7315"/>
                  </a:lnTo>
                  <a:lnTo>
                    <a:pt x="17838" y="7333"/>
                  </a:lnTo>
                  <a:lnTo>
                    <a:pt x="17847" y="7351"/>
                  </a:lnTo>
                  <a:lnTo>
                    <a:pt x="17847" y="7360"/>
                  </a:lnTo>
                  <a:lnTo>
                    <a:pt x="17855" y="7386"/>
                  </a:lnTo>
                  <a:lnTo>
                    <a:pt x="17855" y="7395"/>
                  </a:lnTo>
                  <a:lnTo>
                    <a:pt x="17864" y="7404"/>
                  </a:lnTo>
                  <a:lnTo>
                    <a:pt x="17864" y="7430"/>
                  </a:lnTo>
                  <a:lnTo>
                    <a:pt x="17882" y="7466"/>
                  </a:lnTo>
                  <a:lnTo>
                    <a:pt x="17891" y="7466"/>
                  </a:lnTo>
                  <a:lnTo>
                    <a:pt x="17891" y="7474"/>
                  </a:lnTo>
                  <a:lnTo>
                    <a:pt x="17900" y="7483"/>
                  </a:lnTo>
                  <a:lnTo>
                    <a:pt x="17908" y="7492"/>
                  </a:lnTo>
                  <a:lnTo>
                    <a:pt x="17917" y="7510"/>
                  </a:lnTo>
                  <a:lnTo>
                    <a:pt x="17926" y="7518"/>
                  </a:lnTo>
                  <a:lnTo>
                    <a:pt x="17935" y="7536"/>
                  </a:lnTo>
                  <a:lnTo>
                    <a:pt x="17935" y="7563"/>
                  </a:lnTo>
                  <a:lnTo>
                    <a:pt x="17953" y="7589"/>
                  </a:lnTo>
                  <a:lnTo>
                    <a:pt x="17953" y="7598"/>
                  </a:lnTo>
                  <a:lnTo>
                    <a:pt x="17961" y="7607"/>
                  </a:lnTo>
                  <a:lnTo>
                    <a:pt x="17961" y="7616"/>
                  </a:lnTo>
                  <a:lnTo>
                    <a:pt x="17970" y="7624"/>
                  </a:lnTo>
                  <a:lnTo>
                    <a:pt x="17979" y="7651"/>
                  </a:lnTo>
                  <a:lnTo>
                    <a:pt x="17970" y="7651"/>
                  </a:lnTo>
                  <a:lnTo>
                    <a:pt x="17970" y="7642"/>
                  </a:lnTo>
                  <a:lnTo>
                    <a:pt x="17970" y="7633"/>
                  </a:lnTo>
                  <a:lnTo>
                    <a:pt x="17961" y="7624"/>
                  </a:lnTo>
                  <a:lnTo>
                    <a:pt x="17961" y="7642"/>
                  </a:lnTo>
                  <a:lnTo>
                    <a:pt x="17970" y="7660"/>
                  </a:lnTo>
                  <a:lnTo>
                    <a:pt x="17970" y="7677"/>
                  </a:lnTo>
                  <a:lnTo>
                    <a:pt x="17979" y="7677"/>
                  </a:lnTo>
                  <a:lnTo>
                    <a:pt x="17979" y="7686"/>
                  </a:lnTo>
                  <a:lnTo>
                    <a:pt x="17988" y="7695"/>
                  </a:lnTo>
                  <a:lnTo>
                    <a:pt x="17988" y="7704"/>
                  </a:lnTo>
                  <a:lnTo>
                    <a:pt x="18014" y="7739"/>
                  </a:lnTo>
                  <a:lnTo>
                    <a:pt x="18023" y="7739"/>
                  </a:lnTo>
                  <a:lnTo>
                    <a:pt x="18041" y="7757"/>
                  </a:lnTo>
                  <a:lnTo>
                    <a:pt x="18058" y="7757"/>
                  </a:lnTo>
                  <a:lnTo>
                    <a:pt x="18076" y="7748"/>
                  </a:lnTo>
                  <a:lnTo>
                    <a:pt x="18094" y="7739"/>
                  </a:lnTo>
                  <a:lnTo>
                    <a:pt x="18103" y="7730"/>
                  </a:lnTo>
                  <a:lnTo>
                    <a:pt x="18103" y="7713"/>
                  </a:lnTo>
                  <a:lnTo>
                    <a:pt x="18103" y="7704"/>
                  </a:lnTo>
                  <a:lnTo>
                    <a:pt x="18111" y="7695"/>
                  </a:lnTo>
                  <a:lnTo>
                    <a:pt x="18120" y="7686"/>
                  </a:lnTo>
                  <a:lnTo>
                    <a:pt x="18164" y="7668"/>
                  </a:lnTo>
                  <a:lnTo>
                    <a:pt x="18182" y="7677"/>
                  </a:lnTo>
                  <a:lnTo>
                    <a:pt x="18191" y="7677"/>
                  </a:lnTo>
                  <a:lnTo>
                    <a:pt x="18182" y="7668"/>
                  </a:lnTo>
                  <a:lnTo>
                    <a:pt x="18173" y="7668"/>
                  </a:lnTo>
                  <a:lnTo>
                    <a:pt x="18164" y="7668"/>
                  </a:lnTo>
                  <a:lnTo>
                    <a:pt x="18164" y="7660"/>
                  </a:lnTo>
                  <a:lnTo>
                    <a:pt x="18155" y="7660"/>
                  </a:lnTo>
                  <a:lnTo>
                    <a:pt x="18155" y="7651"/>
                  </a:lnTo>
                  <a:lnTo>
                    <a:pt x="18164" y="7642"/>
                  </a:lnTo>
                  <a:lnTo>
                    <a:pt x="18182" y="7616"/>
                  </a:lnTo>
                  <a:lnTo>
                    <a:pt x="18182" y="7607"/>
                  </a:lnTo>
                  <a:lnTo>
                    <a:pt x="18191" y="7598"/>
                  </a:lnTo>
                  <a:lnTo>
                    <a:pt x="18200" y="7598"/>
                  </a:lnTo>
                  <a:lnTo>
                    <a:pt x="18208" y="7598"/>
                  </a:lnTo>
                  <a:lnTo>
                    <a:pt x="18217" y="7598"/>
                  </a:lnTo>
                  <a:lnTo>
                    <a:pt x="18226" y="7598"/>
                  </a:lnTo>
                  <a:lnTo>
                    <a:pt x="18226" y="7563"/>
                  </a:lnTo>
                  <a:lnTo>
                    <a:pt x="18226" y="7527"/>
                  </a:lnTo>
                  <a:lnTo>
                    <a:pt x="18226" y="7518"/>
                  </a:lnTo>
                  <a:lnTo>
                    <a:pt x="18217" y="7518"/>
                  </a:lnTo>
                  <a:lnTo>
                    <a:pt x="18226" y="7510"/>
                  </a:lnTo>
                  <a:lnTo>
                    <a:pt x="18217" y="7501"/>
                  </a:lnTo>
                  <a:lnTo>
                    <a:pt x="18217" y="7492"/>
                  </a:lnTo>
                  <a:lnTo>
                    <a:pt x="18226" y="7474"/>
                  </a:lnTo>
                  <a:lnTo>
                    <a:pt x="18235" y="7457"/>
                  </a:lnTo>
                  <a:lnTo>
                    <a:pt x="18244" y="7448"/>
                  </a:lnTo>
                  <a:lnTo>
                    <a:pt x="18252" y="7439"/>
                  </a:lnTo>
                  <a:lnTo>
                    <a:pt x="18252" y="7421"/>
                  </a:lnTo>
                  <a:lnTo>
                    <a:pt x="18261" y="7368"/>
                  </a:lnTo>
                  <a:lnTo>
                    <a:pt x="18261" y="7360"/>
                  </a:lnTo>
                  <a:lnTo>
                    <a:pt x="18244" y="7360"/>
                  </a:lnTo>
                  <a:lnTo>
                    <a:pt x="18244" y="7351"/>
                  </a:lnTo>
                  <a:lnTo>
                    <a:pt x="18252" y="7342"/>
                  </a:lnTo>
                  <a:lnTo>
                    <a:pt x="18252" y="7351"/>
                  </a:lnTo>
                  <a:lnTo>
                    <a:pt x="18261" y="7360"/>
                  </a:lnTo>
                  <a:lnTo>
                    <a:pt x="18252" y="7342"/>
                  </a:lnTo>
                  <a:lnTo>
                    <a:pt x="18252" y="7333"/>
                  </a:lnTo>
                  <a:lnTo>
                    <a:pt x="18252" y="7315"/>
                  </a:lnTo>
                  <a:lnTo>
                    <a:pt x="18244" y="7307"/>
                  </a:lnTo>
                  <a:lnTo>
                    <a:pt x="18244" y="7298"/>
                  </a:lnTo>
                  <a:lnTo>
                    <a:pt x="18252" y="7298"/>
                  </a:lnTo>
                  <a:lnTo>
                    <a:pt x="18252" y="7289"/>
                  </a:lnTo>
                  <a:lnTo>
                    <a:pt x="18252" y="7280"/>
                  </a:lnTo>
                  <a:lnTo>
                    <a:pt x="18244" y="7263"/>
                  </a:lnTo>
                  <a:lnTo>
                    <a:pt x="18244" y="7245"/>
                  </a:lnTo>
                  <a:lnTo>
                    <a:pt x="18244" y="7227"/>
                  </a:lnTo>
                  <a:lnTo>
                    <a:pt x="18261" y="7192"/>
                  </a:lnTo>
                  <a:lnTo>
                    <a:pt x="18270" y="7192"/>
                  </a:lnTo>
                  <a:lnTo>
                    <a:pt x="18288" y="7183"/>
                  </a:lnTo>
                  <a:lnTo>
                    <a:pt x="18297" y="7183"/>
                  </a:lnTo>
                  <a:lnTo>
                    <a:pt x="18297" y="7192"/>
                  </a:lnTo>
                  <a:lnTo>
                    <a:pt x="18305" y="7192"/>
                  </a:lnTo>
                  <a:lnTo>
                    <a:pt x="18314" y="7183"/>
                  </a:lnTo>
                  <a:lnTo>
                    <a:pt x="18323" y="7174"/>
                  </a:lnTo>
                  <a:lnTo>
                    <a:pt x="18332" y="7157"/>
                  </a:lnTo>
                  <a:lnTo>
                    <a:pt x="18332" y="7148"/>
                  </a:lnTo>
                  <a:lnTo>
                    <a:pt x="18341" y="7148"/>
                  </a:lnTo>
                  <a:lnTo>
                    <a:pt x="18367" y="7148"/>
                  </a:lnTo>
                  <a:lnTo>
                    <a:pt x="18394" y="7139"/>
                  </a:lnTo>
                  <a:lnTo>
                    <a:pt x="18402" y="7130"/>
                  </a:lnTo>
                  <a:lnTo>
                    <a:pt x="18411" y="7121"/>
                  </a:lnTo>
                  <a:lnTo>
                    <a:pt x="18411" y="7112"/>
                  </a:lnTo>
                  <a:lnTo>
                    <a:pt x="18411" y="7104"/>
                  </a:lnTo>
                  <a:lnTo>
                    <a:pt x="18402" y="7104"/>
                  </a:lnTo>
                  <a:lnTo>
                    <a:pt x="18402" y="7095"/>
                  </a:lnTo>
                  <a:lnTo>
                    <a:pt x="18411" y="7086"/>
                  </a:lnTo>
                  <a:lnTo>
                    <a:pt x="18429" y="7077"/>
                  </a:lnTo>
                  <a:lnTo>
                    <a:pt x="18455" y="7060"/>
                  </a:lnTo>
                  <a:lnTo>
                    <a:pt x="18473" y="7051"/>
                  </a:lnTo>
                  <a:lnTo>
                    <a:pt x="18491" y="7042"/>
                  </a:lnTo>
                  <a:lnTo>
                    <a:pt x="18500" y="7024"/>
                  </a:lnTo>
                  <a:lnTo>
                    <a:pt x="18508" y="7015"/>
                  </a:lnTo>
                  <a:lnTo>
                    <a:pt x="18544" y="6998"/>
                  </a:lnTo>
                  <a:lnTo>
                    <a:pt x="18544" y="6989"/>
                  </a:lnTo>
                  <a:lnTo>
                    <a:pt x="18561" y="6971"/>
                  </a:lnTo>
                  <a:lnTo>
                    <a:pt x="18579" y="6954"/>
                  </a:lnTo>
                  <a:lnTo>
                    <a:pt x="18579" y="6945"/>
                  </a:lnTo>
                  <a:lnTo>
                    <a:pt x="18588" y="6945"/>
                  </a:lnTo>
                  <a:lnTo>
                    <a:pt x="18588" y="6936"/>
                  </a:lnTo>
                  <a:lnTo>
                    <a:pt x="18623" y="6909"/>
                  </a:lnTo>
                  <a:lnTo>
                    <a:pt x="18641" y="6901"/>
                  </a:lnTo>
                  <a:lnTo>
                    <a:pt x="18632" y="6892"/>
                  </a:lnTo>
                  <a:lnTo>
                    <a:pt x="18623" y="6901"/>
                  </a:lnTo>
                  <a:lnTo>
                    <a:pt x="18614" y="6901"/>
                  </a:lnTo>
                  <a:lnTo>
                    <a:pt x="18623" y="6892"/>
                  </a:lnTo>
                  <a:lnTo>
                    <a:pt x="18641" y="6874"/>
                  </a:lnTo>
                  <a:lnTo>
                    <a:pt x="18641" y="6883"/>
                  </a:lnTo>
                  <a:lnTo>
                    <a:pt x="18649" y="6883"/>
                  </a:lnTo>
                  <a:lnTo>
                    <a:pt x="18649" y="6892"/>
                  </a:lnTo>
                  <a:lnTo>
                    <a:pt x="18641" y="6892"/>
                  </a:lnTo>
                  <a:lnTo>
                    <a:pt x="18649" y="6892"/>
                  </a:lnTo>
                  <a:lnTo>
                    <a:pt x="18667" y="6883"/>
                  </a:lnTo>
                  <a:lnTo>
                    <a:pt x="18694" y="6874"/>
                  </a:lnTo>
                  <a:lnTo>
                    <a:pt x="18702" y="6874"/>
                  </a:lnTo>
                  <a:lnTo>
                    <a:pt x="18694" y="6865"/>
                  </a:lnTo>
                  <a:lnTo>
                    <a:pt x="18702" y="6865"/>
                  </a:lnTo>
                  <a:lnTo>
                    <a:pt x="18702" y="6874"/>
                  </a:lnTo>
                  <a:lnTo>
                    <a:pt x="18711" y="6865"/>
                  </a:lnTo>
                  <a:lnTo>
                    <a:pt x="18711" y="6857"/>
                  </a:lnTo>
                  <a:lnTo>
                    <a:pt x="18738" y="6848"/>
                  </a:lnTo>
                  <a:lnTo>
                    <a:pt x="18738" y="6839"/>
                  </a:lnTo>
                  <a:lnTo>
                    <a:pt x="18738" y="6830"/>
                  </a:lnTo>
                  <a:lnTo>
                    <a:pt x="18747" y="6821"/>
                  </a:lnTo>
                  <a:lnTo>
                    <a:pt x="18747" y="6812"/>
                  </a:lnTo>
                  <a:lnTo>
                    <a:pt x="18747" y="6795"/>
                  </a:lnTo>
                  <a:lnTo>
                    <a:pt x="18738" y="6786"/>
                  </a:lnTo>
                  <a:lnTo>
                    <a:pt x="18738" y="6777"/>
                  </a:lnTo>
                  <a:lnTo>
                    <a:pt x="18747" y="6768"/>
                  </a:lnTo>
                  <a:lnTo>
                    <a:pt x="18755" y="6759"/>
                  </a:lnTo>
                  <a:lnTo>
                    <a:pt x="18764" y="6751"/>
                  </a:lnTo>
                  <a:lnTo>
                    <a:pt x="18799" y="6742"/>
                  </a:lnTo>
                  <a:lnTo>
                    <a:pt x="18808" y="6742"/>
                  </a:lnTo>
                  <a:lnTo>
                    <a:pt x="18826" y="6733"/>
                  </a:lnTo>
                  <a:lnTo>
                    <a:pt x="18826" y="6715"/>
                  </a:lnTo>
                  <a:lnTo>
                    <a:pt x="18835" y="6715"/>
                  </a:lnTo>
                  <a:lnTo>
                    <a:pt x="18835" y="6706"/>
                  </a:lnTo>
                  <a:lnTo>
                    <a:pt x="18826" y="6698"/>
                  </a:lnTo>
                  <a:lnTo>
                    <a:pt x="18817" y="6689"/>
                  </a:lnTo>
                  <a:lnTo>
                    <a:pt x="18826" y="6698"/>
                  </a:lnTo>
                  <a:lnTo>
                    <a:pt x="18835" y="6698"/>
                  </a:lnTo>
                  <a:lnTo>
                    <a:pt x="18844" y="6706"/>
                  </a:lnTo>
                  <a:lnTo>
                    <a:pt x="18835" y="6715"/>
                  </a:lnTo>
                  <a:lnTo>
                    <a:pt x="18835" y="6733"/>
                  </a:lnTo>
                  <a:lnTo>
                    <a:pt x="18826" y="6742"/>
                  </a:lnTo>
                  <a:lnTo>
                    <a:pt x="18835" y="6742"/>
                  </a:lnTo>
                  <a:lnTo>
                    <a:pt x="18844" y="6751"/>
                  </a:lnTo>
                  <a:lnTo>
                    <a:pt x="18844" y="6742"/>
                  </a:lnTo>
                  <a:lnTo>
                    <a:pt x="18844" y="6733"/>
                  </a:lnTo>
                  <a:lnTo>
                    <a:pt x="18852" y="6742"/>
                  </a:lnTo>
                  <a:lnTo>
                    <a:pt x="18861" y="6751"/>
                  </a:lnTo>
                  <a:lnTo>
                    <a:pt x="18870" y="6742"/>
                  </a:lnTo>
                  <a:lnTo>
                    <a:pt x="18870" y="6733"/>
                  </a:lnTo>
                  <a:lnTo>
                    <a:pt x="18870" y="6706"/>
                  </a:lnTo>
                  <a:lnTo>
                    <a:pt x="18870" y="6715"/>
                  </a:lnTo>
                  <a:lnTo>
                    <a:pt x="18879" y="6715"/>
                  </a:lnTo>
                  <a:lnTo>
                    <a:pt x="18879" y="6742"/>
                  </a:lnTo>
                  <a:lnTo>
                    <a:pt x="18879" y="6751"/>
                  </a:lnTo>
                  <a:lnTo>
                    <a:pt x="18888" y="6742"/>
                  </a:lnTo>
                  <a:lnTo>
                    <a:pt x="18888" y="6733"/>
                  </a:lnTo>
                  <a:lnTo>
                    <a:pt x="18897" y="6742"/>
                  </a:lnTo>
                  <a:lnTo>
                    <a:pt x="18905" y="6742"/>
                  </a:lnTo>
                  <a:lnTo>
                    <a:pt x="18905" y="6733"/>
                  </a:lnTo>
                  <a:lnTo>
                    <a:pt x="18897" y="6733"/>
                  </a:lnTo>
                  <a:lnTo>
                    <a:pt x="18897" y="6724"/>
                  </a:lnTo>
                  <a:lnTo>
                    <a:pt x="18905" y="6724"/>
                  </a:lnTo>
                  <a:lnTo>
                    <a:pt x="18905" y="6706"/>
                  </a:lnTo>
                  <a:lnTo>
                    <a:pt x="18905" y="6715"/>
                  </a:lnTo>
                  <a:lnTo>
                    <a:pt x="18905" y="6724"/>
                  </a:lnTo>
                  <a:lnTo>
                    <a:pt x="18914" y="6733"/>
                  </a:lnTo>
                  <a:lnTo>
                    <a:pt x="18914" y="6742"/>
                  </a:lnTo>
                  <a:lnTo>
                    <a:pt x="18923" y="6742"/>
                  </a:lnTo>
                  <a:lnTo>
                    <a:pt x="18932" y="6733"/>
                  </a:lnTo>
                  <a:lnTo>
                    <a:pt x="18932" y="6724"/>
                  </a:lnTo>
                  <a:lnTo>
                    <a:pt x="18932" y="6715"/>
                  </a:lnTo>
                  <a:lnTo>
                    <a:pt x="18932" y="6698"/>
                  </a:lnTo>
                  <a:lnTo>
                    <a:pt x="18941" y="6715"/>
                  </a:lnTo>
                  <a:lnTo>
                    <a:pt x="18941" y="6724"/>
                  </a:lnTo>
                  <a:lnTo>
                    <a:pt x="18941" y="6733"/>
                  </a:lnTo>
                  <a:lnTo>
                    <a:pt x="18949" y="6733"/>
                  </a:lnTo>
                  <a:lnTo>
                    <a:pt x="18949" y="6724"/>
                  </a:lnTo>
                  <a:lnTo>
                    <a:pt x="18958" y="6724"/>
                  </a:lnTo>
                  <a:lnTo>
                    <a:pt x="18958" y="6715"/>
                  </a:lnTo>
                  <a:lnTo>
                    <a:pt x="18958" y="6706"/>
                  </a:lnTo>
                  <a:lnTo>
                    <a:pt x="18967" y="6706"/>
                  </a:lnTo>
                  <a:lnTo>
                    <a:pt x="18958" y="6698"/>
                  </a:lnTo>
                  <a:lnTo>
                    <a:pt x="18967" y="6689"/>
                  </a:lnTo>
                  <a:lnTo>
                    <a:pt x="18976" y="6680"/>
                  </a:lnTo>
                  <a:lnTo>
                    <a:pt x="18967" y="6698"/>
                  </a:lnTo>
                  <a:lnTo>
                    <a:pt x="18967" y="6706"/>
                  </a:lnTo>
                  <a:lnTo>
                    <a:pt x="18967" y="6715"/>
                  </a:lnTo>
                  <a:lnTo>
                    <a:pt x="18976" y="6706"/>
                  </a:lnTo>
                  <a:lnTo>
                    <a:pt x="18985" y="6706"/>
                  </a:lnTo>
                  <a:lnTo>
                    <a:pt x="18976" y="6715"/>
                  </a:lnTo>
                  <a:lnTo>
                    <a:pt x="18976" y="6724"/>
                  </a:lnTo>
                  <a:lnTo>
                    <a:pt x="18985" y="6733"/>
                  </a:lnTo>
                  <a:lnTo>
                    <a:pt x="18994" y="6733"/>
                  </a:lnTo>
                  <a:lnTo>
                    <a:pt x="18994" y="6724"/>
                  </a:lnTo>
                  <a:lnTo>
                    <a:pt x="19002" y="6715"/>
                  </a:lnTo>
                  <a:lnTo>
                    <a:pt x="19011" y="6706"/>
                  </a:lnTo>
                  <a:lnTo>
                    <a:pt x="19011" y="6698"/>
                  </a:lnTo>
                  <a:lnTo>
                    <a:pt x="19020" y="6698"/>
                  </a:lnTo>
                  <a:lnTo>
                    <a:pt x="19020" y="6689"/>
                  </a:lnTo>
                  <a:lnTo>
                    <a:pt x="19020" y="6680"/>
                  </a:lnTo>
                  <a:lnTo>
                    <a:pt x="19011" y="6680"/>
                  </a:lnTo>
                  <a:lnTo>
                    <a:pt x="19011" y="6671"/>
                  </a:lnTo>
                  <a:lnTo>
                    <a:pt x="19011" y="6662"/>
                  </a:lnTo>
                  <a:lnTo>
                    <a:pt x="19002" y="6662"/>
                  </a:lnTo>
                  <a:lnTo>
                    <a:pt x="19002" y="6654"/>
                  </a:lnTo>
                  <a:lnTo>
                    <a:pt x="19011" y="6645"/>
                  </a:lnTo>
                  <a:lnTo>
                    <a:pt x="19011" y="6636"/>
                  </a:lnTo>
                  <a:lnTo>
                    <a:pt x="19020" y="6627"/>
                  </a:lnTo>
                  <a:lnTo>
                    <a:pt x="19020" y="6618"/>
                  </a:lnTo>
                  <a:lnTo>
                    <a:pt x="19011" y="6618"/>
                  </a:lnTo>
                  <a:lnTo>
                    <a:pt x="19002" y="6609"/>
                  </a:lnTo>
                  <a:lnTo>
                    <a:pt x="18994" y="6609"/>
                  </a:lnTo>
                  <a:lnTo>
                    <a:pt x="19002" y="6609"/>
                  </a:lnTo>
                  <a:lnTo>
                    <a:pt x="19011" y="6609"/>
                  </a:lnTo>
                  <a:lnTo>
                    <a:pt x="19011" y="6602"/>
                  </a:lnTo>
                  <a:lnTo>
                    <a:pt x="19011" y="6593"/>
                  </a:lnTo>
                  <a:lnTo>
                    <a:pt x="19020" y="6593"/>
                  </a:lnTo>
                  <a:lnTo>
                    <a:pt x="19020" y="6602"/>
                  </a:lnTo>
                  <a:lnTo>
                    <a:pt x="19020" y="6609"/>
                  </a:lnTo>
                  <a:lnTo>
                    <a:pt x="19020" y="6618"/>
                  </a:lnTo>
                  <a:lnTo>
                    <a:pt x="19020" y="6636"/>
                  </a:lnTo>
                  <a:lnTo>
                    <a:pt x="19038" y="6662"/>
                  </a:lnTo>
                  <a:lnTo>
                    <a:pt x="19046" y="6671"/>
                  </a:lnTo>
                  <a:lnTo>
                    <a:pt x="19055" y="6671"/>
                  </a:lnTo>
                  <a:lnTo>
                    <a:pt x="19064" y="6671"/>
                  </a:lnTo>
                  <a:lnTo>
                    <a:pt x="19073" y="6662"/>
                  </a:lnTo>
                  <a:lnTo>
                    <a:pt x="19073" y="6654"/>
                  </a:lnTo>
                  <a:lnTo>
                    <a:pt x="19082" y="6654"/>
                  </a:lnTo>
                  <a:lnTo>
                    <a:pt x="19082" y="6662"/>
                  </a:lnTo>
                  <a:lnTo>
                    <a:pt x="19099" y="6680"/>
                  </a:lnTo>
                  <a:lnTo>
                    <a:pt x="19099" y="6689"/>
                  </a:lnTo>
                  <a:lnTo>
                    <a:pt x="19108" y="6698"/>
                  </a:lnTo>
                  <a:lnTo>
                    <a:pt x="19108" y="6689"/>
                  </a:lnTo>
                  <a:lnTo>
                    <a:pt x="19108" y="6698"/>
                  </a:lnTo>
                  <a:lnTo>
                    <a:pt x="19108" y="6706"/>
                  </a:lnTo>
                  <a:lnTo>
                    <a:pt x="19117" y="6724"/>
                  </a:lnTo>
                  <a:lnTo>
                    <a:pt x="19117" y="6742"/>
                  </a:lnTo>
                  <a:lnTo>
                    <a:pt x="19117" y="6751"/>
                  </a:lnTo>
                  <a:lnTo>
                    <a:pt x="19126" y="6777"/>
                  </a:lnTo>
                  <a:lnTo>
                    <a:pt x="19135" y="6795"/>
                  </a:lnTo>
                  <a:lnTo>
                    <a:pt x="19135" y="6804"/>
                  </a:lnTo>
                  <a:lnTo>
                    <a:pt x="19144" y="6812"/>
                  </a:lnTo>
                  <a:lnTo>
                    <a:pt x="19161" y="6839"/>
                  </a:lnTo>
                  <a:lnTo>
                    <a:pt x="19170" y="6848"/>
                  </a:lnTo>
                  <a:lnTo>
                    <a:pt x="19170" y="6839"/>
                  </a:lnTo>
                  <a:lnTo>
                    <a:pt x="19170" y="6830"/>
                  </a:lnTo>
                  <a:lnTo>
                    <a:pt x="19179" y="6839"/>
                  </a:lnTo>
                  <a:lnTo>
                    <a:pt x="19188" y="6848"/>
                  </a:lnTo>
                  <a:lnTo>
                    <a:pt x="19179" y="6848"/>
                  </a:lnTo>
                  <a:lnTo>
                    <a:pt x="19179" y="6857"/>
                  </a:lnTo>
                  <a:lnTo>
                    <a:pt x="19188" y="6857"/>
                  </a:lnTo>
                  <a:lnTo>
                    <a:pt x="19196" y="6848"/>
                  </a:lnTo>
                  <a:lnTo>
                    <a:pt x="19196" y="6839"/>
                  </a:lnTo>
                  <a:lnTo>
                    <a:pt x="19196" y="6857"/>
                  </a:lnTo>
                  <a:lnTo>
                    <a:pt x="19196" y="6865"/>
                  </a:lnTo>
                  <a:lnTo>
                    <a:pt x="19205" y="6883"/>
                  </a:lnTo>
                  <a:lnTo>
                    <a:pt x="19205" y="6874"/>
                  </a:lnTo>
                  <a:lnTo>
                    <a:pt x="19205" y="6865"/>
                  </a:lnTo>
                  <a:lnTo>
                    <a:pt x="19214" y="6865"/>
                  </a:lnTo>
                  <a:lnTo>
                    <a:pt x="19223" y="6865"/>
                  </a:lnTo>
                  <a:lnTo>
                    <a:pt x="19232" y="6874"/>
                  </a:lnTo>
                  <a:lnTo>
                    <a:pt x="19249" y="6874"/>
                  </a:lnTo>
                  <a:lnTo>
                    <a:pt x="19241" y="6883"/>
                  </a:lnTo>
                  <a:lnTo>
                    <a:pt x="19241" y="6892"/>
                  </a:lnTo>
                  <a:lnTo>
                    <a:pt x="19249" y="6892"/>
                  </a:lnTo>
                  <a:lnTo>
                    <a:pt x="19249" y="6901"/>
                  </a:lnTo>
                  <a:lnTo>
                    <a:pt x="19258" y="6909"/>
                  </a:lnTo>
                  <a:lnTo>
                    <a:pt x="19267" y="6909"/>
                  </a:lnTo>
                  <a:lnTo>
                    <a:pt x="19267" y="6918"/>
                  </a:lnTo>
                  <a:lnTo>
                    <a:pt x="19258" y="6927"/>
                  </a:lnTo>
                  <a:lnTo>
                    <a:pt x="19249" y="6927"/>
                  </a:lnTo>
                  <a:lnTo>
                    <a:pt x="19232" y="6918"/>
                  </a:lnTo>
                  <a:lnTo>
                    <a:pt x="19241" y="6936"/>
                  </a:lnTo>
                  <a:lnTo>
                    <a:pt x="19249" y="6945"/>
                  </a:lnTo>
                  <a:lnTo>
                    <a:pt x="19249" y="6954"/>
                  </a:lnTo>
                  <a:lnTo>
                    <a:pt x="19258" y="6954"/>
                  </a:lnTo>
                  <a:lnTo>
                    <a:pt x="19267" y="6954"/>
                  </a:lnTo>
                  <a:lnTo>
                    <a:pt x="19267" y="6945"/>
                  </a:lnTo>
                  <a:lnTo>
                    <a:pt x="19258" y="6936"/>
                  </a:lnTo>
                  <a:lnTo>
                    <a:pt x="19267" y="6936"/>
                  </a:lnTo>
                  <a:lnTo>
                    <a:pt x="19267" y="6927"/>
                  </a:lnTo>
                  <a:lnTo>
                    <a:pt x="19267" y="6936"/>
                  </a:lnTo>
                  <a:lnTo>
                    <a:pt x="19276" y="6954"/>
                  </a:lnTo>
                  <a:lnTo>
                    <a:pt x="19285" y="6962"/>
                  </a:lnTo>
                  <a:lnTo>
                    <a:pt x="19276" y="6962"/>
                  </a:lnTo>
                  <a:lnTo>
                    <a:pt x="19285" y="6980"/>
                  </a:lnTo>
                  <a:lnTo>
                    <a:pt x="19302" y="7007"/>
                  </a:lnTo>
                  <a:lnTo>
                    <a:pt x="19302" y="7033"/>
                  </a:lnTo>
                  <a:lnTo>
                    <a:pt x="19311" y="7042"/>
                  </a:lnTo>
                  <a:lnTo>
                    <a:pt x="19311" y="7051"/>
                  </a:lnTo>
                  <a:lnTo>
                    <a:pt x="19311" y="7077"/>
                  </a:lnTo>
                  <a:lnTo>
                    <a:pt x="19302" y="7086"/>
                  </a:lnTo>
                  <a:lnTo>
                    <a:pt x="19302" y="7104"/>
                  </a:lnTo>
                  <a:lnTo>
                    <a:pt x="19294" y="7104"/>
                  </a:lnTo>
                  <a:lnTo>
                    <a:pt x="19294" y="7121"/>
                  </a:lnTo>
                  <a:lnTo>
                    <a:pt x="19294" y="7130"/>
                  </a:lnTo>
                  <a:lnTo>
                    <a:pt x="19285" y="7130"/>
                  </a:lnTo>
                  <a:lnTo>
                    <a:pt x="19285" y="7165"/>
                  </a:lnTo>
                  <a:lnTo>
                    <a:pt x="19285" y="7174"/>
                  </a:lnTo>
                  <a:lnTo>
                    <a:pt x="19302" y="7165"/>
                  </a:lnTo>
                  <a:lnTo>
                    <a:pt x="19302" y="7157"/>
                  </a:lnTo>
                  <a:lnTo>
                    <a:pt x="19311" y="7148"/>
                  </a:lnTo>
                  <a:lnTo>
                    <a:pt x="19320" y="7148"/>
                  </a:lnTo>
                  <a:lnTo>
                    <a:pt x="19320" y="7139"/>
                  </a:lnTo>
                  <a:lnTo>
                    <a:pt x="19320" y="7130"/>
                  </a:lnTo>
                  <a:lnTo>
                    <a:pt x="19320" y="7139"/>
                  </a:lnTo>
                  <a:lnTo>
                    <a:pt x="19320" y="7157"/>
                  </a:lnTo>
                  <a:lnTo>
                    <a:pt x="19320" y="7165"/>
                  </a:lnTo>
                  <a:lnTo>
                    <a:pt x="19311" y="7165"/>
                  </a:lnTo>
                  <a:lnTo>
                    <a:pt x="19311" y="7174"/>
                  </a:lnTo>
                  <a:lnTo>
                    <a:pt x="19311" y="7183"/>
                  </a:lnTo>
                  <a:lnTo>
                    <a:pt x="19329" y="7174"/>
                  </a:lnTo>
                  <a:lnTo>
                    <a:pt x="19329" y="7165"/>
                  </a:lnTo>
                  <a:lnTo>
                    <a:pt x="19329" y="7157"/>
                  </a:lnTo>
                  <a:lnTo>
                    <a:pt x="19329" y="7165"/>
                  </a:lnTo>
                  <a:lnTo>
                    <a:pt x="19329" y="7174"/>
                  </a:lnTo>
                  <a:lnTo>
                    <a:pt x="19338" y="7183"/>
                  </a:lnTo>
                  <a:lnTo>
                    <a:pt x="19346" y="7183"/>
                  </a:lnTo>
                  <a:lnTo>
                    <a:pt x="19355" y="7183"/>
                  </a:lnTo>
                  <a:lnTo>
                    <a:pt x="19364" y="7174"/>
                  </a:lnTo>
                  <a:lnTo>
                    <a:pt x="19364" y="7165"/>
                  </a:lnTo>
                  <a:lnTo>
                    <a:pt x="19364" y="7174"/>
                  </a:lnTo>
                  <a:lnTo>
                    <a:pt x="19364" y="7183"/>
                  </a:lnTo>
                  <a:lnTo>
                    <a:pt x="19364" y="7192"/>
                  </a:lnTo>
                  <a:lnTo>
                    <a:pt x="19373" y="7192"/>
                  </a:lnTo>
                  <a:lnTo>
                    <a:pt x="19382" y="7183"/>
                  </a:lnTo>
                  <a:lnTo>
                    <a:pt x="19391" y="7174"/>
                  </a:lnTo>
                  <a:lnTo>
                    <a:pt x="19391" y="7165"/>
                  </a:lnTo>
                  <a:lnTo>
                    <a:pt x="19399" y="7157"/>
                  </a:lnTo>
                  <a:lnTo>
                    <a:pt x="19417" y="7157"/>
                  </a:lnTo>
                  <a:lnTo>
                    <a:pt x="19417" y="7148"/>
                  </a:lnTo>
                  <a:lnTo>
                    <a:pt x="19426" y="7148"/>
                  </a:lnTo>
                  <a:lnTo>
                    <a:pt x="19435" y="7139"/>
                  </a:lnTo>
                  <a:lnTo>
                    <a:pt x="19435" y="7130"/>
                  </a:lnTo>
                  <a:lnTo>
                    <a:pt x="19435" y="7121"/>
                  </a:lnTo>
                  <a:lnTo>
                    <a:pt x="19426" y="7112"/>
                  </a:lnTo>
                  <a:lnTo>
                    <a:pt x="19435" y="7112"/>
                  </a:lnTo>
                  <a:lnTo>
                    <a:pt x="19435" y="7121"/>
                  </a:lnTo>
                  <a:lnTo>
                    <a:pt x="19435" y="7130"/>
                  </a:lnTo>
                  <a:lnTo>
                    <a:pt x="19444" y="7130"/>
                  </a:lnTo>
                  <a:lnTo>
                    <a:pt x="19452" y="7130"/>
                  </a:lnTo>
                  <a:lnTo>
                    <a:pt x="19461" y="7130"/>
                  </a:lnTo>
                  <a:lnTo>
                    <a:pt x="19470" y="7121"/>
                  </a:lnTo>
                  <a:lnTo>
                    <a:pt x="19470" y="7112"/>
                  </a:lnTo>
                  <a:lnTo>
                    <a:pt x="19479" y="7104"/>
                  </a:lnTo>
                  <a:lnTo>
                    <a:pt x="19479" y="7095"/>
                  </a:lnTo>
                  <a:lnTo>
                    <a:pt x="19479" y="7086"/>
                  </a:lnTo>
                  <a:lnTo>
                    <a:pt x="19479" y="7077"/>
                  </a:lnTo>
                  <a:lnTo>
                    <a:pt x="19479" y="7068"/>
                  </a:lnTo>
                  <a:lnTo>
                    <a:pt x="19488" y="7077"/>
                  </a:lnTo>
                  <a:lnTo>
                    <a:pt x="19496" y="7086"/>
                  </a:lnTo>
                  <a:lnTo>
                    <a:pt x="19505" y="7086"/>
                  </a:lnTo>
                  <a:lnTo>
                    <a:pt x="19496" y="7095"/>
                  </a:lnTo>
                  <a:lnTo>
                    <a:pt x="19505" y="7104"/>
                  </a:lnTo>
                  <a:lnTo>
                    <a:pt x="19505" y="7112"/>
                  </a:lnTo>
                  <a:lnTo>
                    <a:pt x="19514" y="7121"/>
                  </a:lnTo>
                  <a:lnTo>
                    <a:pt x="19514" y="7130"/>
                  </a:lnTo>
                  <a:lnTo>
                    <a:pt x="19523" y="7130"/>
                  </a:lnTo>
                  <a:lnTo>
                    <a:pt x="19532" y="7130"/>
                  </a:lnTo>
                  <a:lnTo>
                    <a:pt x="19541" y="7130"/>
                  </a:lnTo>
                  <a:lnTo>
                    <a:pt x="19532" y="7130"/>
                  </a:lnTo>
                  <a:lnTo>
                    <a:pt x="19532" y="7139"/>
                  </a:lnTo>
                  <a:lnTo>
                    <a:pt x="19532" y="7157"/>
                  </a:lnTo>
                  <a:lnTo>
                    <a:pt x="19532" y="7165"/>
                  </a:lnTo>
                  <a:lnTo>
                    <a:pt x="19532" y="7174"/>
                  </a:lnTo>
                  <a:lnTo>
                    <a:pt x="19541" y="7183"/>
                  </a:lnTo>
                  <a:lnTo>
                    <a:pt x="19541" y="7218"/>
                  </a:lnTo>
                  <a:lnTo>
                    <a:pt x="19541" y="7227"/>
                  </a:lnTo>
                  <a:lnTo>
                    <a:pt x="19549" y="7236"/>
                  </a:lnTo>
                  <a:lnTo>
                    <a:pt x="19549" y="7254"/>
                  </a:lnTo>
                  <a:lnTo>
                    <a:pt x="19549" y="7263"/>
                  </a:lnTo>
                  <a:lnTo>
                    <a:pt x="19558" y="7263"/>
                  </a:lnTo>
                  <a:lnTo>
                    <a:pt x="19558" y="7271"/>
                  </a:lnTo>
                  <a:lnTo>
                    <a:pt x="19558" y="7289"/>
                  </a:lnTo>
                  <a:lnTo>
                    <a:pt x="19558" y="7298"/>
                  </a:lnTo>
                  <a:lnTo>
                    <a:pt x="19567" y="7307"/>
                  </a:lnTo>
                  <a:lnTo>
                    <a:pt x="19567" y="7324"/>
                  </a:lnTo>
                  <a:lnTo>
                    <a:pt x="19567" y="7333"/>
                  </a:lnTo>
                  <a:lnTo>
                    <a:pt x="19567" y="7342"/>
                  </a:lnTo>
                  <a:lnTo>
                    <a:pt x="19576" y="7351"/>
                  </a:lnTo>
                  <a:lnTo>
                    <a:pt x="19576" y="7324"/>
                  </a:lnTo>
                  <a:lnTo>
                    <a:pt x="19576" y="7333"/>
                  </a:lnTo>
                  <a:lnTo>
                    <a:pt x="19576" y="7342"/>
                  </a:lnTo>
                  <a:lnTo>
                    <a:pt x="19593" y="7360"/>
                  </a:lnTo>
                  <a:lnTo>
                    <a:pt x="19593" y="7377"/>
                  </a:lnTo>
                  <a:lnTo>
                    <a:pt x="19602" y="7386"/>
                  </a:lnTo>
                  <a:lnTo>
                    <a:pt x="19602" y="7395"/>
                  </a:lnTo>
                  <a:lnTo>
                    <a:pt x="19611" y="7404"/>
                  </a:lnTo>
                  <a:lnTo>
                    <a:pt x="19611" y="7413"/>
                  </a:lnTo>
                  <a:lnTo>
                    <a:pt x="19611" y="7421"/>
                  </a:lnTo>
                  <a:lnTo>
                    <a:pt x="19611" y="7430"/>
                  </a:lnTo>
                  <a:lnTo>
                    <a:pt x="19602" y="7439"/>
                  </a:lnTo>
                  <a:lnTo>
                    <a:pt x="19611" y="7448"/>
                  </a:lnTo>
                  <a:lnTo>
                    <a:pt x="19602" y="7448"/>
                  </a:lnTo>
                  <a:lnTo>
                    <a:pt x="19611" y="7457"/>
                  </a:lnTo>
                  <a:lnTo>
                    <a:pt x="19611" y="7466"/>
                  </a:lnTo>
                  <a:lnTo>
                    <a:pt x="19611" y="7474"/>
                  </a:lnTo>
                  <a:lnTo>
                    <a:pt x="19611" y="7483"/>
                  </a:lnTo>
                  <a:lnTo>
                    <a:pt x="19602" y="7483"/>
                  </a:lnTo>
                  <a:lnTo>
                    <a:pt x="19611" y="7492"/>
                  </a:lnTo>
                  <a:lnTo>
                    <a:pt x="19620" y="7483"/>
                  </a:lnTo>
                  <a:lnTo>
                    <a:pt x="19620" y="7492"/>
                  </a:lnTo>
                  <a:lnTo>
                    <a:pt x="19629" y="7492"/>
                  </a:lnTo>
                  <a:lnTo>
                    <a:pt x="19620" y="7492"/>
                  </a:lnTo>
                  <a:lnTo>
                    <a:pt x="19611" y="7501"/>
                  </a:lnTo>
                  <a:lnTo>
                    <a:pt x="19620" y="7510"/>
                  </a:lnTo>
                  <a:lnTo>
                    <a:pt x="19611" y="7510"/>
                  </a:lnTo>
                  <a:lnTo>
                    <a:pt x="19611" y="7518"/>
                  </a:lnTo>
                  <a:lnTo>
                    <a:pt x="19611" y="7527"/>
                  </a:lnTo>
                  <a:lnTo>
                    <a:pt x="19611" y="7536"/>
                  </a:lnTo>
                  <a:lnTo>
                    <a:pt x="19611" y="7545"/>
                  </a:lnTo>
                  <a:lnTo>
                    <a:pt x="19602" y="7554"/>
                  </a:lnTo>
                  <a:lnTo>
                    <a:pt x="19602" y="7563"/>
                  </a:lnTo>
                  <a:lnTo>
                    <a:pt x="19593" y="7563"/>
                  </a:lnTo>
                  <a:lnTo>
                    <a:pt x="19593" y="7571"/>
                  </a:lnTo>
                  <a:lnTo>
                    <a:pt x="19602" y="7589"/>
                  </a:lnTo>
                  <a:lnTo>
                    <a:pt x="19593" y="7607"/>
                  </a:lnTo>
                  <a:lnTo>
                    <a:pt x="19602" y="7607"/>
                  </a:lnTo>
                  <a:lnTo>
                    <a:pt x="19602" y="7616"/>
                  </a:lnTo>
                  <a:lnTo>
                    <a:pt x="19611" y="7607"/>
                  </a:lnTo>
                  <a:lnTo>
                    <a:pt x="19602" y="7633"/>
                  </a:lnTo>
                  <a:lnTo>
                    <a:pt x="19593" y="7651"/>
                  </a:lnTo>
                  <a:lnTo>
                    <a:pt x="19593" y="7660"/>
                  </a:lnTo>
                  <a:lnTo>
                    <a:pt x="19585" y="7668"/>
                  </a:lnTo>
                  <a:lnTo>
                    <a:pt x="19585" y="7695"/>
                  </a:lnTo>
                  <a:lnTo>
                    <a:pt x="19576" y="7713"/>
                  </a:lnTo>
                  <a:lnTo>
                    <a:pt x="19576" y="7721"/>
                  </a:lnTo>
                  <a:lnTo>
                    <a:pt x="19576" y="7730"/>
                  </a:lnTo>
                  <a:lnTo>
                    <a:pt x="19585" y="7748"/>
                  </a:lnTo>
                  <a:lnTo>
                    <a:pt x="19593" y="7757"/>
                  </a:lnTo>
                  <a:lnTo>
                    <a:pt x="19593" y="7748"/>
                  </a:lnTo>
                  <a:lnTo>
                    <a:pt x="19593" y="7739"/>
                  </a:lnTo>
                  <a:lnTo>
                    <a:pt x="19602" y="7739"/>
                  </a:lnTo>
                  <a:lnTo>
                    <a:pt x="19611" y="7739"/>
                  </a:lnTo>
                  <a:lnTo>
                    <a:pt x="19611" y="7748"/>
                  </a:lnTo>
                  <a:lnTo>
                    <a:pt x="19620" y="7766"/>
                  </a:lnTo>
                  <a:lnTo>
                    <a:pt x="19629" y="7766"/>
                  </a:lnTo>
                  <a:lnTo>
                    <a:pt x="19638" y="7774"/>
                  </a:lnTo>
                  <a:lnTo>
                    <a:pt x="19638" y="7783"/>
                  </a:lnTo>
                  <a:lnTo>
                    <a:pt x="19646" y="7783"/>
                  </a:lnTo>
                  <a:lnTo>
                    <a:pt x="19655" y="7792"/>
                  </a:lnTo>
                  <a:lnTo>
                    <a:pt x="19655" y="7801"/>
                  </a:lnTo>
                  <a:lnTo>
                    <a:pt x="19664" y="7810"/>
                  </a:lnTo>
                  <a:lnTo>
                    <a:pt x="19664" y="7819"/>
                  </a:lnTo>
                  <a:lnTo>
                    <a:pt x="19673" y="7819"/>
                  </a:lnTo>
                  <a:lnTo>
                    <a:pt x="19682" y="7810"/>
                  </a:lnTo>
                  <a:lnTo>
                    <a:pt x="19673" y="7827"/>
                  </a:lnTo>
                  <a:lnTo>
                    <a:pt x="19682" y="7827"/>
                  </a:lnTo>
                  <a:lnTo>
                    <a:pt x="19691" y="7827"/>
                  </a:lnTo>
                  <a:lnTo>
                    <a:pt x="19682" y="7845"/>
                  </a:lnTo>
                  <a:lnTo>
                    <a:pt x="19699" y="7854"/>
                  </a:lnTo>
                  <a:lnTo>
                    <a:pt x="19717" y="7880"/>
                  </a:lnTo>
                  <a:lnTo>
                    <a:pt x="19717" y="7889"/>
                  </a:lnTo>
                  <a:lnTo>
                    <a:pt x="19726" y="7898"/>
                  </a:lnTo>
                  <a:lnTo>
                    <a:pt x="19735" y="7916"/>
                  </a:lnTo>
                  <a:lnTo>
                    <a:pt x="19735" y="7924"/>
                  </a:lnTo>
                  <a:lnTo>
                    <a:pt x="19735" y="7942"/>
                  </a:lnTo>
                  <a:lnTo>
                    <a:pt x="19743" y="7986"/>
                  </a:lnTo>
                  <a:lnTo>
                    <a:pt x="19752" y="8013"/>
                  </a:lnTo>
                  <a:lnTo>
                    <a:pt x="19752" y="8030"/>
                  </a:lnTo>
                  <a:lnTo>
                    <a:pt x="19752" y="8039"/>
                  </a:lnTo>
                  <a:lnTo>
                    <a:pt x="19761" y="8048"/>
                  </a:lnTo>
                  <a:lnTo>
                    <a:pt x="19770" y="8057"/>
                  </a:lnTo>
                  <a:lnTo>
                    <a:pt x="19761" y="8057"/>
                  </a:lnTo>
                  <a:lnTo>
                    <a:pt x="19761" y="8066"/>
                  </a:lnTo>
                  <a:lnTo>
                    <a:pt x="19770" y="8074"/>
                  </a:lnTo>
                  <a:lnTo>
                    <a:pt x="19779" y="8083"/>
                  </a:lnTo>
                  <a:lnTo>
                    <a:pt x="19788" y="8101"/>
                  </a:lnTo>
                  <a:lnTo>
                    <a:pt x="19805" y="8110"/>
                  </a:lnTo>
                  <a:lnTo>
                    <a:pt x="19805" y="8119"/>
                  </a:lnTo>
                  <a:lnTo>
                    <a:pt x="19805" y="8127"/>
                  </a:lnTo>
                  <a:lnTo>
                    <a:pt x="19805" y="8136"/>
                  </a:lnTo>
                  <a:lnTo>
                    <a:pt x="19805" y="8145"/>
                  </a:lnTo>
                  <a:lnTo>
                    <a:pt x="19814" y="8145"/>
                  </a:lnTo>
                  <a:lnTo>
                    <a:pt x="19823" y="8154"/>
                  </a:lnTo>
                  <a:lnTo>
                    <a:pt x="19841" y="8163"/>
                  </a:lnTo>
                  <a:lnTo>
                    <a:pt x="19849" y="8172"/>
                  </a:lnTo>
                  <a:lnTo>
                    <a:pt x="19867" y="8189"/>
                  </a:lnTo>
                  <a:lnTo>
                    <a:pt x="19893" y="8198"/>
                  </a:lnTo>
                  <a:lnTo>
                    <a:pt x="19911" y="8216"/>
                  </a:lnTo>
                  <a:lnTo>
                    <a:pt x="19920" y="8225"/>
                  </a:lnTo>
                  <a:lnTo>
                    <a:pt x="19955" y="8242"/>
                  </a:lnTo>
                  <a:lnTo>
                    <a:pt x="19964" y="8251"/>
                  </a:lnTo>
                  <a:lnTo>
                    <a:pt x="19973" y="8251"/>
                  </a:lnTo>
                  <a:lnTo>
                    <a:pt x="19982" y="8242"/>
                  </a:lnTo>
                  <a:lnTo>
                    <a:pt x="19990" y="8242"/>
                  </a:lnTo>
                  <a:lnTo>
                    <a:pt x="19999" y="8242"/>
                  </a:lnTo>
                  <a:lnTo>
                    <a:pt x="19999" y="8233"/>
                  </a:lnTo>
                  <a:lnTo>
                    <a:pt x="20008" y="8242"/>
                  </a:lnTo>
                  <a:lnTo>
                    <a:pt x="20008" y="8251"/>
                  </a:lnTo>
                  <a:lnTo>
                    <a:pt x="20017" y="8251"/>
                  </a:lnTo>
                  <a:lnTo>
                    <a:pt x="20026" y="8251"/>
                  </a:lnTo>
                  <a:lnTo>
                    <a:pt x="20026" y="8242"/>
                  </a:lnTo>
                  <a:lnTo>
                    <a:pt x="20017" y="8225"/>
                  </a:lnTo>
                  <a:lnTo>
                    <a:pt x="19999" y="8189"/>
                  </a:lnTo>
                  <a:lnTo>
                    <a:pt x="19990" y="8172"/>
                  </a:lnTo>
                  <a:lnTo>
                    <a:pt x="19990" y="8163"/>
                  </a:lnTo>
                  <a:lnTo>
                    <a:pt x="19964" y="8145"/>
                  </a:lnTo>
                  <a:lnTo>
                    <a:pt x="19964" y="8136"/>
                  </a:lnTo>
                  <a:lnTo>
                    <a:pt x="19964" y="8110"/>
                  </a:lnTo>
                  <a:lnTo>
                    <a:pt x="19964" y="8101"/>
                  </a:lnTo>
                  <a:lnTo>
                    <a:pt x="19964" y="8092"/>
                  </a:lnTo>
                  <a:lnTo>
                    <a:pt x="19955" y="8083"/>
                  </a:lnTo>
                  <a:lnTo>
                    <a:pt x="19955" y="8074"/>
                  </a:lnTo>
                  <a:lnTo>
                    <a:pt x="19955" y="8057"/>
                  </a:lnTo>
                  <a:lnTo>
                    <a:pt x="19964" y="8030"/>
                  </a:lnTo>
                  <a:lnTo>
                    <a:pt x="19964" y="8013"/>
                  </a:lnTo>
                  <a:lnTo>
                    <a:pt x="19955" y="7995"/>
                  </a:lnTo>
                  <a:lnTo>
                    <a:pt x="19946" y="7969"/>
                  </a:lnTo>
                  <a:lnTo>
                    <a:pt x="19938" y="7960"/>
                  </a:lnTo>
                  <a:lnTo>
                    <a:pt x="19929" y="7951"/>
                  </a:lnTo>
                  <a:lnTo>
                    <a:pt x="19920" y="7942"/>
                  </a:lnTo>
                  <a:lnTo>
                    <a:pt x="19911" y="7942"/>
                  </a:lnTo>
                  <a:lnTo>
                    <a:pt x="19893" y="7924"/>
                  </a:lnTo>
                  <a:lnTo>
                    <a:pt x="19876" y="7898"/>
                  </a:lnTo>
                  <a:lnTo>
                    <a:pt x="19858" y="7898"/>
                  </a:lnTo>
                  <a:lnTo>
                    <a:pt x="19841" y="7880"/>
                  </a:lnTo>
                  <a:lnTo>
                    <a:pt x="19823" y="7854"/>
                  </a:lnTo>
                  <a:lnTo>
                    <a:pt x="19814" y="7845"/>
                  </a:lnTo>
                  <a:lnTo>
                    <a:pt x="19805" y="7845"/>
                  </a:lnTo>
                  <a:lnTo>
                    <a:pt x="19796" y="7845"/>
                  </a:lnTo>
                  <a:lnTo>
                    <a:pt x="19779" y="7845"/>
                  </a:lnTo>
                  <a:lnTo>
                    <a:pt x="19770" y="7836"/>
                  </a:lnTo>
                  <a:lnTo>
                    <a:pt x="19761" y="7836"/>
                  </a:lnTo>
                  <a:lnTo>
                    <a:pt x="19752" y="7827"/>
                  </a:lnTo>
                  <a:lnTo>
                    <a:pt x="19743" y="7827"/>
                  </a:lnTo>
                  <a:lnTo>
                    <a:pt x="19735" y="7827"/>
                  </a:lnTo>
                  <a:lnTo>
                    <a:pt x="19735" y="7819"/>
                  </a:lnTo>
                  <a:lnTo>
                    <a:pt x="19726" y="7801"/>
                  </a:lnTo>
                  <a:lnTo>
                    <a:pt x="19717" y="7792"/>
                  </a:lnTo>
                  <a:lnTo>
                    <a:pt x="19717" y="7783"/>
                  </a:lnTo>
                  <a:lnTo>
                    <a:pt x="19726" y="7783"/>
                  </a:lnTo>
                  <a:lnTo>
                    <a:pt x="19735" y="7783"/>
                  </a:lnTo>
                  <a:lnTo>
                    <a:pt x="19735" y="7792"/>
                  </a:lnTo>
                  <a:lnTo>
                    <a:pt x="19726" y="7792"/>
                  </a:lnTo>
                  <a:lnTo>
                    <a:pt x="19726" y="7801"/>
                  </a:lnTo>
                  <a:lnTo>
                    <a:pt x="19735" y="7801"/>
                  </a:lnTo>
                  <a:lnTo>
                    <a:pt x="19743" y="7819"/>
                  </a:lnTo>
                  <a:lnTo>
                    <a:pt x="19743" y="7810"/>
                  </a:lnTo>
                  <a:lnTo>
                    <a:pt x="19726" y="7748"/>
                  </a:lnTo>
                  <a:lnTo>
                    <a:pt x="19726" y="7730"/>
                  </a:lnTo>
                  <a:lnTo>
                    <a:pt x="19717" y="7730"/>
                  </a:lnTo>
                  <a:lnTo>
                    <a:pt x="19708" y="7730"/>
                  </a:lnTo>
                  <a:lnTo>
                    <a:pt x="19708" y="7721"/>
                  </a:lnTo>
                  <a:lnTo>
                    <a:pt x="19708" y="7713"/>
                  </a:lnTo>
                  <a:lnTo>
                    <a:pt x="19699" y="7686"/>
                  </a:lnTo>
                  <a:lnTo>
                    <a:pt x="19699" y="7677"/>
                  </a:lnTo>
                  <a:lnTo>
                    <a:pt x="19699" y="7668"/>
                  </a:lnTo>
                  <a:lnTo>
                    <a:pt x="19691" y="7668"/>
                  </a:lnTo>
                  <a:lnTo>
                    <a:pt x="19664" y="7677"/>
                  </a:lnTo>
                  <a:lnTo>
                    <a:pt x="19655" y="7677"/>
                  </a:lnTo>
                  <a:lnTo>
                    <a:pt x="19655" y="7668"/>
                  </a:lnTo>
                  <a:lnTo>
                    <a:pt x="19655" y="7660"/>
                  </a:lnTo>
                  <a:lnTo>
                    <a:pt x="19646" y="7642"/>
                  </a:lnTo>
                  <a:lnTo>
                    <a:pt x="19646" y="7624"/>
                  </a:lnTo>
                  <a:lnTo>
                    <a:pt x="19646" y="7607"/>
                  </a:lnTo>
                  <a:lnTo>
                    <a:pt x="19646" y="7598"/>
                  </a:lnTo>
                  <a:lnTo>
                    <a:pt x="19655" y="7589"/>
                  </a:lnTo>
                  <a:lnTo>
                    <a:pt x="19655" y="7580"/>
                  </a:lnTo>
                  <a:lnTo>
                    <a:pt x="19673" y="7554"/>
                  </a:lnTo>
                  <a:lnTo>
                    <a:pt x="19673" y="7536"/>
                  </a:lnTo>
                  <a:lnTo>
                    <a:pt x="19673" y="7527"/>
                  </a:lnTo>
                  <a:lnTo>
                    <a:pt x="19682" y="7510"/>
                  </a:lnTo>
                  <a:lnTo>
                    <a:pt x="19691" y="7492"/>
                  </a:lnTo>
                  <a:lnTo>
                    <a:pt x="19699" y="7474"/>
                  </a:lnTo>
                  <a:lnTo>
                    <a:pt x="19699" y="7466"/>
                  </a:lnTo>
                  <a:lnTo>
                    <a:pt x="19708" y="7457"/>
                  </a:lnTo>
                  <a:lnTo>
                    <a:pt x="19708" y="7448"/>
                  </a:lnTo>
                  <a:lnTo>
                    <a:pt x="19708" y="7421"/>
                  </a:lnTo>
                  <a:lnTo>
                    <a:pt x="19708" y="7413"/>
                  </a:lnTo>
                  <a:lnTo>
                    <a:pt x="19717" y="7395"/>
                  </a:lnTo>
                  <a:lnTo>
                    <a:pt x="19708" y="7386"/>
                  </a:lnTo>
                  <a:lnTo>
                    <a:pt x="19708" y="7377"/>
                  </a:lnTo>
                  <a:lnTo>
                    <a:pt x="19708" y="7368"/>
                  </a:lnTo>
                  <a:lnTo>
                    <a:pt x="19717" y="7360"/>
                  </a:lnTo>
                  <a:lnTo>
                    <a:pt x="19726" y="7360"/>
                  </a:lnTo>
                  <a:lnTo>
                    <a:pt x="19743" y="7360"/>
                  </a:lnTo>
                  <a:lnTo>
                    <a:pt x="19752" y="7351"/>
                  </a:lnTo>
                  <a:lnTo>
                    <a:pt x="19752" y="7360"/>
                  </a:lnTo>
                  <a:lnTo>
                    <a:pt x="19779" y="7360"/>
                  </a:lnTo>
                  <a:lnTo>
                    <a:pt x="19779" y="7368"/>
                  </a:lnTo>
                  <a:lnTo>
                    <a:pt x="19779" y="7377"/>
                  </a:lnTo>
                  <a:lnTo>
                    <a:pt x="19779" y="7386"/>
                  </a:lnTo>
                  <a:lnTo>
                    <a:pt x="19770" y="7395"/>
                  </a:lnTo>
                  <a:lnTo>
                    <a:pt x="19770" y="7413"/>
                  </a:lnTo>
                  <a:lnTo>
                    <a:pt x="19770" y="7421"/>
                  </a:lnTo>
                  <a:lnTo>
                    <a:pt x="19779" y="7421"/>
                  </a:lnTo>
                  <a:lnTo>
                    <a:pt x="19788" y="7421"/>
                  </a:lnTo>
                  <a:lnTo>
                    <a:pt x="19814" y="7421"/>
                  </a:lnTo>
                  <a:lnTo>
                    <a:pt x="19832" y="7421"/>
                  </a:lnTo>
                  <a:lnTo>
                    <a:pt x="19841" y="7421"/>
                  </a:lnTo>
                  <a:lnTo>
                    <a:pt x="19849" y="7430"/>
                  </a:lnTo>
                  <a:lnTo>
                    <a:pt x="19858" y="7430"/>
                  </a:lnTo>
                  <a:lnTo>
                    <a:pt x="19867" y="7439"/>
                  </a:lnTo>
                  <a:lnTo>
                    <a:pt x="19876" y="7448"/>
                  </a:lnTo>
                  <a:lnTo>
                    <a:pt x="19876" y="7439"/>
                  </a:lnTo>
                  <a:lnTo>
                    <a:pt x="19876" y="7448"/>
                  </a:lnTo>
                  <a:lnTo>
                    <a:pt x="19885" y="7457"/>
                  </a:lnTo>
                  <a:lnTo>
                    <a:pt x="19893" y="7466"/>
                  </a:lnTo>
                  <a:lnTo>
                    <a:pt x="19893" y="7457"/>
                  </a:lnTo>
                  <a:lnTo>
                    <a:pt x="19902" y="7457"/>
                  </a:lnTo>
                  <a:lnTo>
                    <a:pt x="19911" y="7466"/>
                  </a:lnTo>
                  <a:lnTo>
                    <a:pt x="19911" y="7474"/>
                  </a:lnTo>
                  <a:lnTo>
                    <a:pt x="19920" y="7483"/>
                  </a:lnTo>
                  <a:lnTo>
                    <a:pt x="19920" y="7492"/>
                  </a:lnTo>
                  <a:lnTo>
                    <a:pt x="19929" y="7483"/>
                  </a:lnTo>
                  <a:lnTo>
                    <a:pt x="19929" y="7492"/>
                  </a:lnTo>
                  <a:lnTo>
                    <a:pt x="19929" y="7501"/>
                  </a:lnTo>
                  <a:lnTo>
                    <a:pt x="19938" y="7510"/>
                  </a:lnTo>
                  <a:lnTo>
                    <a:pt x="19938" y="7518"/>
                  </a:lnTo>
                  <a:lnTo>
                    <a:pt x="19938" y="7527"/>
                  </a:lnTo>
                  <a:lnTo>
                    <a:pt x="19938" y="7536"/>
                  </a:lnTo>
                  <a:lnTo>
                    <a:pt x="19938" y="7554"/>
                  </a:lnTo>
                  <a:lnTo>
                    <a:pt x="19946" y="7554"/>
                  </a:lnTo>
                  <a:lnTo>
                    <a:pt x="19955" y="7554"/>
                  </a:lnTo>
                  <a:lnTo>
                    <a:pt x="19955" y="7545"/>
                  </a:lnTo>
                  <a:lnTo>
                    <a:pt x="19964" y="7536"/>
                  </a:lnTo>
                  <a:lnTo>
                    <a:pt x="19973" y="7536"/>
                  </a:lnTo>
                  <a:lnTo>
                    <a:pt x="19982" y="7554"/>
                  </a:lnTo>
                  <a:lnTo>
                    <a:pt x="19982" y="7563"/>
                  </a:lnTo>
                  <a:lnTo>
                    <a:pt x="19973" y="7563"/>
                  </a:lnTo>
                  <a:lnTo>
                    <a:pt x="19964" y="7571"/>
                  </a:lnTo>
                  <a:lnTo>
                    <a:pt x="19973" y="7580"/>
                  </a:lnTo>
                  <a:lnTo>
                    <a:pt x="19990" y="7571"/>
                  </a:lnTo>
                  <a:lnTo>
                    <a:pt x="19999" y="7571"/>
                  </a:lnTo>
                  <a:lnTo>
                    <a:pt x="20017" y="7580"/>
                  </a:lnTo>
                  <a:lnTo>
                    <a:pt x="20035" y="7589"/>
                  </a:lnTo>
                  <a:lnTo>
                    <a:pt x="20043" y="7589"/>
                  </a:lnTo>
                  <a:lnTo>
                    <a:pt x="20043" y="7598"/>
                  </a:lnTo>
                  <a:lnTo>
                    <a:pt x="20043" y="7607"/>
                  </a:lnTo>
                  <a:lnTo>
                    <a:pt x="20052" y="7607"/>
                  </a:lnTo>
                  <a:lnTo>
                    <a:pt x="20061" y="7607"/>
                  </a:lnTo>
                  <a:lnTo>
                    <a:pt x="20070" y="7607"/>
                  </a:lnTo>
                  <a:lnTo>
                    <a:pt x="20079" y="7616"/>
                  </a:lnTo>
                  <a:lnTo>
                    <a:pt x="20079" y="7624"/>
                  </a:lnTo>
                  <a:lnTo>
                    <a:pt x="20070" y="7633"/>
                  </a:lnTo>
                  <a:lnTo>
                    <a:pt x="20061" y="7651"/>
                  </a:lnTo>
                  <a:lnTo>
                    <a:pt x="20061" y="7677"/>
                  </a:lnTo>
                  <a:lnTo>
                    <a:pt x="20061" y="7704"/>
                  </a:lnTo>
                  <a:lnTo>
                    <a:pt x="20070" y="7713"/>
                  </a:lnTo>
                  <a:lnTo>
                    <a:pt x="20061" y="7721"/>
                  </a:lnTo>
                  <a:lnTo>
                    <a:pt x="20070" y="7721"/>
                  </a:lnTo>
                  <a:lnTo>
                    <a:pt x="20088" y="7721"/>
                  </a:lnTo>
                  <a:lnTo>
                    <a:pt x="20088" y="7713"/>
                  </a:lnTo>
                  <a:lnTo>
                    <a:pt x="20096" y="7704"/>
                  </a:lnTo>
                  <a:lnTo>
                    <a:pt x="20105" y="7695"/>
                  </a:lnTo>
                  <a:lnTo>
                    <a:pt x="20114" y="7686"/>
                  </a:lnTo>
                  <a:lnTo>
                    <a:pt x="20158" y="7660"/>
                  </a:lnTo>
                  <a:lnTo>
                    <a:pt x="20167" y="7660"/>
                  </a:lnTo>
                  <a:lnTo>
                    <a:pt x="20167" y="7651"/>
                  </a:lnTo>
                  <a:lnTo>
                    <a:pt x="20158" y="7651"/>
                  </a:lnTo>
                  <a:lnTo>
                    <a:pt x="20158" y="7642"/>
                  </a:lnTo>
                  <a:lnTo>
                    <a:pt x="20140" y="7616"/>
                  </a:lnTo>
                  <a:lnTo>
                    <a:pt x="20140" y="7624"/>
                  </a:lnTo>
                  <a:lnTo>
                    <a:pt x="20167" y="7642"/>
                  </a:lnTo>
                  <a:lnTo>
                    <a:pt x="20176" y="7651"/>
                  </a:lnTo>
                  <a:lnTo>
                    <a:pt x="20185" y="7651"/>
                  </a:lnTo>
                  <a:lnTo>
                    <a:pt x="20193" y="7642"/>
                  </a:lnTo>
                  <a:lnTo>
                    <a:pt x="20185" y="7633"/>
                  </a:lnTo>
                  <a:lnTo>
                    <a:pt x="20158" y="7607"/>
                  </a:lnTo>
                  <a:lnTo>
                    <a:pt x="20158" y="7598"/>
                  </a:lnTo>
                  <a:lnTo>
                    <a:pt x="20185" y="7624"/>
                  </a:lnTo>
                  <a:lnTo>
                    <a:pt x="20193" y="7624"/>
                  </a:lnTo>
                  <a:lnTo>
                    <a:pt x="20193" y="7616"/>
                  </a:lnTo>
                  <a:lnTo>
                    <a:pt x="20202" y="7616"/>
                  </a:lnTo>
                  <a:lnTo>
                    <a:pt x="20202" y="7607"/>
                  </a:lnTo>
                  <a:lnTo>
                    <a:pt x="20193" y="7598"/>
                  </a:lnTo>
                  <a:lnTo>
                    <a:pt x="20185" y="7598"/>
                  </a:lnTo>
                  <a:lnTo>
                    <a:pt x="20193" y="7598"/>
                  </a:lnTo>
                  <a:lnTo>
                    <a:pt x="20202" y="7598"/>
                  </a:lnTo>
                  <a:lnTo>
                    <a:pt x="20202" y="7589"/>
                  </a:lnTo>
                  <a:lnTo>
                    <a:pt x="20202" y="7580"/>
                  </a:lnTo>
                  <a:lnTo>
                    <a:pt x="20193" y="7580"/>
                  </a:lnTo>
                  <a:lnTo>
                    <a:pt x="20202" y="7580"/>
                  </a:lnTo>
                  <a:lnTo>
                    <a:pt x="20211" y="7589"/>
                  </a:lnTo>
                  <a:lnTo>
                    <a:pt x="20220" y="7589"/>
                  </a:lnTo>
                  <a:lnTo>
                    <a:pt x="20220" y="7571"/>
                  </a:lnTo>
                  <a:lnTo>
                    <a:pt x="20229" y="7580"/>
                  </a:lnTo>
                  <a:lnTo>
                    <a:pt x="20238" y="7580"/>
                  </a:lnTo>
                  <a:lnTo>
                    <a:pt x="20238" y="7589"/>
                  </a:lnTo>
                  <a:lnTo>
                    <a:pt x="20246" y="7580"/>
                  </a:lnTo>
                  <a:lnTo>
                    <a:pt x="20255" y="7580"/>
                  </a:lnTo>
                  <a:lnTo>
                    <a:pt x="20264" y="7580"/>
                  </a:lnTo>
                  <a:lnTo>
                    <a:pt x="20282" y="7563"/>
                  </a:lnTo>
                  <a:lnTo>
                    <a:pt x="20299" y="7563"/>
                  </a:lnTo>
                  <a:lnTo>
                    <a:pt x="20299" y="7554"/>
                  </a:lnTo>
                  <a:lnTo>
                    <a:pt x="20308" y="7554"/>
                  </a:lnTo>
                  <a:lnTo>
                    <a:pt x="20317" y="7545"/>
                  </a:lnTo>
                  <a:lnTo>
                    <a:pt x="20326" y="7545"/>
                  </a:lnTo>
                  <a:lnTo>
                    <a:pt x="20335" y="7536"/>
                  </a:lnTo>
                  <a:lnTo>
                    <a:pt x="20343" y="7527"/>
                  </a:lnTo>
                  <a:lnTo>
                    <a:pt x="20352" y="7518"/>
                  </a:lnTo>
                  <a:lnTo>
                    <a:pt x="20370" y="7518"/>
                  </a:lnTo>
                  <a:lnTo>
                    <a:pt x="20370" y="7510"/>
                  </a:lnTo>
                  <a:lnTo>
                    <a:pt x="20370" y="7501"/>
                  </a:lnTo>
                  <a:lnTo>
                    <a:pt x="20379" y="7501"/>
                  </a:lnTo>
                  <a:lnTo>
                    <a:pt x="20379" y="7492"/>
                  </a:lnTo>
                  <a:lnTo>
                    <a:pt x="20387" y="7492"/>
                  </a:lnTo>
                  <a:lnTo>
                    <a:pt x="20387" y="7483"/>
                  </a:lnTo>
                  <a:lnTo>
                    <a:pt x="20379" y="7483"/>
                  </a:lnTo>
                  <a:lnTo>
                    <a:pt x="20379" y="7474"/>
                  </a:lnTo>
                  <a:lnTo>
                    <a:pt x="20387" y="7474"/>
                  </a:lnTo>
                  <a:lnTo>
                    <a:pt x="20387" y="7466"/>
                  </a:lnTo>
                  <a:lnTo>
                    <a:pt x="20387" y="7474"/>
                  </a:lnTo>
                  <a:lnTo>
                    <a:pt x="20387" y="7466"/>
                  </a:lnTo>
                  <a:lnTo>
                    <a:pt x="20387" y="7439"/>
                  </a:lnTo>
                  <a:lnTo>
                    <a:pt x="20387" y="7421"/>
                  </a:lnTo>
                  <a:lnTo>
                    <a:pt x="20396" y="7413"/>
                  </a:lnTo>
                  <a:lnTo>
                    <a:pt x="20396" y="7421"/>
                  </a:lnTo>
                  <a:lnTo>
                    <a:pt x="20405" y="7430"/>
                  </a:lnTo>
                  <a:lnTo>
                    <a:pt x="20396" y="7421"/>
                  </a:lnTo>
                  <a:lnTo>
                    <a:pt x="20396" y="7404"/>
                  </a:lnTo>
                  <a:lnTo>
                    <a:pt x="20396" y="7395"/>
                  </a:lnTo>
                  <a:lnTo>
                    <a:pt x="20396" y="7377"/>
                  </a:lnTo>
                  <a:lnTo>
                    <a:pt x="20387" y="7377"/>
                  </a:lnTo>
                  <a:lnTo>
                    <a:pt x="20387" y="7360"/>
                  </a:lnTo>
                  <a:lnTo>
                    <a:pt x="20387" y="7351"/>
                  </a:lnTo>
                  <a:lnTo>
                    <a:pt x="20387" y="7333"/>
                  </a:lnTo>
                  <a:lnTo>
                    <a:pt x="20387" y="7342"/>
                  </a:lnTo>
                  <a:lnTo>
                    <a:pt x="20387" y="7333"/>
                  </a:lnTo>
                  <a:lnTo>
                    <a:pt x="20387" y="7315"/>
                  </a:lnTo>
                  <a:lnTo>
                    <a:pt x="20387" y="7307"/>
                  </a:lnTo>
                  <a:lnTo>
                    <a:pt x="20387" y="7298"/>
                  </a:lnTo>
                  <a:lnTo>
                    <a:pt x="20379" y="7289"/>
                  </a:lnTo>
                  <a:lnTo>
                    <a:pt x="20379" y="7280"/>
                  </a:lnTo>
                  <a:lnTo>
                    <a:pt x="20379" y="7271"/>
                  </a:lnTo>
                  <a:lnTo>
                    <a:pt x="20370" y="7263"/>
                  </a:lnTo>
                  <a:lnTo>
                    <a:pt x="20361" y="7245"/>
                  </a:lnTo>
                  <a:lnTo>
                    <a:pt x="20361" y="7236"/>
                  </a:lnTo>
                  <a:lnTo>
                    <a:pt x="20352" y="7218"/>
                  </a:lnTo>
                  <a:lnTo>
                    <a:pt x="20343" y="7210"/>
                  </a:lnTo>
                  <a:lnTo>
                    <a:pt x="20335" y="7201"/>
                  </a:lnTo>
                  <a:lnTo>
                    <a:pt x="20326" y="7192"/>
                  </a:lnTo>
                  <a:lnTo>
                    <a:pt x="20326" y="7183"/>
                  </a:lnTo>
                  <a:lnTo>
                    <a:pt x="20317" y="7174"/>
                  </a:lnTo>
                  <a:lnTo>
                    <a:pt x="20317" y="7165"/>
                  </a:lnTo>
                  <a:lnTo>
                    <a:pt x="20308" y="7165"/>
                  </a:lnTo>
                  <a:lnTo>
                    <a:pt x="20308" y="7157"/>
                  </a:lnTo>
                  <a:lnTo>
                    <a:pt x="20299" y="7157"/>
                  </a:lnTo>
                  <a:lnTo>
                    <a:pt x="20299" y="7148"/>
                  </a:lnTo>
                  <a:lnTo>
                    <a:pt x="20290" y="7148"/>
                  </a:lnTo>
                  <a:lnTo>
                    <a:pt x="20282" y="7148"/>
                  </a:lnTo>
                  <a:lnTo>
                    <a:pt x="20282" y="7139"/>
                  </a:lnTo>
                  <a:lnTo>
                    <a:pt x="20273" y="7139"/>
                  </a:lnTo>
                  <a:lnTo>
                    <a:pt x="20264" y="7130"/>
                  </a:lnTo>
                  <a:lnTo>
                    <a:pt x="20264" y="7121"/>
                  </a:lnTo>
                  <a:lnTo>
                    <a:pt x="20246" y="7112"/>
                  </a:lnTo>
                  <a:lnTo>
                    <a:pt x="20238" y="7104"/>
                  </a:lnTo>
                  <a:lnTo>
                    <a:pt x="20229" y="7095"/>
                  </a:lnTo>
                  <a:lnTo>
                    <a:pt x="20220" y="7077"/>
                  </a:lnTo>
                  <a:lnTo>
                    <a:pt x="20202" y="7068"/>
                  </a:lnTo>
                  <a:lnTo>
                    <a:pt x="20185" y="7051"/>
                  </a:lnTo>
                  <a:lnTo>
                    <a:pt x="20176" y="7042"/>
                  </a:lnTo>
                  <a:lnTo>
                    <a:pt x="20185" y="7042"/>
                  </a:lnTo>
                  <a:lnTo>
                    <a:pt x="20185" y="7033"/>
                  </a:lnTo>
                  <a:lnTo>
                    <a:pt x="20185" y="7024"/>
                  </a:lnTo>
                  <a:lnTo>
                    <a:pt x="20176" y="7015"/>
                  </a:lnTo>
                  <a:lnTo>
                    <a:pt x="20167" y="7007"/>
                  </a:lnTo>
                  <a:lnTo>
                    <a:pt x="20158" y="7007"/>
                  </a:lnTo>
                  <a:lnTo>
                    <a:pt x="20149" y="6998"/>
                  </a:lnTo>
                  <a:lnTo>
                    <a:pt x="20140" y="6980"/>
                  </a:lnTo>
                  <a:lnTo>
                    <a:pt x="20132" y="6971"/>
                  </a:lnTo>
                  <a:lnTo>
                    <a:pt x="20132" y="6962"/>
                  </a:lnTo>
                  <a:lnTo>
                    <a:pt x="20123" y="6945"/>
                  </a:lnTo>
                  <a:lnTo>
                    <a:pt x="20132" y="6936"/>
                  </a:lnTo>
                  <a:lnTo>
                    <a:pt x="20132" y="6927"/>
                  </a:lnTo>
                  <a:lnTo>
                    <a:pt x="20132" y="6918"/>
                  </a:lnTo>
                  <a:lnTo>
                    <a:pt x="20132" y="6909"/>
                  </a:lnTo>
                  <a:lnTo>
                    <a:pt x="20132" y="6901"/>
                  </a:lnTo>
                  <a:lnTo>
                    <a:pt x="20149" y="6874"/>
                  </a:lnTo>
                  <a:lnTo>
                    <a:pt x="20158" y="6874"/>
                  </a:lnTo>
                  <a:lnTo>
                    <a:pt x="20176" y="6857"/>
                  </a:lnTo>
                  <a:lnTo>
                    <a:pt x="20185" y="6848"/>
                  </a:lnTo>
                  <a:lnTo>
                    <a:pt x="20193" y="6839"/>
                  </a:lnTo>
                  <a:lnTo>
                    <a:pt x="20193" y="6830"/>
                  </a:lnTo>
                  <a:lnTo>
                    <a:pt x="20202" y="6812"/>
                  </a:lnTo>
                  <a:lnTo>
                    <a:pt x="20202" y="6795"/>
                  </a:lnTo>
                  <a:lnTo>
                    <a:pt x="20211" y="6795"/>
                  </a:lnTo>
                  <a:lnTo>
                    <a:pt x="20220" y="6795"/>
                  </a:lnTo>
                  <a:lnTo>
                    <a:pt x="20229" y="6795"/>
                  </a:lnTo>
                  <a:lnTo>
                    <a:pt x="20238" y="6795"/>
                  </a:lnTo>
                  <a:lnTo>
                    <a:pt x="20246" y="6786"/>
                  </a:lnTo>
                  <a:lnTo>
                    <a:pt x="20246" y="6777"/>
                  </a:lnTo>
                  <a:lnTo>
                    <a:pt x="20255" y="6768"/>
                  </a:lnTo>
                  <a:lnTo>
                    <a:pt x="20264" y="6768"/>
                  </a:lnTo>
                  <a:lnTo>
                    <a:pt x="20273" y="6768"/>
                  </a:lnTo>
                  <a:lnTo>
                    <a:pt x="20273" y="6759"/>
                  </a:lnTo>
                  <a:lnTo>
                    <a:pt x="20282" y="6759"/>
                  </a:lnTo>
                  <a:lnTo>
                    <a:pt x="20290" y="6759"/>
                  </a:lnTo>
                  <a:lnTo>
                    <a:pt x="20299" y="6751"/>
                  </a:lnTo>
                  <a:lnTo>
                    <a:pt x="20308" y="6751"/>
                  </a:lnTo>
                  <a:lnTo>
                    <a:pt x="20317" y="6751"/>
                  </a:lnTo>
                  <a:lnTo>
                    <a:pt x="20317" y="6742"/>
                  </a:lnTo>
                  <a:lnTo>
                    <a:pt x="20326" y="6742"/>
                  </a:lnTo>
                  <a:lnTo>
                    <a:pt x="20326" y="6751"/>
                  </a:lnTo>
                  <a:lnTo>
                    <a:pt x="20335" y="6742"/>
                  </a:lnTo>
                  <a:lnTo>
                    <a:pt x="20335" y="6733"/>
                  </a:lnTo>
                  <a:lnTo>
                    <a:pt x="20335" y="6724"/>
                  </a:lnTo>
                  <a:lnTo>
                    <a:pt x="20343" y="6724"/>
                  </a:lnTo>
                  <a:lnTo>
                    <a:pt x="20343" y="6733"/>
                  </a:lnTo>
                  <a:lnTo>
                    <a:pt x="20343" y="6742"/>
                  </a:lnTo>
                  <a:lnTo>
                    <a:pt x="20352" y="6742"/>
                  </a:lnTo>
                  <a:lnTo>
                    <a:pt x="20361" y="6742"/>
                  </a:lnTo>
                  <a:lnTo>
                    <a:pt x="20361" y="6751"/>
                  </a:lnTo>
                  <a:lnTo>
                    <a:pt x="20370" y="6751"/>
                  </a:lnTo>
                  <a:lnTo>
                    <a:pt x="20379" y="6751"/>
                  </a:lnTo>
                  <a:lnTo>
                    <a:pt x="20379" y="6759"/>
                  </a:lnTo>
                  <a:lnTo>
                    <a:pt x="20387" y="6759"/>
                  </a:lnTo>
                  <a:lnTo>
                    <a:pt x="20396" y="6759"/>
                  </a:lnTo>
                  <a:lnTo>
                    <a:pt x="20405" y="6759"/>
                  </a:lnTo>
                  <a:lnTo>
                    <a:pt x="20405" y="6751"/>
                  </a:lnTo>
                  <a:lnTo>
                    <a:pt x="20405" y="6742"/>
                  </a:lnTo>
                  <a:lnTo>
                    <a:pt x="20414" y="6742"/>
                  </a:lnTo>
                  <a:lnTo>
                    <a:pt x="20423" y="6751"/>
                  </a:lnTo>
                  <a:lnTo>
                    <a:pt x="20432" y="6759"/>
                  </a:lnTo>
                  <a:lnTo>
                    <a:pt x="20440" y="6759"/>
                  </a:lnTo>
                  <a:lnTo>
                    <a:pt x="20440" y="6768"/>
                  </a:lnTo>
                  <a:lnTo>
                    <a:pt x="20423" y="6768"/>
                  </a:lnTo>
                  <a:lnTo>
                    <a:pt x="20423" y="6777"/>
                  </a:lnTo>
                  <a:lnTo>
                    <a:pt x="20423" y="6786"/>
                  </a:lnTo>
                  <a:lnTo>
                    <a:pt x="20414" y="6804"/>
                  </a:lnTo>
                  <a:lnTo>
                    <a:pt x="20423" y="6804"/>
                  </a:lnTo>
                  <a:lnTo>
                    <a:pt x="20423" y="6812"/>
                  </a:lnTo>
                  <a:lnTo>
                    <a:pt x="20432" y="6812"/>
                  </a:lnTo>
                  <a:lnTo>
                    <a:pt x="20432" y="6821"/>
                  </a:lnTo>
                  <a:lnTo>
                    <a:pt x="20432" y="6830"/>
                  </a:lnTo>
                  <a:lnTo>
                    <a:pt x="20440" y="6830"/>
                  </a:lnTo>
                  <a:lnTo>
                    <a:pt x="20440" y="6839"/>
                  </a:lnTo>
                  <a:lnTo>
                    <a:pt x="20432" y="6839"/>
                  </a:lnTo>
                  <a:lnTo>
                    <a:pt x="20440" y="6848"/>
                  </a:lnTo>
                  <a:lnTo>
                    <a:pt x="20449" y="6848"/>
                  </a:lnTo>
                  <a:lnTo>
                    <a:pt x="20467" y="6848"/>
                  </a:lnTo>
                  <a:lnTo>
                    <a:pt x="20476" y="6848"/>
                  </a:lnTo>
                  <a:lnTo>
                    <a:pt x="20476" y="6839"/>
                  </a:lnTo>
                  <a:lnTo>
                    <a:pt x="20485" y="6839"/>
                  </a:lnTo>
                  <a:lnTo>
                    <a:pt x="20485" y="6830"/>
                  </a:lnTo>
                  <a:lnTo>
                    <a:pt x="20467" y="6821"/>
                  </a:lnTo>
                  <a:lnTo>
                    <a:pt x="20467" y="6812"/>
                  </a:lnTo>
                  <a:lnTo>
                    <a:pt x="20476" y="6812"/>
                  </a:lnTo>
                  <a:lnTo>
                    <a:pt x="20467" y="6804"/>
                  </a:lnTo>
                  <a:lnTo>
                    <a:pt x="20458" y="6804"/>
                  </a:lnTo>
                  <a:lnTo>
                    <a:pt x="20458" y="6795"/>
                  </a:lnTo>
                  <a:lnTo>
                    <a:pt x="20467" y="6786"/>
                  </a:lnTo>
                  <a:lnTo>
                    <a:pt x="20467" y="6777"/>
                  </a:lnTo>
                  <a:lnTo>
                    <a:pt x="20476" y="6777"/>
                  </a:lnTo>
                  <a:lnTo>
                    <a:pt x="20476" y="6768"/>
                  </a:lnTo>
                  <a:lnTo>
                    <a:pt x="20476" y="6777"/>
                  </a:lnTo>
                  <a:lnTo>
                    <a:pt x="20485" y="6777"/>
                  </a:lnTo>
                  <a:lnTo>
                    <a:pt x="20493" y="6777"/>
                  </a:lnTo>
                  <a:lnTo>
                    <a:pt x="20502" y="6768"/>
                  </a:lnTo>
                  <a:lnTo>
                    <a:pt x="20511" y="6768"/>
                  </a:lnTo>
                  <a:lnTo>
                    <a:pt x="20520" y="6759"/>
                  </a:lnTo>
                  <a:lnTo>
                    <a:pt x="20520" y="6751"/>
                  </a:lnTo>
                  <a:lnTo>
                    <a:pt x="20520" y="6759"/>
                  </a:lnTo>
                  <a:lnTo>
                    <a:pt x="20529" y="6759"/>
                  </a:lnTo>
                  <a:lnTo>
                    <a:pt x="20537" y="6759"/>
                  </a:lnTo>
                  <a:lnTo>
                    <a:pt x="20546" y="6751"/>
                  </a:lnTo>
                  <a:lnTo>
                    <a:pt x="20564" y="6751"/>
                  </a:lnTo>
                  <a:lnTo>
                    <a:pt x="20573" y="6742"/>
                  </a:lnTo>
                  <a:lnTo>
                    <a:pt x="20582" y="6742"/>
                  </a:lnTo>
                  <a:lnTo>
                    <a:pt x="20582" y="6733"/>
                  </a:lnTo>
                  <a:lnTo>
                    <a:pt x="20590" y="6733"/>
                  </a:lnTo>
                  <a:lnTo>
                    <a:pt x="20599" y="6733"/>
                  </a:lnTo>
                  <a:lnTo>
                    <a:pt x="20608" y="6733"/>
                  </a:lnTo>
                  <a:lnTo>
                    <a:pt x="20608" y="6742"/>
                  </a:lnTo>
                  <a:lnTo>
                    <a:pt x="20617" y="6733"/>
                  </a:lnTo>
                  <a:lnTo>
                    <a:pt x="20617" y="6724"/>
                  </a:lnTo>
                  <a:lnTo>
                    <a:pt x="20617" y="6715"/>
                  </a:lnTo>
                  <a:lnTo>
                    <a:pt x="20626" y="6724"/>
                  </a:lnTo>
                  <a:lnTo>
                    <a:pt x="20617" y="6724"/>
                  </a:lnTo>
                  <a:lnTo>
                    <a:pt x="20626" y="6733"/>
                  </a:lnTo>
                  <a:lnTo>
                    <a:pt x="20635" y="6733"/>
                  </a:lnTo>
                  <a:lnTo>
                    <a:pt x="20635" y="6724"/>
                  </a:lnTo>
                  <a:lnTo>
                    <a:pt x="20643" y="6724"/>
                  </a:lnTo>
                  <a:lnTo>
                    <a:pt x="20652" y="6724"/>
                  </a:lnTo>
                  <a:lnTo>
                    <a:pt x="20661" y="6724"/>
                  </a:lnTo>
                  <a:lnTo>
                    <a:pt x="20661" y="6706"/>
                  </a:lnTo>
                  <a:lnTo>
                    <a:pt x="20670" y="6698"/>
                  </a:lnTo>
                  <a:lnTo>
                    <a:pt x="20679" y="6715"/>
                  </a:lnTo>
                  <a:lnTo>
                    <a:pt x="20679" y="6706"/>
                  </a:lnTo>
                  <a:lnTo>
                    <a:pt x="20687" y="6706"/>
                  </a:lnTo>
                  <a:lnTo>
                    <a:pt x="20696" y="6706"/>
                  </a:lnTo>
                  <a:lnTo>
                    <a:pt x="20705" y="6698"/>
                  </a:lnTo>
                  <a:lnTo>
                    <a:pt x="20705" y="6689"/>
                  </a:lnTo>
                  <a:lnTo>
                    <a:pt x="20705" y="6671"/>
                  </a:lnTo>
                  <a:lnTo>
                    <a:pt x="20696" y="6662"/>
                  </a:lnTo>
                  <a:lnTo>
                    <a:pt x="20696" y="6654"/>
                  </a:lnTo>
                  <a:lnTo>
                    <a:pt x="20687" y="6654"/>
                  </a:lnTo>
                  <a:lnTo>
                    <a:pt x="20687" y="6645"/>
                  </a:lnTo>
                  <a:lnTo>
                    <a:pt x="20696" y="6645"/>
                  </a:lnTo>
                  <a:lnTo>
                    <a:pt x="20696" y="6636"/>
                  </a:lnTo>
                  <a:lnTo>
                    <a:pt x="20705" y="6636"/>
                  </a:lnTo>
                  <a:lnTo>
                    <a:pt x="20705" y="6627"/>
                  </a:lnTo>
                  <a:lnTo>
                    <a:pt x="20705" y="6636"/>
                  </a:lnTo>
                  <a:lnTo>
                    <a:pt x="20705" y="6645"/>
                  </a:lnTo>
                  <a:lnTo>
                    <a:pt x="20705" y="6654"/>
                  </a:lnTo>
                  <a:lnTo>
                    <a:pt x="20714" y="6654"/>
                  </a:lnTo>
                  <a:lnTo>
                    <a:pt x="20723" y="6662"/>
                  </a:lnTo>
                  <a:lnTo>
                    <a:pt x="20723" y="6671"/>
                  </a:lnTo>
                  <a:lnTo>
                    <a:pt x="20732" y="6680"/>
                  </a:lnTo>
                  <a:lnTo>
                    <a:pt x="20740" y="6680"/>
                  </a:lnTo>
                  <a:lnTo>
                    <a:pt x="20732" y="6689"/>
                  </a:lnTo>
                  <a:lnTo>
                    <a:pt x="20740" y="6689"/>
                  </a:lnTo>
                  <a:lnTo>
                    <a:pt x="20749" y="6689"/>
                  </a:lnTo>
                  <a:lnTo>
                    <a:pt x="20758" y="6698"/>
                  </a:lnTo>
                  <a:lnTo>
                    <a:pt x="20758" y="6689"/>
                  </a:lnTo>
                  <a:lnTo>
                    <a:pt x="20758" y="6680"/>
                  </a:lnTo>
                  <a:lnTo>
                    <a:pt x="20758" y="6671"/>
                  </a:lnTo>
                  <a:lnTo>
                    <a:pt x="20767" y="6671"/>
                  </a:lnTo>
                  <a:lnTo>
                    <a:pt x="20776" y="6680"/>
                  </a:lnTo>
                  <a:lnTo>
                    <a:pt x="20776" y="6671"/>
                  </a:lnTo>
                  <a:lnTo>
                    <a:pt x="20785" y="6662"/>
                  </a:lnTo>
                  <a:lnTo>
                    <a:pt x="20793" y="6662"/>
                  </a:lnTo>
                  <a:lnTo>
                    <a:pt x="20793" y="6671"/>
                  </a:lnTo>
                  <a:lnTo>
                    <a:pt x="20802" y="6671"/>
                  </a:lnTo>
                  <a:lnTo>
                    <a:pt x="20802" y="6662"/>
                  </a:lnTo>
                  <a:lnTo>
                    <a:pt x="20811" y="6662"/>
                  </a:lnTo>
                  <a:lnTo>
                    <a:pt x="20820" y="6654"/>
                  </a:lnTo>
                  <a:lnTo>
                    <a:pt x="20829" y="6654"/>
                  </a:lnTo>
                  <a:lnTo>
                    <a:pt x="20829" y="6662"/>
                  </a:lnTo>
                  <a:lnTo>
                    <a:pt x="20837" y="6662"/>
                  </a:lnTo>
                  <a:lnTo>
                    <a:pt x="20846" y="6662"/>
                  </a:lnTo>
                  <a:lnTo>
                    <a:pt x="20855" y="6654"/>
                  </a:lnTo>
                  <a:lnTo>
                    <a:pt x="20864" y="6654"/>
                  </a:lnTo>
                  <a:lnTo>
                    <a:pt x="20873" y="6654"/>
                  </a:lnTo>
                  <a:lnTo>
                    <a:pt x="20890" y="6654"/>
                  </a:lnTo>
                  <a:lnTo>
                    <a:pt x="20899" y="6654"/>
                  </a:lnTo>
                  <a:lnTo>
                    <a:pt x="20899" y="6645"/>
                  </a:lnTo>
                  <a:lnTo>
                    <a:pt x="20908" y="6645"/>
                  </a:lnTo>
                  <a:lnTo>
                    <a:pt x="20917" y="6645"/>
                  </a:lnTo>
                  <a:lnTo>
                    <a:pt x="20926" y="6636"/>
                  </a:lnTo>
                  <a:lnTo>
                    <a:pt x="20926" y="6627"/>
                  </a:lnTo>
                  <a:lnTo>
                    <a:pt x="20934" y="6627"/>
                  </a:lnTo>
                  <a:lnTo>
                    <a:pt x="20934" y="6618"/>
                  </a:lnTo>
                  <a:lnTo>
                    <a:pt x="20934" y="6609"/>
                  </a:lnTo>
                  <a:lnTo>
                    <a:pt x="20943" y="6609"/>
                  </a:lnTo>
                  <a:lnTo>
                    <a:pt x="20952" y="6593"/>
                  </a:lnTo>
                  <a:lnTo>
                    <a:pt x="20961" y="6593"/>
                  </a:lnTo>
                  <a:lnTo>
                    <a:pt x="20970" y="6593"/>
                  </a:lnTo>
                  <a:lnTo>
                    <a:pt x="20979" y="6584"/>
                  </a:lnTo>
                  <a:lnTo>
                    <a:pt x="20979" y="6593"/>
                  </a:lnTo>
                  <a:lnTo>
                    <a:pt x="20987" y="6593"/>
                  </a:lnTo>
                  <a:lnTo>
                    <a:pt x="20987" y="6584"/>
                  </a:lnTo>
                  <a:lnTo>
                    <a:pt x="20987" y="6575"/>
                  </a:lnTo>
                  <a:lnTo>
                    <a:pt x="20996" y="6575"/>
                  </a:lnTo>
                  <a:lnTo>
                    <a:pt x="21005" y="6575"/>
                  </a:lnTo>
                  <a:lnTo>
                    <a:pt x="21005" y="6566"/>
                  </a:lnTo>
                  <a:lnTo>
                    <a:pt x="21014" y="6566"/>
                  </a:lnTo>
                  <a:lnTo>
                    <a:pt x="21023" y="6566"/>
                  </a:lnTo>
                  <a:lnTo>
                    <a:pt x="21023" y="6557"/>
                  </a:lnTo>
                  <a:lnTo>
                    <a:pt x="21032" y="6549"/>
                  </a:lnTo>
                  <a:lnTo>
                    <a:pt x="21032" y="6540"/>
                  </a:lnTo>
                  <a:lnTo>
                    <a:pt x="21032" y="6531"/>
                  </a:lnTo>
                  <a:lnTo>
                    <a:pt x="21023" y="6531"/>
                  </a:lnTo>
                  <a:lnTo>
                    <a:pt x="21032" y="6531"/>
                  </a:lnTo>
                  <a:lnTo>
                    <a:pt x="21032" y="6522"/>
                  </a:lnTo>
                  <a:lnTo>
                    <a:pt x="21040" y="6513"/>
                  </a:lnTo>
                  <a:lnTo>
                    <a:pt x="21049" y="6513"/>
                  </a:lnTo>
                  <a:lnTo>
                    <a:pt x="21049" y="6522"/>
                  </a:lnTo>
                  <a:lnTo>
                    <a:pt x="21058" y="6522"/>
                  </a:lnTo>
                  <a:lnTo>
                    <a:pt x="21076" y="6522"/>
                  </a:lnTo>
                  <a:lnTo>
                    <a:pt x="21076" y="6513"/>
                  </a:lnTo>
                  <a:lnTo>
                    <a:pt x="21084" y="6505"/>
                  </a:lnTo>
                  <a:lnTo>
                    <a:pt x="21076" y="6505"/>
                  </a:lnTo>
                  <a:lnTo>
                    <a:pt x="21076" y="6496"/>
                  </a:lnTo>
                  <a:lnTo>
                    <a:pt x="21084" y="6496"/>
                  </a:lnTo>
                  <a:lnTo>
                    <a:pt x="21093" y="6496"/>
                  </a:lnTo>
                  <a:lnTo>
                    <a:pt x="21102" y="6496"/>
                  </a:lnTo>
                  <a:lnTo>
                    <a:pt x="21102" y="6487"/>
                  </a:lnTo>
                  <a:lnTo>
                    <a:pt x="21102" y="6478"/>
                  </a:lnTo>
                  <a:lnTo>
                    <a:pt x="21102" y="6469"/>
                  </a:lnTo>
                  <a:lnTo>
                    <a:pt x="21120" y="6469"/>
                  </a:lnTo>
                  <a:lnTo>
                    <a:pt x="21129" y="6469"/>
                  </a:lnTo>
                  <a:lnTo>
                    <a:pt x="21120" y="6460"/>
                  </a:lnTo>
                  <a:lnTo>
                    <a:pt x="21111" y="6452"/>
                  </a:lnTo>
                  <a:lnTo>
                    <a:pt x="21120" y="6452"/>
                  </a:lnTo>
                  <a:lnTo>
                    <a:pt x="21129" y="6452"/>
                  </a:lnTo>
                  <a:lnTo>
                    <a:pt x="21137" y="6452"/>
                  </a:lnTo>
                  <a:lnTo>
                    <a:pt x="21146" y="6460"/>
                  </a:lnTo>
                  <a:lnTo>
                    <a:pt x="21146" y="6452"/>
                  </a:lnTo>
                  <a:lnTo>
                    <a:pt x="21146" y="6443"/>
                  </a:lnTo>
                  <a:lnTo>
                    <a:pt x="21146" y="6434"/>
                  </a:lnTo>
                  <a:lnTo>
                    <a:pt x="21146" y="6425"/>
                  </a:lnTo>
                  <a:lnTo>
                    <a:pt x="21155" y="6416"/>
                  </a:lnTo>
                  <a:lnTo>
                    <a:pt x="21146" y="6407"/>
                  </a:lnTo>
                  <a:lnTo>
                    <a:pt x="21137" y="6407"/>
                  </a:lnTo>
                  <a:lnTo>
                    <a:pt x="21137" y="6416"/>
                  </a:lnTo>
                  <a:lnTo>
                    <a:pt x="21129" y="6416"/>
                  </a:lnTo>
                  <a:lnTo>
                    <a:pt x="21120" y="6407"/>
                  </a:lnTo>
                  <a:lnTo>
                    <a:pt x="21111" y="6399"/>
                  </a:lnTo>
                  <a:lnTo>
                    <a:pt x="21120" y="6399"/>
                  </a:lnTo>
                  <a:lnTo>
                    <a:pt x="21129" y="6407"/>
                  </a:lnTo>
                  <a:lnTo>
                    <a:pt x="21137" y="6407"/>
                  </a:lnTo>
                  <a:lnTo>
                    <a:pt x="21146" y="6399"/>
                  </a:lnTo>
                  <a:lnTo>
                    <a:pt x="21155" y="6390"/>
                  </a:lnTo>
                  <a:lnTo>
                    <a:pt x="21164" y="6381"/>
                  </a:lnTo>
                  <a:lnTo>
                    <a:pt x="21173" y="6381"/>
                  </a:lnTo>
                  <a:lnTo>
                    <a:pt x="21164" y="6372"/>
                  </a:lnTo>
                  <a:lnTo>
                    <a:pt x="21164" y="6363"/>
                  </a:lnTo>
                  <a:lnTo>
                    <a:pt x="21155" y="6363"/>
                  </a:lnTo>
                  <a:lnTo>
                    <a:pt x="21146" y="6354"/>
                  </a:lnTo>
                  <a:lnTo>
                    <a:pt x="21146" y="6346"/>
                  </a:lnTo>
                  <a:lnTo>
                    <a:pt x="21155" y="6354"/>
                  </a:lnTo>
                  <a:lnTo>
                    <a:pt x="21164" y="6346"/>
                  </a:lnTo>
                  <a:lnTo>
                    <a:pt x="21164" y="6354"/>
                  </a:lnTo>
                  <a:lnTo>
                    <a:pt x="21173" y="6354"/>
                  </a:lnTo>
                  <a:lnTo>
                    <a:pt x="21173" y="6363"/>
                  </a:lnTo>
                  <a:lnTo>
                    <a:pt x="21182" y="6363"/>
                  </a:lnTo>
                  <a:lnTo>
                    <a:pt x="21182" y="6354"/>
                  </a:lnTo>
                  <a:lnTo>
                    <a:pt x="21182" y="6346"/>
                  </a:lnTo>
                  <a:lnTo>
                    <a:pt x="21190" y="6337"/>
                  </a:lnTo>
                  <a:lnTo>
                    <a:pt x="21199" y="6319"/>
                  </a:lnTo>
                  <a:lnTo>
                    <a:pt x="21208" y="6319"/>
                  </a:lnTo>
                  <a:lnTo>
                    <a:pt x="21217" y="6310"/>
                  </a:lnTo>
                  <a:lnTo>
                    <a:pt x="21217" y="6302"/>
                  </a:lnTo>
                  <a:lnTo>
                    <a:pt x="21226" y="6302"/>
                  </a:lnTo>
                  <a:lnTo>
                    <a:pt x="21226" y="6293"/>
                  </a:lnTo>
                  <a:lnTo>
                    <a:pt x="21217" y="6284"/>
                  </a:lnTo>
                  <a:lnTo>
                    <a:pt x="21226" y="6284"/>
                  </a:lnTo>
                  <a:lnTo>
                    <a:pt x="21226" y="6275"/>
                  </a:lnTo>
                  <a:lnTo>
                    <a:pt x="21243" y="6257"/>
                  </a:lnTo>
                  <a:lnTo>
                    <a:pt x="21234" y="6257"/>
                  </a:lnTo>
                  <a:lnTo>
                    <a:pt x="21234" y="6249"/>
                  </a:lnTo>
                  <a:lnTo>
                    <a:pt x="21243" y="6249"/>
                  </a:lnTo>
                  <a:lnTo>
                    <a:pt x="21252" y="6249"/>
                  </a:lnTo>
                  <a:lnTo>
                    <a:pt x="21252" y="6240"/>
                  </a:lnTo>
                  <a:lnTo>
                    <a:pt x="21261" y="6231"/>
                  </a:lnTo>
                  <a:lnTo>
                    <a:pt x="21261" y="6222"/>
                  </a:lnTo>
                  <a:lnTo>
                    <a:pt x="21270" y="6222"/>
                  </a:lnTo>
                  <a:lnTo>
                    <a:pt x="21270" y="6231"/>
                  </a:lnTo>
                  <a:lnTo>
                    <a:pt x="21279" y="6231"/>
                  </a:lnTo>
                  <a:lnTo>
                    <a:pt x="21287" y="6222"/>
                  </a:lnTo>
                  <a:lnTo>
                    <a:pt x="21296" y="6231"/>
                  </a:lnTo>
                  <a:lnTo>
                    <a:pt x="21296" y="6222"/>
                  </a:lnTo>
                  <a:lnTo>
                    <a:pt x="21287" y="6213"/>
                  </a:lnTo>
                  <a:lnTo>
                    <a:pt x="21287" y="6204"/>
                  </a:lnTo>
                  <a:lnTo>
                    <a:pt x="21287" y="6196"/>
                  </a:lnTo>
                  <a:lnTo>
                    <a:pt x="21296" y="6196"/>
                  </a:lnTo>
                  <a:lnTo>
                    <a:pt x="21296" y="6187"/>
                  </a:lnTo>
                  <a:lnTo>
                    <a:pt x="21287" y="6178"/>
                  </a:lnTo>
                  <a:lnTo>
                    <a:pt x="21296" y="6178"/>
                  </a:lnTo>
                  <a:lnTo>
                    <a:pt x="21305" y="6178"/>
                  </a:lnTo>
                  <a:lnTo>
                    <a:pt x="21296" y="6169"/>
                  </a:lnTo>
                  <a:lnTo>
                    <a:pt x="21287" y="6160"/>
                  </a:lnTo>
                  <a:lnTo>
                    <a:pt x="21287" y="6151"/>
                  </a:lnTo>
                  <a:lnTo>
                    <a:pt x="21296" y="6151"/>
                  </a:lnTo>
                  <a:lnTo>
                    <a:pt x="21305" y="6151"/>
                  </a:lnTo>
                  <a:lnTo>
                    <a:pt x="21314" y="6151"/>
                  </a:lnTo>
                  <a:lnTo>
                    <a:pt x="21314" y="6160"/>
                  </a:lnTo>
                  <a:lnTo>
                    <a:pt x="21323" y="6160"/>
                  </a:lnTo>
                  <a:lnTo>
                    <a:pt x="21323" y="6134"/>
                  </a:lnTo>
                  <a:lnTo>
                    <a:pt x="21323" y="6125"/>
                  </a:lnTo>
                  <a:lnTo>
                    <a:pt x="21314" y="6125"/>
                  </a:lnTo>
                  <a:lnTo>
                    <a:pt x="21305" y="6134"/>
                  </a:lnTo>
                  <a:lnTo>
                    <a:pt x="21287" y="6134"/>
                  </a:lnTo>
                  <a:lnTo>
                    <a:pt x="21296" y="6125"/>
                  </a:lnTo>
                  <a:lnTo>
                    <a:pt x="21305" y="6125"/>
                  </a:lnTo>
                  <a:lnTo>
                    <a:pt x="21314" y="6107"/>
                  </a:lnTo>
                  <a:lnTo>
                    <a:pt x="21331" y="6099"/>
                  </a:lnTo>
                  <a:lnTo>
                    <a:pt x="21323" y="6099"/>
                  </a:lnTo>
                  <a:lnTo>
                    <a:pt x="21314" y="6099"/>
                  </a:lnTo>
                  <a:lnTo>
                    <a:pt x="21305" y="6090"/>
                  </a:lnTo>
                  <a:lnTo>
                    <a:pt x="21287" y="6072"/>
                  </a:lnTo>
                  <a:lnTo>
                    <a:pt x="21279" y="6072"/>
                  </a:lnTo>
                  <a:lnTo>
                    <a:pt x="21270" y="6063"/>
                  </a:lnTo>
                  <a:lnTo>
                    <a:pt x="21261" y="6072"/>
                  </a:lnTo>
                  <a:lnTo>
                    <a:pt x="21243" y="6081"/>
                  </a:lnTo>
                  <a:lnTo>
                    <a:pt x="21226" y="6081"/>
                  </a:lnTo>
                  <a:lnTo>
                    <a:pt x="21217" y="6072"/>
                  </a:lnTo>
                  <a:lnTo>
                    <a:pt x="21208" y="6072"/>
                  </a:lnTo>
                  <a:lnTo>
                    <a:pt x="21199" y="6072"/>
                  </a:lnTo>
                  <a:lnTo>
                    <a:pt x="21190" y="6072"/>
                  </a:lnTo>
                  <a:lnTo>
                    <a:pt x="21199" y="6072"/>
                  </a:lnTo>
                  <a:lnTo>
                    <a:pt x="21208" y="6063"/>
                  </a:lnTo>
                  <a:lnTo>
                    <a:pt x="21226" y="6063"/>
                  </a:lnTo>
                  <a:lnTo>
                    <a:pt x="21234" y="6063"/>
                  </a:lnTo>
                  <a:lnTo>
                    <a:pt x="21243" y="6063"/>
                  </a:lnTo>
                  <a:lnTo>
                    <a:pt x="21243" y="6054"/>
                  </a:lnTo>
                  <a:lnTo>
                    <a:pt x="21252" y="6046"/>
                  </a:lnTo>
                  <a:lnTo>
                    <a:pt x="21279" y="6037"/>
                  </a:lnTo>
                  <a:lnTo>
                    <a:pt x="21279" y="6028"/>
                  </a:lnTo>
                  <a:lnTo>
                    <a:pt x="21287" y="6028"/>
                  </a:lnTo>
                  <a:lnTo>
                    <a:pt x="21305" y="6019"/>
                  </a:lnTo>
                  <a:lnTo>
                    <a:pt x="21314" y="6019"/>
                  </a:lnTo>
                  <a:lnTo>
                    <a:pt x="21314" y="6010"/>
                  </a:lnTo>
                  <a:lnTo>
                    <a:pt x="21305" y="6001"/>
                  </a:lnTo>
                  <a:lnTo>
                    <a:pt x="21296" y="5984"/>
                  </a:lnTo>
                  <a:lnTo>
                    <a:pt x="21279" y="5975"/>
                  </a:lnTo>
                  <a:lnTo>
                    <a:pt x="21270" y="5957"/>
                  </a:lnTo>
                  <a:lnTo>
                    <a:pt x="21252" y="5957"/>
                  </a:lnTo>
                  <a:lnTo>
                    <a:pt x="21243" y="5948"/>
                  </a:lnTo>
                  <a:lnTo>
                    <a:pt x="21234" y="5948"/>
                  </a:lnTo>
                  <a:lnTo>
                    <a:pt x="21234" y="5940"/>
                  </a:lnTo>
                  <a:lnTo>
                    <a:pt x="21234" y="5931"/>
                  </a:lnTo>
                  <a:lnTo>
                    <a:pt x="21217" y="5931"/>
                  </a:lnTo>
                  <a:lnTo>
                    <a:pt x="21199" y="5931"/>
                  </a:lnTo>
                  <a:lnTo>
                    <a:pt x="21190" y="5940"/>
                  </a:lnTo>
                  <a:lnTo>
                    <a:pt x="21182" y="5940"/>
                  </a:lnTo>
                  <a:lnTo>
                    <a:pt x="21182" y="5931"/>
                  </a:lnTo>
                  <a:lnTo>
                    <a:pt x="21190" y="5931"/>
                  </a:lnTo>
                  <a:lnTo>
                    <a:pt x="21217" y="5922"/>
                  </a:lnTo>
                  <a:lnTo>
                    <a:pt x="21226" y="5922"/>
                  </a:lnTo>
                  <a:lnTo>
                    <a:pt x="21234" y="5931"/>
                  </a:lnTo>
                  <a:lnTo>
                    <a:pt x="21252" y="5940"/>
                  </a:lnTo>
                  <a:lnTo>
                    <a:pt x="21261" y="5940"/>
                  </a:lnTo>
                  <a:lnTo>
                    <a:pt x="21270" y="5940"/>
                  </a:lnTo>
                  <a:lnTo>
                    <a:pt x="21279" y="5940"/>
                  </a:lnTo>
                  <a:lnTo>
                    <a:pt x="21305" y="5957"/>
                  </a:lnTo>
                  <a:lnTo>
                    <a:pt x="21314" y="5957"/>
                  </a:lnTo>
                  <a:lnTo>
                    <a:pt x="21314" y="5948"/>
                  </a:lnTo>
                  <a:lnTo>
                    <a:pt x="21314" y="5940"/>
                  </a:lnTo>
                  <a:lnTo>
                    <a:pt x="21305" y="5931"/>
                  </a:lnTo>
                  <a:lnTo>
                    <a:pt x="21287" y="5922"/>
                  </a:lnTo>
                  <a:lnTo>
                    <a:pt x="21279" y="5913"/>
                  </a:lnTo>
                  <a:lnTo>
                    <a:pt x="21279" y="5904"/>
                  </a:lnTo>
                  <a:lnTo>
                    <a:pt x="21279" y="5896"/>
                  </a:lnTo>
                  <a:lnTo>
                    <a:pt x="21270" y="5896"/>
                  </a:lnTo>
                  <a:lnTo>
                    <a:pt x="21252" y="5887"/>
                  </a:lnTo>
                  <a:lnTo>
                    <a:pt x="21243" y="5878"/>
                  </a:lnTo>
                  <a:lnTo>
                    <a:pt x="21243" y="5869"/>
                  </a:lnTo>
                  <a:lnTo>
                    <a:pt x="21243" y="5860"/>
                  </a:lnTo>
                  <a:lnTo>
                    <a:pt x="21243" y="5851"/>
                  </a:lnTo>
                  <a:lnTo>
                    <a:pt x="21234" y="5834"/>
                  </a:lnTo>
                  <a:lnTo>
                    <a:pt x="21226" y="5807"/>
                  </a:lnTo>
                  <a:lnTo>
                    <a:pt x="21217" y="5798"/>
                  </a:lnTo>
                  <a:lnTo>
                    <a:pt x="21217" y="5790"/>
                  </a:lnTo>
                  <a:lnTo>
                    <a:pt x="21208" y="5781"/>
                  </a:lnTo>
                  <a:lnTo>
                    <a:pt x="21199" y="5754"/>
                  </a:lnTo>
                  <a:lnTo>
                    <a:pt x="21199" y="5745"/>
                  </a:lnTo>
                  <a:lnTo>
                    <a:pt x="21190" y="5737"/>
                  </a:lnTo>
                  <a:lnTo>
                    <a:pt x="21173" y="5728"/>
                  </a:lnTo>
                  <a:lnTo>
                    <a:pt x="21164" y="5728"/>
                  </a:lnTo>
                  <a:lnTo>
                    <a:pt x="21146" y="5719"/>
                  </a:lnTo>
                  <a:lnTo>
                    <a:pt x="21137" y="5710"/>
                  </a:lnTo>
                  <a:lnTo>
                    <a:pt x="21129" y="5701"/>
                  </a:lnTo>
                  <a:lnTo>
                    <a:pt x="21120" y="5701"/>
                  </a:lnTo>
                  <a:lnTo>
                    <a:pt x="21120" y="5693"/>
                  </a:lnTo>
                  <a:lnTo>
                    <a:pt x="21120" y="5684"/>
                  </a:lnTo>
                  <a:lnTo>
                    <a:pt x="21129" y="5675"/>
                  </a:lnTo>
                  <a:lnTo>
                    <a:pt x="21137" y="5657"/>
                  </a:lnTo>
                  <a:lnTo>
                    <a:pt x="21146" y="5657"/>
                  </a:lnTo>
                  <a:lnTo>
                    <a:pt x="21146" y="5648"/>
                  </a:lnTo>
                  <a:lnTo>
                    <a:pt x="21155" y="5640"/>
                  </a:lnTo>
                  <a:lnTo>
                    <a:pt x="21164" y="5631"/>
                  </a:lnTo>
                  <a:lnTo>
                    <a:pt x="21173" y="5631"/>
                  </a:lnTo>
                  <a:lnTo>
                    <a:pt x="21173" y="5622"/>
                  </a:lnTo>
                  <a:lnTo>
                    <a:pt x="21182" y="5622"/>
                  </a:lnTo>
                  <a:lnTo>
                    <a:pt x="21182" y="5613"/>
                  </a:lnTo>
                  <a:lnTo>
                    <a:pt x="21190" y="5604"/>
                  </a:lnTo>
                  <a:lnTo>
                    <a:pt x="21199" y="5604"/>
                  </a:lnTo>
                  <a:lnTo>
                    <a:pt x="21190" y="5595"/>
                  </a:lnTo>
                  <a:lnTo>
                    <a:pt x="21182" y="5595"/>
                  </a:lnTo>
                  <a:lnTo>
                    <a:pt x="21190" y="5587"/>
                  </a:lnTo>
                  <a:lnTo>
                    <a:pt x="21199" y="5578"/>
                  </a:lnTo>
                  <a:lnTo>
                    <a:pt x="21199" y="5587"/>
                  </a:lnTo>
                  <a:lnTo>
                    <a:pt x="21199" y="5595"/>
                  </a:lnTo>
                  <a:lnTo>
                    <a:pt x="21208" y="5595"/>
                  </a:lnTo>
                  <a:lnTo>
                    <a:pt x="21217" y="5595"/>
                  </a:lnTo>
                  <a:lnTo>
                    <a:pt x="21226" y="5587"/>
                  </a:lnTo>
                  <a:lnTo>
                    <a:pt x="21226" y="5569"/>
                  </a:lnTo>
                  <a:lnTo>
                    <a:pt x="21234" y="5569"/>
                  </a:lnTo>
                  <a:lnTo>
                    <a:pt x="21234" y="5560"/>
                  </a:lnTo>
                  <a:lnTo>
                    <a:pt x="21243" y="5569"/>
                  </a:lnTo>
                  <a:lnTo>
                    <a:pt x="21243" y="5560"/>
                  </a:lnTo>
                  <a:lnTo>
                    <a:pt x="21234" y="5551"/>
                  </a:lnTo>
                  <a:lnTo>
                    <a:pt x="21243" y="5551"/>
                  </a:lnTo>
                  <a:lnTo>
                    <a:pt x="21252" y="5551"/>
                  </a:lnTo>
                  <a:lnTo>
                    <a:pt x="21261" y="5543"/>
                  </a:lnTo>
                  <a:lnTo>
                    <a:pt x="21279" y="5543"/>
                  </a:lnTo>
                  <a:lnTo>
                    <a:pt x="21305" y="5534"/>
                  </a:lnTo>
                  <a:lnTo>
                    <a:pt x="21323" y="5525"/>
                  </a:lnTo>
                  <a:lnTo>
                    <a:pt x="21331" y="5516"/>
                  </a:lnTo>
                  <a:lnTo>
                    <a:pt x="21340" y="5525"/>
                  </a:lnTo>
                  <a:lnTo>
                    <a:pt x="21340" y="5534"/>
                  </a:lnTo>
                  <a:lnTo>
                    <a:pt x="21349" y="5534"/>
                  </a:lnTo>
                  <a:lnTo>
                    <a:pt x="21358" y="5525"/>
                  </a:lnTo>
                  <a:lnTo>
                    <a:pt x="21367" y="5525"/>
                  </a:lnTo>
                  <a:lnTo>
                    <a:pt x="21367" y="5516"/>
                  </a:lnTo>
                  <a:lnTo>
                    <a:pt x="21358" y="5516"/>
                  </a:lnTo>
                  <a:lnTo>
                    <a:pt x="21358" y="5507"/>
                  </a:lnTo>
                  <a:lnTo>
                    <a:pt x="21367" y="5507"/>
                  </a:lnTo>
                  <a:lnTo>
                    <a:pt x="21367" y="5498"/>
                  </a:lnTo>
                  <a:lnTo>
                    <a:pt x="21367" y="5490"/>
                  </a:lnTo>
                  <a:lnTo>
                    <a:pt x="21376" y="5481"/>
                  </a:lnTo>
                  <a:lnTo>
                    <a:pt x="21367" y="5481"/>
                  </a:lnTo>
                  <a:lnTo>
                    <a:pt x="21358" y="5481"/>
                  </a:lnTo>
                  <a:lnTo>
                    <a:pt x="21349" y="5481"/>
                  </a:lnTo>
                  <a:lnTo>
                    <a:pt x="21340" y="5481"/>
                  </a:lnTo>
                  <a:lnTo>
                    <a:pt x="21331" y="5472"/>
                  </a:lnTo>
                  <a:lnTo>
                    <a:pt x="21323" y="5472"/>
                  </a:lnTo>
                  <a:lnTo>
                    <a:pt x="21323" y="5481"/>
                  </a:lnTo>
                  <a:lnTo>
                    <a:pt x="21314" y="5481"/>
                  </a:lnTo>
                  <a:lnTo>
                    <a:pt x="21296" y="5481"/>
                  </a:lnTo>
                  <a:lnTo>
                    <a:pt x="21287" y="5472"/>
                  </a:lnTo>
                  <a:lnTo>
                    <a:pt x="21279" y="5472"/>
                  </a:lnTo>
                  <a:lnTo>
                    <a:pt x="21270" y="5463"/>
                  </a:lnTo>
                  <a:lnTo>
                    <a:pt x="21252" y="5454"/>
                  </a:lnTo>
                  <a:lnTo>
                    <a:pt x="21234" y="5445"/>
                  </a:lnTo>
                  <a:lnTo>
                    <a:pt x="21208" y="5454"/>
                  </a:lnTo>
                  <a:lnTo>
                    <a:pt x="21199" y="5454"/>
                  </a:lnTo>
                  <a:lnTo>
                    <a:pt x="21199" y="5463"/>
                  </a:lnTo>
                  <a:lnTo>
                    <a:pt x="21190" y="5472"/>
                  </a:lnTo>
                  <a:lnTo>
                    <a:pt x="21173" y="5490"/>
                  </a:lnTo>
                  <a:lnTo>
                    <a:pt x="21173" y="5498"/>
                  </a:lnTo>
                  <a:lnTo>
                    <a:pt x="21164" y="5507"/>
                  </a:lnTo>
                  <a:lnTo>
                    <a:pt x="21137" y="5507"/>
                  </a:lnTo>
                  <a:lnTo>
                    <a:pt x="21129" y="5507"/>
                  </a:lnTo>
                  <a:lnTo>
                    <a:pt x="21111" y="5498"/>
                  </a:lnTo>
                  <a:lnTo>
                    <a:pt x="21102" y="5490"/>
                  </a:lnTo>
                  <a:lnTo>
                    <a:pt x="21102" y="5472"/>
                  </a:lnTo>
                  <a:lnTo>
                    <a:pt x="21102" y="5463"/>
                  </a:lnTo>
                  <a:lnTo>
                    <a:pt x="21111" y="5463"/>
                  </a:lnTo>
                  <a:lnTo>
                    <a:pt x="21111" y="5454"/>
                  </a:lnTo>
                  <a:lnTo>
                    <a:pt x="21111" y="5445"/>
                  </a:lnTo>
                  <a:lnTo>
                    <a:pt x="21102" y="5437"/>
                  </a:lnTo>
                  <a:lnTo>
                    <a:pt x="21102" y="5428"/>
                  </a:lnTo>
                  <a:lnTo>
                    <a:pt x="21093" y="5419"/>
                  </a:lnTo>
                  <a:lnTo>
                    <a:pt x="21076" y="5419"/>
                  </a:lnTo>
                  <a:lnTo>
                    <a:pt x="21067" y="5428"/>
                  </a:lnTo>
                  <a:lnTo>
                    <a:pt x="21032" y="5419"/>
                  </a:lnTo>
                  <a:lnTo>
                    <a:pt x="21014" y="5410"/>
                  </a:lnTo>
                  <a:lnTo>
                    <a:pt x="21005" y="5392"/>
                  </a:lnTo>
                  <a:lnTo>
                    <a:pt x="20996" y="5384"/>
                  </a:lnTo>
                  <a:lnTo>
                    <a:pt x="20996" y="5375"/>
                  </a:lnTo>
                  <a:lnTo>
                    <a:pt x="21005" y="5357"/>
                  </a:lnTo>
                  <a:lnTo>
                    <a:pt x="21014" y="5340"/>
                  </a:lnTo>
                  <a:lnTo>
                    <a:pt x="21023" y="5331"/>
                  </a:lnTo>
                  <a:lnTo>
                    <a:pt x="21032" y="5331"/>
                  </a:lnTo>
                  <a:lnTo>
                    <a:pt x="21040" y="5331"/>
                  </a:lnTo>
                  <a:lnTo>
                    <a:pt x="21049" y="5340"/>
                  </a:lnTo>
                  <a:lnTo>
                    <a:pt x="21067" y="5340"/>
                  </a:lnTo>
                  <a:lnTo>
                    <a:pt x="21076" y="5331"/>
                  </a:lnTo>
                  <a:lnTo>
                    <a:pt x="21084" y="5331"/>
                  </a:lnTo>
                  <a:lnTo>
                    <a:pt x="21093" y="5331"/>
                  </a:lnTo>
                  <a:lnTo>
                    <a:pt x="21102" y="5331"/>
                  </a:lnTo>
                  <a:lnTo>
                    <a:pt x="21111" y="5331"/>
                  </a:lnTo>
                  <a:lnTo>
                    <a:pt x="21120" y="5313"/>
                  </a:lnTo>
                  <a:lnTo>
                    <a:pt x="21120" y="5295"/>
                  </a:lnTo>
                  <a:lnTo>
                    <a:pt x="21129" y="5287"/>
                  </a:lnTo>
                  <a:lnTo>
                    <a:pt x="21137" y="5287"/>
                  </a:lnTo>
                  <a:lnTo>
                    <a:pt x="21146" y="5269"/>
                  </a:lnTo>
                  <a:lnTo>
                    <a:pt x="21164" y="5260"/>
                  </a:lnTo>
                  <a:lnTo>
                    <a:pt x="21208" y="5242"/>
                  </a:lnTo>
                  <a:lnTo>
                    <a:pt x="21217" y="5242"/>
                  </a:lnTo>
                  <a:lnTo>
                    <a:pt x="21234" y="5207"/>
                  </a:lnTo>
                  <a:lnTo>
                    <a:pt x="21243" y="5207"/>
                  </a:lnTo>
                  <a:lnTo>
                    <a:pt x="21243" y="5198"/>
                  </a:lnTo>
                  <a:lnTo>
                    <a:pt x="21252" y="5198"/>
                  </a:lnTo>
                  <a:lnTo>
                    <a:pt x="21261" y="5189"/>
                  </a:lnTo>
                  <a:lnTo>
                    <a:pt x="21261" y="5181"/>
                  </a:lnTo>
                  <a:lnTo>
                    <a:pt x="21287" y="5181"/>
                  </a:lnTo>
                  <a:lnTo>
                    <a:pt x="21296" y="5189"/>
                  </a:lnTo>
                  <a:lnTo>
                    <a:pt x="21305" y="5189"/>
                  </a:lnTo>
                  <a:lnTo>
                    <a:pt x="21305" y="5181"/>
                  </a:lnTo>
                  <a:lnTo>
                    <a:pt x="21314" y="5181"/>
                  </a:lnTo>
                  <a:lnTo>
                    <a:pt x="21314" y="5189"/>
                  </a:lnTo>
                  <a:lnTo>
                    <a:pt x="21331" y="5198"/>
                  </a:lnTo>
                  <a:lnTo>
                    <a:pt x="21340" y="5207"/>
                  </a:lnTo>
                  <a:lnTo>
                    <a:pt x="21349" y="5216"/>
                  </a:lnTo>
                  <a:lnTo>
                    <a:pt x="21340" y="5216"/>
                  </a:lnTo>
                  <a:lnTo>
                    <a:pt x="21340" y="5225"/>
                  </a:lnTo>
                  <a:lnTo>
                    <a:pt x="21340" y="5234"/>
                  </a:lnTo>
                  <a:lnTo>
                    <a:pt x="21323" y="5251"/>
                  </a:lnTo>
                  <a:lnTo>
                    <a:pt x="21314" y="5260"/>
                  </a:lnTo>
                  <a:lnTo>
                    <a:pt x="21314" y="5269"/>
                  </a:lnTo>
                  <a:lnTo>
                    <a:pt x="21287" y="5278"/>
                  </a:lnTo>
                  <a:lnTo>
                    <a:pt x="21287" y="5287"/>
                  </a:lnTo>
                  <a:lnTo>
                    <a:pt x="21287" y="5295"/>
                  </a:lnTo>
                  <a:lnTo>
                    <a:pt x="21279" y="5295"/>
                  </a:lnTo>
                  <a:lnTo>
                    <a:pt x="21270" y="5304"/>
                  </a:lnTo>
                  <a:lnTo>
                    <a:pt x="21270" y="5313"/>
                  </a:lnTo>
                  <a:lnTo>
                    <a:pt x="21279" y="5313"/>
                  </a:lnTo>
                  <a:lnTo>
                    <a:pt x="21287" y="5313"/>
                  </a:lnTo>
                  <a:lnTo>
                    <a:pt x="21305" y="5313"/>
                  </a:lnTo>
                  <a:lnTo>
                    <a:pt x="21314" y="5313"/>
                  </a:lnTo>
                  <a:lnTo>
                    <a:pt x="21305" y="5313"/>
                  </a:lnTo>
                  <a:lnTo>
                    <a:pt x="21296" y="5322"/>
                  </a:lnTo>
                  <a:lnTo>
                    <a:pt x="21296" y="5331"/>
                  </a:lnTo>
                  <a:lnTo>
                    <a:pt x="21305" y="5340"/>
                  </a:lnTo>
                  <a:lnTo>
                    <a:pt x="21270" y="5348"/>
                  </a:lnTo>
                  <a:lnTo>
                    <a:pt x="21261" y="5348"/>
                  </a:lnTo>
                  <a:lnTo>
                    <a:pt x="21261" y="5357"/>
                  </a:lnTo>
                  <a:lnTo>
                    <a:pt x="21261" y="5366"/>
                  </a:lnTo>
                  <a:lnTo>
                    <a:pt x="21270" y="5366"/>
                  </a:lnTo>
                  <a:lnTo>
                    <a:pt x="21279" y="5366"/>
                  </a:lnTo>
                  <a:lnTo>
                    <a:pt x="21287" y="5366"/>
                  </a:lnTo>
                  <a:lnTo>
                    <a:pt x="21296" y="5357"/>
                  </a:lnTo>
                  <a:lnTo>
                    <a:pt x="21305" y="5357"/>
                  </a:lnTo>
                  <a:lnTo>
                    <a:pt x="21296" y="5348"/>
                  </a:lnTo>
                  <a:lnTo>
                    <a:pt x="21305" y="5348"/>
                  </a:lnTo>
                  <a:lnTo>
                    <a:pt x="21314" y="5348"/>
                  </a:lnTo>
                  <a:lnTo>
                    <a:pt x="21323" y="5348"/>
                  </a:lnTo>
                  <a:lnTo>
                    <a:pt x="21323" y="5340"/>
                  </a:lnTo>
                  <a:lnTo>
                    <a:pt x="21331" y="5340"/>
                  </a:lnTo>
                  <a:lnTo>
                    <a:pt x="21331" y="5331"/>
                  </a:lnTo>
                  <a:lnTo>
                    <a:pt x="21340" y="5322"/>
                  </a:lnTo>
                  <a:lnTo>
                    <a:pt x="21349" y="5313"/>
                  </a:lnTo>
                  <a:lnTo>
                    <a:pt x="21384" y="5295"/>
                  </a:lnTo>
                  <a:lnTo>
                    <a:pt x="21393" y="5295"/>
                  </a:lnTo>
                  <a:lnTo>
                    <a:pt x="21402" y="5287"/>
                  </a:lnTo>
                  <a:lnTo>
                    <a:pt x="21411" y="5287"/>
                  </a:lnTo>
                  <a:lnTo>
                    <a:pt x="21420" y="5287"/>
                  </a:lnTo>
                  <a:lnTo>
                    <a:pt x="21420" y="5278"/>
                  </a:lnTo>
                  <a:lnTo>
                    <a:pt x="21437" y="5278"/>
                  </a:lnTo>
                  <a:lnTo>
                    <a:pt x="21446" y="5278"/>
                  </a:lnTo>
                  <a:lnTo>
                    <a:pt x="21446" y="5269"/>
                  </a:lnTo>
                  <a:lnTo>
                    <a:pt x="21455" y="5278"/>
                  </a:lnTo>
                  <a:lnTo>
                    <a:pt x="21481" y="5278"/>
                  </a:lnTo>
                  <a:lnTo>
                    <a:pt x="21490" y="5269"/>
                  </a:lnTo>
                  <a:lnTo>
                    <a:pt x="21499" y="5260"/>
                  </a:lnTo>
                  <a:lnTo>
                    <a:pt x="21499" y="5269"/>
                  </a:lnTo>
                  <a:lnTo>
                    <a:pt x="21517" y="5278"/>
                  </a:lnTo>
                  <a:lnTo>
                    <a:pt x="21517" y="5287"/>
                  </a:lnTo>
                  <a:lnTo>
                    <a:pt x="21517" y="5295"/>
                  </a:lnTo>
                  <a:lnTo>
                    <a:pt x="21526" y="5295"/>
                  </a:lnTo>
                  <a:lnTo>
                    <a:pt x="21526" y="5287"/>
                  </a:lnTo>
                  <a:lnTo>
                    <a:pt x="21526" y="5278"/>
                  </a:lnTo>
                  <a:lnTo>
                    <a:pt x="21534" y="5287"/>
                  </a:lnTo>
                  <a:lnTo>
                    <a:pt x="21552" y="5295"/>
                  </a:lnTo>
                  <a:lnTo>
                    <a:pt x="21561" y="5295"/>
                  </a:lnTo>
                  <a:lnTo>
                    <a:pt x="21570" y="5304"/>
                  </a:lnTo>
                  <a:lnTo>
                    <a:pt x="21570" y="5313"/>
                  </a:lnTo>
                  <a:lnTo>
                    <a:pt x="21579" y="5322"/>
                  </a:lnTo>
                  <a:lnTo>
                    <a:pt x="21561" y="5357"/>
                  </a:lnTo>
                  <a:lnTo>
                    <a:pt x="21561" y="5366"/>
                  </a:lnTo>
                  <a:lnTo>
                    <a:pt x="21570" y="5366"/>
                  </a:lnTo>
                  <a:lnTo>
                    <a:pt x="21579" y="5366"/>
                  </a:lnTo>
                  <a:lnTo>
                    <a:pt x="21579" y="5375"/>
                  </a:lnTo>
                  <a:lnTo>
                    <a:pt x="21587" y="5375"/>
                  </a:lnTo>
                  <a:lnTo>
                    <a:pt x="21579" y="5375"/>
                  </a:lnTo>
                  <a:lnTo>
                    <a:pt x="21570" y="5375"/>
                  </a:lnTo>
                  <a:lnTo>
                    <a:pt x="21552" y="5384"/>
                  </a:lnTo>
                  <a:lnTo>
                    <a:pt x="21543" y="5392"/>
                  </a:lnTo>
                  <a:lnTo>
                    <a:pt x="21534" y="5401"/>
                  </a:lnTo>
                  <a:lnTo>
                    <a:pt x="21534" y="5410"/>
                  </a:lnTo>
                  <a:lnTo>
                    <a:pt x="21526" y="5419"/>
                  </a:lnTo>
                  <a:lnTo>
                    <a:pt x="21526" y="5428"/>
                  </a:lnTo>
                  <a:lnTo>
                    <a:pt x="21534" y="5419"/>
                  </a:lnTo>
                  <a:lnTo>
                    <a:pt x="21543" y="5428"/>
                  </a:lnTo>
                  <a:lnTo>
                    <a:pt x="21561" y="5428"/>
                  </a:lnTo>
                  <a:lnTo>
                    <a:pt x="21543" y="5437"/>
                  </a:lnTo>
                  <a:lnTo>
                    <a:pt x="21552" y="5445"/>
                  </a:lnTo>
                  <a:lnTo>
                    <a:pt x="21570" y="5445"/>
                  </a:lnTo>
                  <a:lnTo>
                    <a:pt x="21570" y="5454"/>
                  </a:lnTo>
                  <a:lnTo>
                    <a:pt x="21579" y="5454"/>
                  </a:lnTo>
                  <a:lnTo>
                    <a:pt x="21587" y="5445"/>
                  </a:lnTo>
                  <a:lnTo>
                    <a:pt x="21596" y="5437"/>
                  </a:lnTo>
                  <a:lnTo>
                    <a:pt x="21605" y="5437"/>
                  </a:lnTo>
                  <a:lnTo>
                    <a:pt x="21614" y="5445"/>
                  </a:lnTo>
                  <a:lnTo>
                    <a:pt x="21623" y="5445"/>
                  </a:lnTo>
                  <a:lnTo>
                    <a:pt x="21631" y="5454"/>
                  </a:lnTo>
                  <a:lnTo>
                    <a:pt x="21631" y="5445"/>
                  </a:lnTo>
                  <a:lnTo>
                    <a:pt x="21649" y="5445"/>
                  </a:lnTo>
                  <a:lnTo>
                    <a:pt x="21658" y="5445"/>
                  </a:lnTo>
                  <a:lnTo>
                    <a:pt x="21667" y="5454"/>
                  </a:lnTo>
                  <a:lnTo>
                    <a:pt x="21658" y="5454"/>
                  </a:lnTo>
                  <a:lnTo>
                    <a:pt x="21658" y="5463"/>
                  </a:lnTo>
                  <a:lnTo>
                    <a:pt x="21667" y="5463"/>
                  </a:lnTo>
                  <a:lnTo>
                    <a:pt x="21667" y="5472"/>
                  </a:lnTo>
                  <a:lnTo>
                    <a:pt x="21667" y="5481"/>
                  </a:lnTo>
                  <a:lnTo>
                    <a:pt x="21676" y="5490"/>
                  </a:lnTo>
                  <a:lnTo>
                    <a:pt x="21676" y="5498"/>
                  </a:lnTo>
                  <a:lnTo>
                    <a:pt x="21676" y="5507"/>
                  </a:lnTo>
                  <a:lnTo>
                    <a:pt x="21684" y="5516"/>
                  </a:lnTo>
                  <a:lnTo>
                    <a:pt x="21693" y="5525"/>
                  </a:lnTo>
                  <a:lnTo>
                    <a:pt x="21684" y="5525"/>
                  </a:lnTo>
                  <a:lnTo>
                    <a:pt x="21684" y="5534"/>
                  </a:lnTo>
                  <a:lnTo>
                    <a:pt x="21676" y="5525"/>
                  </a:lnTo>
                  <a:lnTo>
                    <a:pt x="21667" y="5525"/>
                  </a:lnTo>
                  <a:lnTo>
                    <a:pt x="21658" y="5516"/>
                  </a:lnTo>
                  <a:lnTo>
                    <a:pt x="21649" y="5516"/>
                  </a:lnTo>
                  <a:lnTo>
                    <a:pt x="21649" y="5525"/>
                  </a:lnTo>
                  <a:lnTo>
                    <a:pt x="21631" y="5525"/>
                  </a:lnTo>
                  <a:lnTo>
                    <a:pt x="21631" y="5534"/>
                  </a:lnTo>
                  <a:lnTo>
                    <a:pt x="21631" y="5543"/>
                  </a:lnTo>
                  <a:lnTo>
                    <a:pt x="21640" y="5543"/>
                  </a:lnTo>
                  <a:lnTo>
                    <a:pt x="21649" y="5543"/>
                  </a:lnTo>
                  <a:lnTo>
                    <a:pt x="21658" y="5543"/>
                  </a:lnTo>
                  <a:lnTo>
                    <a:pt x="21658" y="5551"/>
                  </a:lnTo>
                  <a:lnTo>
                    <a:pt x="21658" y="5560"/>
                  </a:lnTo>
                  <a:lnTo>
                    <a:pt x="21658" y="5569"/>
                  </a:lnTo>
                  <a:lnTo>
                    <a:pt x="21658" y="5578"/>
                  </a:lnTo>
                  <a:lnTo>
                    <a:pt x="21658" y="5587"/>
                  </a:lnTo>
                  <a:lnTo>
                    <a:pt x="21667" y="5595"/>
                  </a:lnTo>
                  <a:lnTo>
                    <a:pt x="21667" y="5604"/>
                  </a:lnTo>
                  <a:lnTo>
                    <a:pt x="21676" y="5613"/>
                  </a:lnTo>
                  <a:lnTo>
                    <a:pt x="21676" y="5622"/>
                  </a:lnTo>
                  <a:lnTo>
                    <a:pt x="21667" y="5622"/>
                  </a:lnTo>
                  <a:lnTo>
                    <a:pt x="21658" y="5631"/>
                  </a:lnTo>
                  <a:lnTo>
                    <a:pt x="21658" y="5640"/>
                  </a:lnTo>
                  <a:lnTo>
                    <a:pt x="21667" y="5640"/>
                  </a:lnTo>
                  <a:lnTo>
                    <a:pt x="21658" y="5640"/>
                  </a:lnTo>
                  <a:lnTo>
                    <a:pt x="21649" y="5648"/>
                  </a:lnTo>
                  <a:lnTo>
                    <a:pt x="21649" y="5657"/>
                  </a:lnTo>
                  <a:lnTo>
                    <a:pt x="21649" y="5666"/>
                  </a:lnTo>
                  <a:lnTo>
                    <a:pt x="21640" y="5675"/>
                  </a:lnTo>
                  <a:lnTo>
                    <a:pt x="21640" y="5684"/>
                  </a:lnTo>
                  <a:lnTo>
                    <a:pt x="21649" y="5693"/>
                  </a:lnTo>
                  <a:lnTo>
                    <a:pt x="21649" y="5701"/>
                  </a:lnTo>
                  <a:lnTo>
                    <a:pt x="21658" y="5701"/>
                  </a:lnTo>
                  <a:lnTo>
                    <a:pt x="21667" y="5701"/>
                  </a:lnTo>
                  <a:lnTo>
                    <a:pt x="21658" y="5701"/>
                  </a:lnTo>
                  <a:lnTo>
                    <a:pt x="21658" y="5710"/>
                  </a:lnTo>
                  <a:lnTo>
                    <a:pt x="21649" y="5710"/>
                  </a:lnTo>
                  <a:lnTo>
                    <a:pt x="21640" y="5710"/>
                  </a:lnTo>
                  <a:lnTo>
                    <a:pt x="21640" y="5719"/>
                  </a:lnTo>
                  <a:lnTo>
                    <a:pt x="21658" y="5728"/>
                  </a:lnTo>
                  <a:lnTo>
                    <a:pt x="21658" y="5737"/>
                  </a:lnTo>
                  <a:lnTo>
                    <a:pt x="21658" y="5745"/>
                  </a:lnTo>
                  <a:lnTo>
                    <a:pt x="21658" y="5737"/>
                  </a:lnTo>
                  <a:lnTo>
                    <a:pt x="21667" y="5737"/>
                  </a:lnTo>
                  <a:lnTo>
                    <a:pt x="21676" y="5728"/>
                  </a:lnTo>
                  <a:lnTo>
                    <a:pt x="21684" y="5728"/>
                  </a:lnTo>
                  <a:lnTo>
                    <a:pt x="21693" y="5719"/>
                  </a:lnTo>
                  <a:lnTo>
                    <a:pt x="21711" y="5701"/>
                  </a:lnTo>
                  <a:lnTo>
                    <a:pt x="21711" y="5710"/>
                  </a:lnTo>
                  <a:lnTo>
                    <a:pt x="21711" y="5719"/>
                  </a:lnTo>
                  <a:lnTo>
                    <a:pt x="21702" y="5719"/>
                  </a:lnTo>
                  <a:lnTo>
                    <a:pt x="21720" y="5728"/>
                  </a:lnTo>
                  <a:lnTo>
                    <a:pt x="21720" y="5719"/>
                  </a:lnTo>
                  <a:lnTo>
                    <a:pt x="21728" y="5719"/>
                  </a:lnTo>
                  <a:lnTo>
                    <a:pt x="21720" y="5710"/>
                  </a:lnTo>
                  <a:lnTo>
                    <a:pt x="21720" y="5701"/>
                  </a:lnTo>
                  <a:lnTo>
                    <a:pt x="21728" y="5701"/>
                  </a:lnTo>
                  <a:lnTo>
                    <a:pt x="21737" y="5701"/>
                  </a:lnTo>
                  <a:lnTo>
                    <a:pt x="21737" y="5710"/>
                  </a:lnTo>
                  <a:lnTo>
                    <a:pt x="21746" y="5710"/>
                  </a:lnTo>
                  <a:lnTo>
                    <a:pt x="21746" y="5701"/>
                  </a:lnTo>
                  <a:lnTo>
                    <a:pt x="21737" y="5701"/>
                  </a:lnTo>
                  <a:lnTo>
                    <a:pt x="21737" y="5693"/>
                  </a:lnTo>
                  <a:lnTo>
                    <a:pt x="21746" y="5693"/>
                  </a:lnTo>
                  <a:lnTo>
                    <a:pt x="21755" y="5684"/>
                  </a:lnTo>
                  <a:lnTo>
                    <a:pt x="21764" y="5684"/>
                  </a:lnTo>
                  <a:lnTo>
                    <a:pt x="21773" y="5684"/>
                  </a:lnTo>
                  <a:lnTo>
                    <a:pt x="21773" y="5693"/>
                  </a:lnTo>
                  <a:lnTo>
                    <a:pt x="21781" y="5693"/>
                  </a:lnTo>
                  <a:lnTo>
                    <a:pt x="21790" y="5693"/>
                  </a:lnTo>
                  <a:lnTo>
                    <a:pt x="21799" y="5693"/>
                  </a:lnTo>
                  <a:lnTo>
                    <a:pt x="21799" y="5684"/>
                  </a:lnTo>
                  <a:lnTo>
                    <a:pt x="21799" y="5675"/>
                  </a:lnTo>
                  <a:lnTo>
                    <a:pt x="21808" y="5675"/>
                  </a:lnTo>
                  <a:lnTo>
                    <a:pt x="21817" y="5675"/>
                  </a:lnTo>
                  <a:lnTo>
                    <a:pt x="21826" y="5675"/>
                  </a:lnTo>
                  <a:lnTo>
                    <a:pt x="21834" y="5675"/>
                  </a:lnTo>
                  <a:lnTo>
                    <a:pt x="21843" y="5675"/>
                  </a:lnTo>
                  <a:lnTo>
                    <a:pt x="21852" y="5666"/>
                  </a:lnTo>
                  <a:lnTo>
                    <a:pt x="21861" y="5657"/>
                  </a:lnTo>
                  <a:lnTo>
                    <a:pt x="21870" y="5640"/>
                  </a:lnTo>
                  <a:lnTo>
                    <a:pt x="21878" y="5631"/>
                  </a:lnTo>
                  <a:lnTo>
                    <a:pt x="21878" y="5604"/>
                  </a:lnTo>
                  <a:lnTo>
                    <a:pt x="21878" y="5595"/>
                  </a:lnTo>
                  <a:lnTo>
                    <a:pt x="21870" y="5604"/>
                  </a:lnTo>
                  <a:lnTo>
                    <a:pt x="21870" y="5595"/>
                  </a:lnTo>
                  <a:lnTo>
                    <a:pt x="21870" y="5587"/>
                  </a:lnTo>
                  <a:lnTo>
                    <a:pt x="21870" y="5578"/>
                  </a:lnTo>
                  <a:lnTo>
                    <a:pt x="21870" y="5569"/>
                  </a:lnTo>
                  <a:lnTo>
                    <a:pt x="21870" y="5560"/>
                  </a:lnTo>
                  <a:lnTo>
                    <a:pt x="21870" y="5551"/>
                  </a:lnTo>
                  <a:lnTo>
                    <a:pt x="21878" y="5543"/>
                  </a:lnTo>
                  <a:lnTo>
                    <a:pt x="21870" y="5525"/>
                  </a:lnTo>
                  <a:lnTo>
                    <a:pt x="21870" y="5516"/>
                  </a:lnTo>
                  <a:lnTo>
                    <a:pt x="21861" y="5498"/>
                  </a:lnTo>
                  <a:lnTo>
                    <a:pt x="21843" y="5463"/>
                  </a:lnTo>
                  <a:lnTo>
                    <a:pt x="21826" y="5445"/>
                  </a:lnTo>
                  <a:lnTo>
                    <a:pt x="21808" y="5419"/>
                  </a:lnTo>
                  <a:lnTo>
                    <a:pt x="21790" y="5384"/>
                  </a:lnTo>
                  <a:lnTo>
                    <a:pt x="21790" y="5375"/>
                  </a:lnTo>
                  <a:lnTo>
                    <a:pt x="21781" y="5366"/>
                  </a:lnTo>
                  <a:lnTo>
                    <a:pt x="21773" y="5366"/>
                  </a:lnTo>
                  <a:lnTo>
                    <a:pt x="21764" y="5357"/>
                  </a:lnTo>
                  <a:lnTo>
                    <a:pt x="21746" y="5340"/>
                  </a:lnTo>
                  <a:lnTo>
                    <a:pt x="21737" y="5331"/>
                  </a:lnTo>
                  <a:lnTo>
                    <a:pt x="21728" y="5331"/>
                  </a:lnTo>
                  <a:lnTo>
                    <a:pt x="21720" y="5331"/>
                  </a:lnTo>
                  <a:lnTo>
                    <a:pt x="21720" y="5322"/>
                  </a:lnTo>
                  <a:lnTo>
                    <a:pt x="21720" y="5313"/>
                  </a:lnTo>
                  <a:lnTo>
                    <a:pt x="21728" y="5313"/>
                  </a:lnTo>
                  <a:lnTo>
                    <a:pt x="21728" y="5304"/>
                  </a:lnTo>
                  <a:lnTo>
                    <a:pt x="21728" y="5295"/>
                  </a:lnTo>
                  <a:lnTo>
                    <a:pt x="21728" y="5287"/>
                  </a:lnTo>
                  <a:lnTo>
                    <a:pt x="21737" y="5278"/>
                  </a:lnTo>
                  <a:lnTo>
                    <a:pt x="21755" y="5269"/>
                  </a:lnTo>
                  <a:lnTo>
                    <a:pt x="21764" y="5260"/>
                  </a:lnTo>
                  <a:lnTo>
                    <a:pt x="21773" y="5260"/>
                  </a:lnTo>
                  <a:lnTo>
                    <a:pt x="21790" y="5260"/>
                  </a:lnTo>
                  <a:lnTo>
                    <a:pt x="21799" y="5251"/>
                  </a:lnTo>
                  <a:lnTo>
                    <a:pt x="21808" y="5251"/>
                  </a:lnTo>
                  <a:lnTo>
                    <a:pt x="21808" y="5242"/>
                  </a:lnTo>
                  <a:lnTo>
                    <a:pt x="21817" y="5234"/>
                  </a:lnTo>
                  <a:lnTo>
                    <a:pt x="21826" y="5234"/>
                  </a:lnTo>
                  <a:lnTo>
                    <a:pt x="21834" y="5225"/>
                  </a:lnTo>
                  <a:lnTo>
                    <a:pt x="21843" y="5216"/>
                  </a:lnTo>
                  <a:lnTo>
                    <a:pt x="21861" y="5207"/>
                  </a:lnTo>
                  <a:lnTo>
                    <a:pt x="21861" y="5198"/>
                  </a:lnTo>
                  <a:lnTo>
                    <a:pt x="21887" y="5189"/>
                  </a:lnTo>
                  <a:lnTo>
                    <a:pt x="21896" y="5181"/>
                  </a:lnTo>
                  <a:lnTo>
                    <a:pt x="21896" y="5163"/>
                  </a:lnTo>
                  <a:lnTo>
                    <a:pt x="21896" y="5145"/>
                  </a:lnTo>
                  <a:lnTo>
                    <a:pt x="21896" y="5137"/>
                  </a:lnTo>
                  <a:lnTo>
                    <a:pt x="21887" y="5128"/>
                  </a:lnTo>
                  <a:lnTo>
                    <a:pt x="21887" y="5119"/>
                  </a:lnTo>
                  <a:lnTo>
                    <a:pt x="21896" y="5110"/>
                  </a:lnTo>
                  <a:lnTo>
                    <a:pt x="21905" y="5101"/>
                  </a:lnTo>
                  <a:lnTo>
                    <a:pt x="21905" y="5092"/>
                  </a:lnTo>
                  <a:lnTo>
                    <a:pt x="21914" y="5084"/>
                  </a:lnTo>
                  <a:lnTo>
                    <a:pt x="21923" y="5075"/>
                  </a:lnTo>
                  <a:lnTo>
                    <a:pt x="21931" y="5075"/>
                  </a:lnTo>
                  <a:lnTo>
                    <a:pt x="21940" y="5066"/>
                  </a:lnTo>
                  <a:lnTo>
                    <a:pt x="21949" y="5057"/>
                  </a:lnTo>
                  <a:lnTo>
                    <a:pt x="21958" y="5057"/>
                  </a:lnTo>
                  <a:lnTo>
                    <a:pt x="21958" y="5066"/>
                  </a:lnTo>
                  <a:lnTo>
                    <a:pt x="21967" y="5057"/>
                  </a:lnTo>
                  <a:lnTo>
                    <a:pt x="21976" y="5039"/>
                  </a:lnTo>
                  <a:lnTo>
                    <a:pt x="21967" y="5031"/>
                  </a:lnTo>
                  <a:lnTo>
                    <a:pt x="21984" y="5031"/>
                  </a:lnTo>
                  <a:lnTo>
                    <a:pt x="22002" y="5031"/>
                  </a:lnTo>
                  <a:lnTo>
                    <a:pt x="22002" y="5022"/>
                  </a:lnTo>
                  <a:lnTo>
                    <a:pt x="22011" y="5022"/>
                  </a:lnTo>
                  <a:lnTo>
                    <a:pt x="22020" y="5013"/>
                  </a:lnTo>
                  <a:lnTo>
                    <a:pt x="22028" y="4995"/>
                  </a:lnTo>
                  <a:lnTo>
                    <a:pt x="22037" y="4978"/>
                  </a:lnTo>
                  <a:lnTo>
                    <a:pt x="22046" y="4978"/>
                  </a:lnTo>
                  <a:lnTo>
                    <a:pt x="22055" y="4969"/>
                  </a:lnTo>
                  <a:lnTo>
                    <a:pt x="22064" y="4969"/>
                  </a:lnTo>
                  <a:lnTo>
                    <a:pt x="22055" y="4986"/>
                  </a:lnTo>
                  <a:lnTo>
                    <a:pt x="22046" y="4986"/>
                  </a:lnTo>
                  <a:lnTo>
                    <a:pt x="22055" y="4986"/>
                  </a:lnTo>
                  <a:lnTo>
                    <a:pt x="22064" y="4986"/>
                  </a:lnTo>
                  <a:lnTo>
                    <a:pt x="22081" y="4978"/>
                  </a:lnTo>
                  <a:lnTo>
                    <a:pt x="22081" y="4969"/>
                  </a:lnTo>
                  <a:lnTo>
                    <a:pt x="22081" y="4978"/>
                  </a:lnTo>
                  <a:lnTo>
                    <a:pt x="22081" y="5004"/>
                  </a:lnTo>
                  <a:lnTo>
                    <a:pt x="22099" y="5004"/>
                  </a:lnTo>
                  <a:lnTo>
                    <a:pt x="22099" y="5013"/>
                  </a:lnTo>
                  <a:lnTo>
                    <a:pt x="22108" y="5013"/>
                  </a:lnTo>
                  <a:lnTo>
                    <a:pt x="22126" y="5013"/>
                  </a:lnTo>
                  <a:lnTo>
                    <a:pt x="22134" y="5013"/>
                  </a:lnTo>
                  <a:lnTo>
                    <a:pt x="22134" y="5022"/>
                  </a:lnTo>
                  <a:lnTo>
                    <a:pt x="22143" y="5022"/>
                  </a:lnTo>
                  <a:lnTo>
                    <a:pt x="22161" y="5022"/>
                  </a:lnTo>
                  <a:lnTo>
                    <a:pt x="22178" y="5013"/>
                  </a:lnTo>
                  <a:lnTo>
                    <a:pt x="22187" y="5013"/>
                  </a:lnTo>
                  <a:lnTo>
                    <a:pt x="22205" y="5004"/>
                  </a:lnTo>
                  <a:lnTo>
                    <a:pt x="22223" y="4995"/>
                  </a:lnTo>
                  <a:lnTo>
                    <a:pt x="22258" y="4969"/>
                  </a:lnTo>
                  <a:lnTo>
                    <a:pt x="22275" y="4960"/>
                  </a:lnTo>
                  <a:lnTo>
                    <a:pt x="22293" y="4951"/>
                  </a:lnTo>
                  <a:lnTo>
                    <a:pt x="22302" y="4934"/>
                  </a:lnTo>
                  <a:lnTo>
                    <a:pt x="22320" y="4925"/>
                  </a:lnTo>
                  <a:lnTo>
                    <a:pt x="22320" y="4916"/>
                  </a:lnTo>
                  <a:lnTo>
                    <a:pt x="22320" y="4907"/>
                  </a:lnTo>
                  <a:lnTo>
                    <a:pt x="22346" y="4872"/>
                  </a:lnTo>
                  <a:lnTo>
                    <a:pt x="22355" y="4872"/>
                  </a:lnTo>
                  <a:lnTo>
                    <a:pt x="22364" y="4863"/>
                  </a:lnTo>
                  <a:lnTo>
                    <a:pt x="22373" y="4854"/>
                  </a:lnTo>
                  <a:lnTo>
                    <a:pt x="22373" y="4845"/>
                  </a:lnTo>
                  <a:lnTo>
                    <a:pt x="22390" y="4836"/>
                  </a:lnTo>
                  <a:lnTo>
                    <a:pt x="22399" y="4819"/>
                  </a:lnTo>
                  <a:lnTo>
                    <a:pt x="22408" y="4810"/>
                  </a:lnTo>
                  <a:lnTo>
                    <a:pt x="22417" y="4801"/>
                  </a:lnTo>
                  <a:lnTo>
                    <a:pt x="22434" y="4784"/>
                  </a:lnTo>
                  <a:lnTo>
                    <a:pt x="22461" y="4757"/>
                  </a:lnTo>
                  <a:lnTo>
                    <a:pt x="22478" y="4748"/>
                  </a:lnTo>
                  <a:lnTo>
                    <a:pt x="22487" y="4731"/>
                  </a:lnTo>
                  <a:lnTo>
                    <a:pt x="22505" y="4704"/>
                  </a:lnTo>
                  <a:lnTo>
                    <a:pt x="22514" y="4686"/>
                  </a:lnTo>
                  <a:lnTo>
                    <a:pt x="22523" y="4678"/>
                  </a:lnTo>
                  <a:lnTo>
                    <a:pt x="22531" y="4660"/>
                  </a:lnTo>
                  <a:lnTo>
                    <a:pt x="22540" y="4642"/>
                  </a:lnTo>
                  <a:lnTo>
                    <a:pt x="22540" y="4633"/>
                  </a:lnTo>
                  <a:lnTo>
                    <a:pt x="22575" y="4598"/>
                  </a:lnTo>
                  <a:lnTo>
                    <a:pt x="22584" y="4572"/>
                  </a:lnTo>
                  <a:lnTo>
                    <a:pt x="22602" y="4554"/>
                  </a:lnTo>
                  <a:lnTo>
                    <a:pt x="22611" y="4545"/>
                  </a:lnTo>
                  <a:lnTo>
                    <a:pt x="22628" y="4536"/>
                  </a:lnTo>
                  <a:lnTo>
                    <a:pt x="22628" y="4528"/>
                  </a:lnTo>
                  <a:lnTo>
                    <a:pt x="22646" y="4510"/>
                  </a:lnTo>
                  <a:lnTo>
                    <a:pt x="22655" y="4501"/>
                  </a:lnTo>
                  <a:lnTo>
                    <a:pt x="22664" y="4492"/>
                  </a:lnTo>
                  <a:lnTo>
                    <a:pt x="22664" y="4466"/>
                  </a:lnTo>
                  <a:lnTo>
                    <a:pt x="22672" y="4448"/>
                  </a:lnTo>
                  <a:lnTo>
                    <a:pt x="22672" y="4439"/>
                  </a:lnTo>
                  <a:lnTo>
                    <a:pt x="22672" y="4430"/>
                  </a:lnTo>
                  <a:lnTo>
                    <a:pt x="22681" y="4422"/>
                  </a:lnTo>
                  <a:lnTo>
                    <a:pt x="22681" y="4413"/>
                  </a:lnTo>
                  <a:lnTo>
                    <a:pt x="22690" y="4395"/>
                  </a:lnTo>
                  <a:lnTo>
                    <a:pt x="22681" y="4378"/>
                  </a:lnTo>
                  <a:lnTo>
                    <a:pt x="22681" y="4369"/>
                  </a:lnTo>
                  <a:lnTo>
                    <a:pt x="22681" y="4360"/>
                  </a:lnTo>
                  <a:lnTo>
                    <a:pt x="22690" y="4351"/>
                  </a:lnTo>
                  <a:lnTo>
                    <a:pt x="22690" y="4342"/>
                  </a:lnTo>
                  <a:lnTo>
                    <a:pt x="22681" y="4298"/>
                  </a:lnTo>
                  <a:lnTo>
                    <a:pt x="22690" y="4272"/>
                  </a:lnTo>
                  <a:lnTo>
                    <a:pt x="22699" y="4254"/>
                  </a:lnTo>
                  <a:lnTo>
                    <a:pt x="22699" y="4236"/>
                  </a:lnTo>
                  <a:lnTo>
                    <a:pt x="22708" y="4219"/>
                  </a:lnTo>
                  <a:lnTo>
                    <a:pt x="22717" y="4192"/>
                  </a:lnTo>
                  <a:lnTo>
                    <a:pt x="22734" y="4183"/>
                  </a:lnTo>
                  <a:lnTo>
                    <a:pt x="22743" y="4175"/>
                  </a:lnTo>
                  <a:lnTo>
                    <a:pt x="22752" y="4166"/>
                  </a:lnTo>
                  <a:lnTo>
                    <a:pt x="22752" y="4157"/>
                  </a:lnTo>
                  <a:lnTo>
                    <a:pt x="22761" y="4139"/>
                  </a:lnTo>
                  <a:lnTo>
                    <a:pt x="22752" y="4139"/>
                  </a:lnTo>
                  <a:lnTo>
                    <a:pt x="22743" y="4130"/>
                  </a:lnTo>
                  <a:lnTo>
                    <a:pt x="22734" y="4122"/>
                  </a:lnTo>
                  <a:lnTo>
                    <a:pt x="22734" y="4113"/>
                  </a:lnTo>
                  <a:lnTo>
                    <a:pt x="22743" y="4104"/>
                  </a:lnTo>
                  <a:lnTo>
                    <a:pt x="22743" y="4095"/>
                  </a:lnTo>
                  <a:lnTo>
                    <a:pt x="22743" y="4077"/>
                  </a:lnTo>
                  <a:lnTo>
                    <a:pt x="22725" y="4069"/>
                  </a:lnTo>
                  <a:lnTo>
                    <a:pt x="22717" y="4051"/>
                  </a:lnTo>
                  <a:lnTo>
                    <a:pt x="22708" y="4051"/>
                  </a:lnTo>
                  <a:lnTo>
                    <a:pt x="22717" y="4051"/>
                  </a:lnTo>
                  <a:lnTo>
                    <a:pt x="22734" y="4060"/>
                  </a:lnTo>
                  <a:lnTo>
                    <a:pt x="22743" y="4051"/>
                  </a:lnTo>
                  <a:lnTo>
                    <a:pt x="22752" y="4042"/>
                  </a:lnTo>
                  <a:lnTo>
                    <a:pt x="22752" y="4033"/>
                  </a:lnTo>
                  <a:lnTo>
                    <a:pt x="22734" y="4024"/>
                  </a:lnTo>
                  <a:lnTo>
                    <a:pt x="22725" y="4016"/>
                  </a:lnTo>
                  <a:lnTo>
                    <a:pt x="22725" y="4007"/>
                  </a:lnTo>
                  <a:lnTo>
                    <a:pt x="22699" y="3998"/>
                  </a:lnTo>
                  <a:lnTo>
                    <a:pt x="22672" y="3980"/>
                  </a:lnTo>
                  <a:lnTo>
                    <a:pt x="22664" y="3963"/>
                  </a:lnTo>
                  <a:lnTo>
                    <a:pt x="22664" y="3954"/>
                  </a:lnTo>
                  <a:lnTo>
                    <a:pt x="22637" y="3936"/>
                  </a:lnTo>
                  <a:lnTo>
                    <a:pt x="22628" y="3927"/>
                  </a:lnTo>
                  <a:lnTo>
                    <a:pt x="22602" y="3936"/>
                  </a:lnTo>
                  <a:lnTo>
                    <a:pt x="22584" y="3936"/>
                  </a:lnTo>
                  <a:lnTo>
                    <a:pt x="22549" y="3927"/>
                  </a:lnTo>
                  <a:lnTo>
                    <a:pt x="22558" y="3936"/>
                  </a:lnTo>
                  <a:lnTo>
                    <a:pt x="22549" y="3945"/>
                  </a:lnTo>
                  <a:lnTo>
                    <a:pt x="22558" y="3954"/>
                  </a:lnTo>
                  <a:lnTo>
                    <a:pt x="22549" y="3972"/>
                  </a:lnTo>
                  <a:lnTo>
                    <a:pt x="22549" y="3989"/>
                  </a:lnTo>
                  <a:lnTo>
                    <a:pt x="22540" y="3998"/>
                  </a:lnTo>
                  <a:lnTo>
                    <a:pt x="22531" y="4007"/>
                  </a:lnTo>
                  <a:lnTo>
                    <a:pt x="22523" y="4007"/>
                  </a:lnTo>
                  <a:lnTo>
                    <a:pt x="22523" y="3998"/>
                  </a:lnTo>
                  <a:lnTo>
                    <a:pt x="22531" y="3989"/>
                  </a:lnTo>
                  <a:lnTo>
                    <a:pt x="22540" y="3980"/>
                  </a:lnTo>
                  <a:lnTo>
                    <a:pt x="22540" y="3963"/>
                  </a:lnTo>
                  <a:lnTo>
                    <a:pt x="22531" y="3972"/>
                  </a:lnTo>
                  <a:lnTo>
                    <a:pt x="22523" y="3989"/>
                  </a:lnTo>
                  <a:lnTo>
                    <a:pt x="22496" y="3998"/>
                  </a:lnTo>
                  <a:lnTo>
                    <a:pt x="22478" y="4007"/>
                  </a:lnTo>
                  <a:lnTo>
                    <a:pt x="22452" y="4007"/>
                  </a:lnTo>
                  <a:lnTo>
                    <a:pt x="22443" y="4007"/>
                  </a:lnTo>
                  <a:lnTo>
                    <a:pt x="22443" y="3998"/>
                  </a:lnTo>
                  <a:lnTo>
                    <a:pt x="22452" y="3998"/>
                  </a:lnTo>
                  <a:lnTo>
                    <a:pt x="22470" y="3989"/>
                  </a:lnTo>
                  <a:lnTo>
                    <a:pt x="22478" y="3972"/>
                  </a:lnTo>
                  <a:lnTo>
                    <a:pt x="22487" y="3972"/>
                  </a:lnTo>
                  <a:lnTo>
                    <a:pt x="22487" y="3963"/>
                  </a:lnTo>
                  <a:lnTo>
                    <a:pt x="22470" y="3963"/>
                  </a:lnTo>
                  <a:lnTo>
                    <a:pt x="22461" y="3954"/>
                  </a:lnTo>
                  <a:lnTo>
                    <a:pt x="22452" y="3945"/>
                  </a:lnTo>
                  <a:lnTo>
                    <a:pt x="22461" y="3945"/>
                  </a:lnTo>
                  <a:lnTo>
                    <a:pt x="22470" y="3945"/>
                  </a:lnTo>
                  <a:lnTo>
                    <a:pt x="22478" y="3927"/>
                  </a:lnTo>
                  <a:lnTo>
                    <a:pt x="22470" y="3927"/>
                  </a:lnTo>
                  <a:lnTo>
                    <a:pt x="22452" y="3927"/>
                  </a:lnTo>
                  <a:lnTo>
                    <a:pt x="22434" y="3945"/>
                  </a:lnTo>
                  <a:lnTo>
                    <a:pt x="22443" y="3954"/>
                  </a:lnTo>
                  <a:lnTo>
                    <a:pt x="22443" y="3980"/>
                  </a:lnTo>
                  <a:lnTo>
                    <a:pt x="22425" y="3972"/>
                  </a:lnTo>
                  <a:lnTo>
                    <a:pt x="22417" y="3972"/>
                  </a:lnTo>
                  <a:lnTo>
                    <a:pt x="22417" y="3980"/>
                  </a:lnTo>
                  <a:lnTo>
                    <a:pt x="22408" y="3980"/>
                  </a:lnTo>
                  <a:lnTo>
                    <a:pt x="22408" y="3963"/>
                  </a:lnTo>
                  <a:lnTo>
                    <a:pt x="22408" y="3954"/>
                  </a:lnTo>
                  <a:lnTo>
                    <a:pt x="22408" y="3927"/>
                  </a:lnTo>
                  <a:lnTo>
                    <a:pt x="22417" y="3910"/>
                  </a:lnTo>
                  <a:lnTo>
                    <a:pt x="22417" y="3901"/>
                  </a:lnTo>
                  <a:lnTo>
                    <a:pt x="22417" y="3892"/>
                  </a:lnTo>
                  <a:lnTo>
                    <a:pt x="22408" y="3892"/>
                  </a:lnTo>
                  <a:lnTo>
                    <a:pt x="22399" y="3901"/>
                  </a:lnTo>
                  <a:lnTo>
                    <a:pt x="22373" y="3901"/>
                  </a:lnTo>
                  <a:lnTo>
                    <a:pt x="22346" y="3901"/>
                  </a:lnTo>
                  <a:lnTo>
                    <a:pt x="22311" y="3892"/>
                  </a:lnTo>
                  <a:lnTo>
                    <a:pt x="22302" y="3883"/>
                  </a:lnTo>
                  <a:lnTo>
                    <a:pt x="22293" y="3874"/>
                  </a:lnTo>
                  <a:lnTo>
                    <a:pt x="22302" y="3866"/>
                  </a:lnTo>
                  <a:lnTo>
                    <a:pt x="22320" y="3848"/>
                  </a:lnTo>
                  <a:lnTo>
                    <a:pt x="22337" y="3839"/>
                  </a:lnTo>
                  <a:lnTo>
                    <a:pt x="22364" y="3822"/>
                  </a:lnTo>
                  <a:lnTo>
                    <a:pt x="22381" y="3804"/>
                  </a:lnTo>
                  <a:lnTo>
                    <a:pt x="22390" y="3795"/>
                  </a:lnTo>
                  <a:lnTo>
                    <a:pt x="22417" y="3786"/>
                  </a:lnTo>
                  <a:lnTo>
                    <a:pt x="22425" y="3777"/>
                  </a:lnTo>
                  <a:lnTo>
                    <a:pt x="22443" y="3769"/>
                  </a:lnTo>
                  <a:lnTo>
                    <a:pt x="22452" y="3760"/>
                  </a:lnTo>
                  <a:lnTo>
                    <a:pt x="22470" y="3742"/>
                  </a:lnTo>
                  <a:lnTo>
                    <a:pt x="22478" y="3742"/>
                  </a:lnTo>
                  <a:lnTo>
                    <a:pt x="22505" y="3707"/>
                  </a:lnTo>
                  <a:lnTo>
                    <a:pt x="22514" y="3707"/>
                  </a:lnTo>
                  <a:lnTo>
                    <a:pt x="22514" y="3689"/>
                  </a:lnTo>
                  <a:lnTo>
                    <a:pt x="22549" y="3654"/>
                  </a:lnTo>
                  <a:lnTo>
                    <a:pt x="22575" y="3645"/>
                  </a:lnTo>
                  <a:lnTo>
                    <a:pt x="22584" y="3619"/>
                  </a:lnTo>
                  <a:lnTo>
                    <a:pt x="22611" y="3619"/>
                  </a:lnTo>
                  <a:lnTo>
                    <a:pt x="22611" y="3610"/>
                  </a:lnTo>
                  <a:lnTo>
                    <a:pt x="22620" y="3601"/>
                  </a:lnTo>
                  <a:lnTo>
                    <a:pt x="22637" y="3592"/>
                  </a:lnTo>
                  <a:lnTo>
                    <a:pt x="22646" y="3574"/>
                  </a:lnTo>
                  <a:lnTo>
                    <a:pt x="22681" y="3566"/>
                  </a:lnTo>
                  <a:lnTo>
                    <a:pt x="22681" y="3557"/>
                  </a:lnTo>
                  <a:lnTo>
                    <a:pt x="22699" y="3521"/>
                  </a:lnTo>
                  <a:lnTo>
                    <a:pt x="22708" y="3513"/>
                  </a:lnTo>
                  <a:lnTo>
                    <a:pt x="22717" y="3504"/>
                  </a:lnTo>
                  <a:lnTo>
                    <a:pt x="22743" y="3486"/>
                  </a:lnTo>
                  <a:lnTo>
                    <a:pt x="22770" y="3477"/>
                  </a:lnTo>
                  <a:lnTo>
                    <a:pt x="22778" y="3468"/>
                  </a:lnTo>
                  <a:lnTo>
                    <a:pt x="22796" y="3433"/>
                  </a:lnTo>
                  <a:lnTo>
                    <a:pt x="22822" y="3424"/>
                  </a:lnTo>
                  <a:lnTo>
                    <a:pt x="22840" y="3407"/>
                  </a:lnTo>
                  <a:lnTo>
                    <a:pt x="22884" y="3398"/>
                  </a:lnTo>
                  <a:lnTo>
                    <a:pt x="22911" y="3398"/>
                  </a:lnTo>
                  <a:lnTo>
                    <a:pt x="22928" y="3389"/>
                  </a:lnTo>
                  <a:lnTo>
                    <a:pt x="22955" y="3389"/>
                  </a:lnTo>
                  <a:lnTo>
                    <a:pt x="22981" y="3398"/>
                  </a:lnTo>
                  <a:lnTo>
                    <a:pt x="23061" y="3389"/>
                  </a:lnTo>
                  <a:lnTo>
                    <a:pt x="23069" y="3398"/>
                  </a:lnTo>
                  <a:lnTo>
                    <a:pt x="23078" y="3398"/>
                  </a:lnTo>
                  <a:lnTo>
                    <a:pt x="23087" y="3416"/>
                  </a:lnTo>
                  <a:lnTo>
                    <a:pt x="23096" y="3416"/>
                  </a:lnTo>
                  <a:lnTo>
                    <a:pt x="23114" y="3416"/>
                  </a:lnTo>
                  <a:lnTo>
                    <a:pt x="23122" y="3389"/>
                  </a:lnTo>
                  <a:lnTo>
                    <a:pt x="23131" y="3389"/>
                  </a:lnTo>
                  <a:lnTo>
                    <a:pt x="23149" y="3398"/>
                  </a:lnTo>
                  <a:lnTo>
                    <a:pt x="23167" y="3398"/>
                  </a:lnTo>
                  <a:lnTo>
                    <a:pt x="23202" y="3407"/>
                  </a:lnTo>
                  <a:lnTo>
                    <a:pt x="23211" y="3407"/>
                  </a:lnTo>
                  <a:lnTo>
                    <a:pt x="23228" y="3398"/>
                  </a:lnTo>
                  <a:lnTo>
                    <a:pt x="23255" y="3389"/>
                  </a:lnTo>
                  <a:lnTo>
                    <a:pt x="23272" y="3407"/>
                  </a:lnTo>
                  <a:lnTo>
                    <a:pt x="23290" y="3407"/>
                  </a:lnTo>
                  <a:lnTo>
                    <a:pt x="23308" y="3407"/>
                  </a:lnTo>
                  <a:lnTo>
                    <a:pt x="23308" y="3398"/>
                  </a:lnTo>
                  <a:lnTo>
                    <a:pt x="23299" y="3398"/>
                  </a:lnTo>
                  <a:lnTo>
                    <a:pt x="23290" y="3398"/>
                  </a:lnTo>
                  <a:lnTo>
                    <a:pt x="23290" y="3389"/>
                  </a:lnTo>
                  <a:lnTo>
                    <a:pt x="23299" y="3380"/>
                  </a:lnTo>
                  <a:lnTo>
                    <a:pt x="23308" y="3389"/>
                  </a:lnTo>
                  <a:lnTo>
                    <a:pt x="23317" y="3389"/>
                  </a:lnTo>
                  <a:lnTo>
                    <a:pt x="23325" y="3380"/>
                  </a:lnTo>
                  <a:lnTo>
                    <a:pt x="23317" y="3380"/>
                  </a:lnTo>
                  <a:lnTo>
                    <a:pt x="23317" y="3371"/>
                  </a:lnTo>
                  <a:lnTo>
                    <a:pt x="23334" y="3354"/>
                  </a:lnTo>
                  <a:lnTo>
                    <a:pt x="23343" y="3354"/>
                  </a:lnTo>
                  <a:lnTo>
                    <a:pt x="23361" y="3354"/>
                  </a:lnTo>
                  <a:lnTo>
                    <a:pt x="23396" y="3363"/>
                  </a:lnTo>
                  <a:lnTo>
                    <a:pt x="23405" y="3371"/>
                  </a:lnTo>
                  <a:lnTo>
                    <a:pt x="23414" y="3371"/>
                  </a:lnTo>
                  <a:lnTo>
                    <a:pt x="23431" y="3380"/>
                  </a:lnTo>
                  <a:lnTo>
                    <a:pt x="23422" y="3380"/>
                  </a:lnTo>
                  <a:lnTo>
                    <a:pt x="23431" y="3380"/>
                  </a:lnTo>
                  <a:lnTo>
                    <a:pt x="23440" y="3389"/>
                  </a:lnTo>
                  <a:lnTo>
                    <a:pt x="23449" y="3389"/>
                  </a:lnTo>
                  <a:lnTo>
                    <a:pt x="23449" y="3380"/>
                  </a:lnTo>
                  <a:lnTo>
                    <a:pt x="23458" y="3371"/>
                  </a:lnTo>
                  <a:lnTo>
                    <a:pt x="23467" y="3371"/>
                  </a:lnTo>
                  <a:lnTo>
                    <a:pt x="23484" y="3380"/>
                  </a:lnTo>
                  <a:lnTo>
                    <a:pt x="23493" y="3380"/>
                  </a:lnTo>
                  <a:lnTo>
                    <a:pt x="23519" y="3398"/>
                  </a:lnTo>
                  <a:lnTo>
                    <a:pt x="23528" y="3407"/>
                  </a:lnTo>
                  <a:lnTo>
                    <a:pt x="23537" y="3407"/>
                  </a:lnTo>
                  <a:lnTo>
                    <a:pt x="23546" y="3407"/>
                  </a:lnTo>
                  <a:lnTo>
                    <a:pt x="23546" y="3416"/>
                  </a:lnTo>
                  <a:lnTo>
                    <a:pt x="23528" y="3416"/>
                  </a:lnTo>
                  <a:lnTo>
                    <a:pt x="23511" y="3424"/>
                  </a:lnTo>
                  <a:lnTo>
                    <a:pt x="23493" y="3416"/>
                  </a:lnTo>
                  <a:lnTo>
                    <a:pt x="23467" y="3424"/>
                  </a:lnTo>
                  <a:lnTo>
                    <a:pt x="23484" y="3451"/>
                  </a:lnTo>
                  <a:lnTo>
                    <a:pt x="23511" y="3451"/>
                  </a:lnTo>
                  <a:lnTo>
                    <a:pt x="23537" y="3451"/>
                  </a:lnTo>
                  <a:lnTo>
                    <a:pt x="23546" y="3433"/>
                  </a:lnTo>
                  <a:lnTo>
                    <a:pt x="23555" y="3433"/>
                  </a:lnTo>
                  <a:lnTo>
                    <a:pt x="23564" y="3433"/>
                  </a:lnTo>
                  <a:lnTo>
                    <a:pt x="23572" y="3442"/>
                  </a:lnTo>
                  <a:lnTo>
                    <a:pt x="23590" y="3442"/>
                  </a:lnTo>
                  <a:lnTo>
                    <a:pt x="23599" y="3442"/>
                  </a:lnTo>
                  <a:lnTo>
                    <a:pt x="23608" y="3424"/>
                  </a:lnTo>
                  <a:lnTo>
                    <a:pt x="23616" y="3424"/>
                  </a:lnTo>
                  <a:lnTo>
                    <a:pt x="23625" y="3424"/>
                  </a:lnTo>
                  <a:lnTo>
                    <a:pt x="23634" y="3416"/>
                  </a:lnTo>
                  <a:lnTo>
                    <a:pt x="23652" y="3416"/>
                  </a:lnTo>
                  <a:lnTo>
                    <a:pt x="23669" y="3424"/>
                  </a:lnTo>
                  <a:lnTo>
                    <a:pt x="23678" y="3433"/>
                  </a:lnTo>
                  <a:lnTo>
                    <a:pt x="23696" y="3424"/>
                  </a:lnTo>
                  <a:lnTo>
                    <a:pt x="23705" y="3416"/>
                  </a:lnTo>
                  <a:lnTo>
                    <a:pt x="23714" y="3416"/>
                  </a:lnTo>
                  <a:lnTo>
                    <a:pt x="23731" y="3424"/>
                  </a:lnTo>
                  <a:lnTo>
                    <a:pt x="23740" y="3416"/>
                  </a:lnTo>
                  <a:lnTo>
                    <a:pt x="23749" y="3416"/>
                  </a:lnTo>
                  <a:lnTo>
                    <a:pt x="23766" y="3416"/>
                  </a:lnTo>
                  <a:lnTo>
                    <a:pt x="23758" y="3407"/>
                  </a:lnTo>
                  <a:lnTo>
                    <a:pt x="23766" y="3398"/>
                  </a:lnTo>
                  <a:lnTo>
                    <a:pt x="23749" y="3389"/>
                  </a:lnTo>
                  <a:lnTo>
                    <a:pt x="23722" y="3380"/>
                  </a:lnTo>
                  <a:lnTo>
                    <a:pt x="23705" y="3380"/>
                  </a:lnTo>
                  <a:lnTo>
                    <a:pt x="23696" y="3389"/>
                  </a:lnTo>
                  <a:lnTo>
                    <a:pt x="23696" y="3380"/>
                  </a:lnTo>
                  <a:lnTo>
                    <a:pt x="23687" y="3380"/>
                  </a:lnTo>
                  <a:lnTo>
                    <a:pt x="23696" y="3371"/>
                  </a:lnTo>
                  <a:lnTo>
                    <a:pt x="23696" y="3363"/>
                  </a:lnTo>
                  <a:lnTo>
                    <a:pt x="23696" y="3354"/>
                  </a:lnTo>
                  <a:lnTo>
                    <a:pt x="23696" y="3345"/>
                  </a:lnTo>
                  <a:lnTo>
                    <a:pt x="23705" y="3345"/>
                  </a:lnTo>
                  <a:lnTo>
                    <a:pt x="23714" y="3345"/>
                  </a:lnTo>
                  <a:lnTo>
                    <a:pt x="23722" y="3318"/>
                  </a:lnTo>
                  <a:lnTo>
                    <a:pt x="23749" y="3283"/>
                  </a:lnTo>
                  <a:lnTo>
                    <a:pt x="23784" y="3265"/>
                  </a:lnTo>
                  <a:lnTo>
                    <a:pt x="23802" y="3257"/>
                  </a:lnTo>
                  <a:lnTo>
                    <a:pt x="23811" y="3239"/>
                  </a:lnTo>
                  <a:lnTo>
                    <a:pt x="23828" y="3221"/>
                  </a:lnTo>
                  <a:lnTo>
                    <a:pt x="23846" y="3204"/>
                  </a:lnTo>
                  <a:lnTo>
                    <a:pt x="23864" y="3195"/>
                  </a:lnTo>
                  <a:lnTo>
                    <a:pt x="23872" y="3186"/>
                  </a:lnTo>
                  <a:lnTo>
                    <a:pt x="23872" y="3160"/>
                  </a:lnTo>
                  <a:lnTo>
                    <a:pt x="23881" y="3160"/>
                  </a:lnTo>
                  <a:lnTo>
                    <a:pt x="23890" y="3151"/>
                  </a:lnTo>
                  <a:lnTo>
                    <a:pt x="23908" y="3142"/>
                  </a:lnTo>
                  <a:lnTo>
                    <a:pt x="23925" y="3133"/>
                  </a:lnTo>
                  <a:lnTo>
                    <a:pt x="23934" y="3124"/>
                  </a:lnTo>
                  <a:lnTo>
                    <a:pt x="23961" y="3124"/>
                  </a:lnTo>
                  <a:lnTo>
                    <a:pt x="23978" y="3133"/>
                  </a:lnTo>
                  <a:lnTo>
                    <a:pt x="23996" y="3124"/>
                  </a:lnTo>
                  <a:lnTo>
                    <a:pt x="24013" y="3124"/>
                  </a:lnTo>
                  <a:lnTo>
                    <a:pt x="24031" y="3124"/>
                  </a:lnTo>
                  <a:lnTo>
                    <a:pt x="24049" y="3115"/>
                  </a:lnTo>
                  <a:lnTo>
                    <a:pt x="24058" y="3115"/>
                  </a:lnTo>
                  <a:lnTo>
                    <a:pt x="24066" y="3115"/>
                  </a:lnTo>
                  <a:lnTo>
                    <a:pt x="24075" y="3124"/>
                  </a:lnTo>
                  <a:lnTo>
                    <a:pt x="24084" y="3133"/>
                  </a:lnTo>
                  <a:lnTo>
                    <a:pt x="24102" y="3133"/>
                  </a:lnTo>
                  <a:lnTo>
                    <a:pt x="24128" y="3115"/>
                  </a:lnTo>
                  <a:lnTo>
                    <a:pt x="24137" y="3115"/>
                  </a:lnTo>
                  <a:lnTo>
                    <a:pt x="24146" y="3124"/>
                  </a:lnTo>
                  <a:lnTo>
                    <a:pt x="24137" y="3142"/>
                  </a:lnTo>
                  <a:lnTo>
                    <a:pt x="24128" y="3160"/>
                  </a:lnTo>
                  <a:lnTo>
                    <a:pt x="24111" y="3177"/>
                  </a:lnTo>
                  <a:lnTo>
                    <a:pt x="24111" y="3186"/>
                  </a:lnTo>
                  <a:lnTo>
                    <a:pt x="24111" y="3195"/>
                  </a:lnTo>
                  <a:lnTo>
                    <a:pt x="24111" y="3204"/>
                  </a:lnTo>
                  <a:lnTo>
                    <a:pt x="24111" y="3213"/>
                  </a:lnTo>
                  <a:lnTo>
                    <a:pt x="24102" y="3221"/>
                  </a:lnTo>
                  <a:lnTo>
                    <a:pt x="24111" y="3221"/>
                  </a:lnTo>
                  <a:lnTo>
                    <a:pt x="24119" y="3213"/>
                  </a:lnTo>
                  <a:lnTo>
                    <a:pt x="24128" y="3213"/>
                  </a:lnTo>
                  <a:lnTo>
                    <a:pt x="24137" y="3213"/>
                  </a:lnTo>
                  <a:lnTo>
                    <a:pt x="24146" y="3213"/>
                  </a:lnTo>
                  <a:lnTo>
                    <a:pt x="24137" y="3239"/>
                  </a:lnTo>
                  <a:lnTo>
                    <a:pt x="24137" y="3248"/>
                  </a:lnTo>
                  <a:lnTo>
                    <a:pt x="24128" y="3248"/>
                  </a:lnTo>
                  <a:lnTo>
                    <a:pt x="24128" y="3257"/>
                  </a:lnTo>
                  <a:lnTo>
                    <a:pt x="24137" y="3257"/>
                  </a:lnTo>
                  <a:lnTo>
                    <a:pt x="24146" y="3248"/>
                  </a:lnTo>
                  <a:lnTo>
                    <a:pt x="24155" y="3248"/>
                  </a:lnTo>
                  <a:lnTo>
                    <a:pt x="24172" y="3248"/>
                  </a:lnTo>
                  <a:lnTo>
                    <a:pt x="24190" y="3230"/>
                  </a:lnTo>
                  <a:lnTo>
                    <a:pt x="24199" y="3221"/>
                  </a:lnTo>
                  <a:lnTo>
                    <a:pt x="24278" y="3160"/>
                  </a:lnTo>
                  <a:lnTo>
                    <a:pt x="24296" y="3142"/>
                  </a:lnTo>
                  <a:lnTo>
                    <a:pt x="24305" y="3142"/>
                  </a:lnTo>
                  <a:lnTo>
                    <a:pt x="24313" y="3142"/>
                  </a:lnTo>
                  <a:lnTo>
                    <a:pt x="24322" y="3142"/>
                  </a:lnTo>
                  <a:lnTo>
                    <a:pt x="24322" y="3133"/>
                  </a:lnTo>
                  <a:lnTo>
                    <a:pt x="24331" y="3142"/>
                  </a:lnTo>
                  <a:lnTo>
                    <a:pt x="24331" y="3151"/>
                  </a:lnTo>
                  <a:lnTo>
                    <a:pt x="24340" y="3160"/>
                  </a:lnTo>
                  <a:lnTo>
                    <a:pt x="24340" y="3151"/>
                  </a:lnTo>
                  <a:lnTo>
                    <a:pt x="24349" y="3151"/>
                  </a:lnTo>
                  <a:lnTo>
                    <a:pt x="24358" y="3142"/>
                  </a:lnTo>
                  <a:lnTo>
                    <a:pt x="24358" y="3133"/>
                  </a:lnTo>
                  <a:lnTo>
                    <a:pt x="24340" y="3124"/>
                  </a:lnTo>
                  <a:lnTo>
                    <a:pt x="24340" y="3115"/>
                  </a:lnTo>
                  <a:lnTo>
                    <a:pt x="24349" y="3098"/>
                  </a:lnTo>
                  <a:lnTo>
                    <a:pt x="24349" y="3089"/>
                  </a:lnTo>
                  <a:lnTo>
                    <a:pt x="24349" y="3071"/>
                  </a:lnTo>
                  <a:lnTo>
                    <a:pt x="24358" y="3071"/>
                  </a:lnTo>
                  <a:lnTo>
                    <a:pt x="24358" y="3063"/>
                  </a:lnTo>
                  <a:lnTo>
                    <a:pt x="24358" y="3054"/>
                  </a:lnTo>
                  <a:lnTo>
                    <a:pt x="24358" y="3045"/>
                  </a:lnTo>
                  <a:lnTo>
                    <a:pt x="24366" y="3045"/>
                  </a:lnTo>
                  <a:lnTo>
                    <a:pt x="24428" y="3027"/>
                  </a:lnTo>
                  <a:lnTo>
                    <a:pt x="24446" y="3027"/>
                  </a:lnTo>
                  <a:lnTo>
                    <a:pt x="24455" y="3027"/>
                  </a:lnTo>
                  <a:lnTo>
                    <a:pt x="24472" y="3036"/>
                  </a:lnTo>
                  <a:lnTo>
                    <a:pt x="24490" y="3045"/>
                  </a:lnTo>
                  <a:lnTo>
                    <a:pt x="24516" y="3045"/>
                  </a:lnTo>
                  <a:lnTo>
                    <a:pt x="24516" y="3054"/>
                  </a:lnTo>
                  <a:lnTo>
                    <a:pt x="24508" y="3054"/>
                  </a:lnTo>
                  <a:lnTo>
                    <a:pt x="24499" y="3054"/>
                  </a:lnTo>
                  <a:lnTo>
                    <a:pt x="24499" y="3063"/>
                  </a:lnTo>
                  <a:lnTo>
                    <a:pt x="24499" y="3054"/>
                  </a:lnTo>
                  <a:lnTo>
                    <a:pt x="24481" y="3054"/>
                  </a:lnTo>
                  <a:lnTo>
                    <a:pt x="24463" y="3054"/>
                  </a:lnTo>
                  <a:lnTo>
                    <a:pt x="24455" y="3054"/>
                  </a:lnTo>
                  <a:lnTo>
                    <a:pt x="24437" y="3063"/>
                  </a:lnTo>
                  <a:lnTo>
                    <a:pt x="24428" y="3071"/>
                  </a:lnTo>
                  <a:lnTo>
                    <a:pt x="24419" y="3098"/>
                  </a:lnTo>
                  <a:lnTo>
                    <a:pt x="24419" y="3115"/>
                  </a:lnTo>
                  <a:lnTo>
                    <a:pt x="24410" y="3133"/>
                  </a:lnTo>
                  <a:lnTo>
                    <a:pt x="24402" y="3142"/>
                  </a:lnTo>
                  <a:lnTo>
                    <a:pt x="24402" y="3151"/>
                  </a:lnTo>
                  <a:lnTo>
                    <a:pt x="24402" y="3168"/>
                  </a:lnTo>
                  <a:lnTo>
                    <a:pt x="24410" y="3168"/>
                  </a:lnTo>
                  <a:lnTo>
                    <a:pt x="24410" y="3177"/>
                  </a:lnTo>
                  <a:lnTo>
                    <a:pt x="24402" y="3186"/>
                  </a:lnTo>
                  <a:lnTo>
                    <a:pt x="24384" y="3204"/>
                  </a:lnTo>
                  <a:lnTo>
                    <a:pt x="24375" y="3213"/>
                  </a:lnTo>
                  <a:lnTo>
                    <a:pt x="24393" y="3230"/>
                  </a:lnTo>
                  <a:lnTo>
                    <a:pt x="24384" y="3230"/>
                  </a:lnTo>
                  <a:lnTo>
                    <a:pt x="24375" y="3230"/>
                  </a:lnTo>
                  <a:lnTo>
                    <a:pt x="24366" y="3239"/>
                  </a:lnTo>
                  <a:lnTo>
                    <a:pt x="24340" y="3239"/>
                  </a:lnTo>
                  <a:lnTo>
                    <a:pt x="24313" y="3257"/>
                  </a:lnTo>
                  <a:lnTo>
                    <a:pt x="24287" y="3265"/>
                  </a:lnTo>
                  <a:lnTo>
                    <a:pt x="24269" y="3274"/>
                  </a:lnTo>
                  <a:lnTo>
                    <a:pt x="24269" y="3283"/>
                  </a:lnTo>
                  <a:lnTo>
                    <a:pt x="24252" y="3301"/>
                  </a:lnTo>
                  <a:lnTo>
                    <a:pt x="24243" y="3310"/>
                  </a:lnTo>
                  <a:lnTo>
                    <a:pt x="24225" y="3327"/>
                  </a:lnTo>
                  <a:lnTo>
                    <a:pt x="24208" y="3345"/>
                  </a:lnTo>
                  <a:lnTo>
                    <a:pt x="24181" y="3371"/>
                  </a:lnTo>
                  <a:lnTo>
                    <a:pt x="24172" y="3371"/>
                  </a:lnTo>
                  <a:lnTo>
                    <a:pt x="24155" y="3380"/>
                  </a:lnTo>
                  <a:lnTo>
                    <a:pt x="24146" y="3398"/>
                  </a:lnTo>
                  <a:lnTo>
                    <a:pt x="24111" y="3424"/>
                  </a:lnTo>
                  <a:lnTo>
                    <a:pt x="24084" y="3460"/>
                  </a:lnTo>
                  <a:lnTo>
                    <a:pt x="24075" y="3468"/>
                  </a:lnTo>
                  <a:lnTo>
                    <a:pt x="24066" y="3477"/>
                  </a:lnTo>
                  <a:lnTo>
                    <a:pt x="24058" y="3486"/>
                  </a:lnTo>
                  <a:lnTo>
                    <a:pt x="24049" y="3495"/>
                  </a:lnTo>
                  <a:lnTo>
                    <a:pt x="24022" y="3513"/>
                  </a:lnTo>
                  <a:lnTo>
                    <a:pt x="24005" y="3530"/>
                  </a:lnTo>
                  <a:lnTo>
                    <a:pt x="23996" y="3539"/>
                  </a:lnTo>
                  <a:lnTo>
                    <a:pt x="23987" y="3539"/>
                  </a:lnTo>
                  <a:lnTo>
                    <a:pt x="23969" y="3548"/>
                  </a:lnTo>
                  <a:lnTo>
                    <a:pt x="23943" y="3539"/>
                  </a:lnTo>
                  <a:lnTo>
                    <a:pt x="23934" y="3566"/>
                  </a:lnTo>
                  <a:lnTo>
                    <a:pt x="23916" y="3566"/>
                  </a:lnTo>
                  <a:lnTo>
                    <a:pt x="23899" y="3566"/>
                  </a:lnTo>
                  <a:lnTo>
                    <a:pt x="23890" y="3566"/>
                  </a:lnTo>
                  <a:lnTo>
                    <a:pt x="23881" y="3566"/>
                  </a:lnTo>
                  <a:lnTo>
                    <a:pt x="23881" y="3574"/>
                  </a:lnTo>
                  <a:lnTo>
                    <a:pt x="23890" y="3583"/>
                  </a:lnTo>
                  <a:lnTo>
                    <a:pt x="23899" y="3592"/>
                  </a:lnTo>
                  <a:lnTo>
                    <a:pt x="23899" y="3601"/>
                  </a:lnTo>
                  <a:lnTo>
                    <a:pt x="23890" y="3619"/>
                  </a:lnTo>
                  <a:lnTo>
                    <a:pt x="23881" y="3636"/>
                  </a:lnTo>
                  <a:lnTo>
                    <a:pt x="23864" y="3645"/>
                  </a:lnTo>
                  <a:lnTo>
                    <a:pt x="23828" y="3671"/>
                  </a:lnTo>
                  <a:lnTo>
                    <a:pt x="23828" y="3680"/>
                  </a:lnTo>
                  <a:lnTo>
                    <a:pt x="23819" y="3680"/>
                  </a:lnTo>
                  <a:lnTo>
                    <a:pt x="23802" y="3751"/>
                  </a:lnTo>
                  <a:lnTo>
                    <a:pt x="23802" y="3777"/>
                  </a:lnTo>
                  <a:lnTo>
                    <a:pt x="23793" y="3822"/>
                  </a:lnTo>
                  <a:lnTo>
                    <a:pt x="23793" y="3839"/>
                  </a:lnTo>
                  <a:lnTo>
                    <a:pt x="23793" y="3874"/>
                  </a:lnTo>
                  <a:lnTo>
                    <a:pt x="23802" y="3910"/>
                  </a:lnTo>
                  <a:lnTo>
                    <a:pt x="23819" y="3963"/>
                  </a:lnTo>
                  <a:lnTo>
                    <a:pt x="23819" y="3989"/>
                  </a:lnTo>
                  <a:lnTo>
                    <a:pt x="23828" y="4060"/>
                  </a:lnTo>
                  <a:lnTo>
                    <a:pt x="23828" y="4069"/>
                  </a:lnTo>
                  <a:lnTo>
                    <a:pt x="23837" y="4086"/>
                  </a:lnTo>
                  <a:lnTo>
                    <a:pt x="23837" y="4095"/>
                  </a:lnTo>
                  <a:lnTo>
                    <a:pt x="23855" y="4104"/>
                  </a:lnTo>
                  <a:lnTo>
                    <a:pt x="23855" y="4122"/>
                  </a:lnTo>
                  <a:lnTo>
                    <a:pt x="23864" y="4166"/>
                  </a:lnTo>
                  <a:lnTo>
                    <a:pt x="23864" y="4210"/>
                  </a:lnTo>
                  <a:lnTo>
                    <a:pt x="23864" y="4219"/>
                  </a:lnTo>
                  <a:lnTo>
                    <a:pt x="23864" y="4227"/>
                  </a:lnTo>
                  <a:lnTo>
                    <a:pt x="23872" y="4236"/>
                  </a:lnTo>
                  <a:lnTo>
                    <a:pt x="23872" y="4245"/>
                  </a:lnTo>
                  <a:lnTo>
                    <a:pt x="23881" y="4254"/>
                  </a:lnTo>
                  <a:lnTo>
                    <a:pt x="23881" y="4263"/>
                  </a:lnTo>
                  <a:lnTo>
                    <a:pt x="23890" y="4254"/>
                  </a:lnTo>
                  <a:lnTo>
                    <a:pt x="23916" y="4236"/>
                  </a:lnTo>
                  <a:lnTo>
                    <a:pt x="23934" y="4219"/>
                  </a:lnTo>
                  <a:lnTo>
                    <a:pt x="23934" y="4210"/>
                  </a:lnTo>
                  <a:lnTo>
                    <a:pt x="23943" y="4201"/>
                  </a:lnTo>
                  <a:lnTo>
                    <a:pt x="23961" y="4201"/>
                  </a:lnTo>
                  <a:lnTo>
                    <a:pt x="23978" y="4175"/>
                  </a:lnTo>
                  <a:lnTo>
                    <a:pt x="23996" y="4148"/>
                  </a:lnTo>
                  <a:lnTo>
                    <a:pt x="24005" y="4130"/>
                  </a:lnTo>
                  <a:lnTo>
                    <a:pt x="24005" y="4122"/>
                  </a:lnTo>
                  <a:lnTo>
                    <a:pt x="24005" y="4113"/>
                  </a:lnTo>
                  <a:lnTo>
                    <a:pt x="24005" y="4095"/>
                  </a:lnTo>
                  <a:lnTo>
                    <a:pt x="24013" y="4086"/>
                  </a:lnTo>
                  <a:lnTo>
                    <a:pt x="24013" y="4069"/>
                  </a:lnTo>
                  <a:lnTo>
                    <a:pt x="24005" y="4060"/>
                  </a:lnTo>
                  <a:lnTo>
                    <a:pt x="24013" y="4051"/>
                  </a:lnTo>
                  <a:lnTo>
                    <a:pt x="24022" y="4060"/>
                  </a:lnTo>
                  <a:lnTo>
                    <a:pt x="24022" y="4069"/>
                  </a:lnTo>
                  <a:lnTo>
                    <a:pt x="24040" y="4051"/>
                  </a:lnTo>
                  <a:lnTo>
                    <a:pt x="24058" y="4051"/>
                  </a:lnTo>
                  <a:lnTo>
                    <a:pt x="24084" y="4033"/>
                  </a:lnTo>
                  <a:lnTo>
                    <a:pt x="24102" y="4033"/>
                  </a:lnTo>
                  <a:lnTo>
                    <a:pt x="24111" y="4051"/>
                  </a:lnTo>
                  <a:lnTo>
                    <a:pt x="24119" y="4042"/>
                  </a:lnTo>
                  <a:lnTo>
                    <a:pt x="24119" y="4033"/>
                  </a:lnTo>
                  <a:lnTo>
                    <a:pt x="24111" y="4024"/>
                  </a:lnTo>
                  <a:lnTo>
                    <a:pt x="24111" y="4016"/>
                  </a:lnTo>
                  <a:lnTo>
                    <a:pt x="24119" y="4007"/>
                  </a:lnTo>
                  <a:lnTo>
                    <a:pt x="24111" y="3998"/>
                  </a:lnTo>
                  <a:lnTo>
                    <a:pt x="24111" y="3989"/>
                  </a:lnTo>
                  <a:lnTo>
                    <a:pt x="24111" y="3980"/>
                  </a:lnTo>
                  <a:lnTo>
                    <a:pt x="24111" y="3963"/>
                  </a:lnTo>
                  <a:lnTo>
                    <a:pt x="24119" y="3945"/>
                  </a:lnTo>
                  <a:lnTo>
                    <a:pt x="24128" y="3936"/>
                  </a:lnTo>
                  <a:lnTo>
                    <a:pt x="24137" y="3927"/>
                  </a:lnTo>
                  <a:lnTo>
                    <a:pt x="24155" y="3919"/>
                  </a:lnTo>
                  <a:lnTo>
                    <a:pt x="24172" y="3901"/>
                  </a:lnTo>
                  <a:lnTo>
                    <a:pt x="24190" y="3901"/>
                  </a:lnTo>
                  <a:lnTo>
                    <a:pt x="24199" y="3901"/>
                  </a:lnTo>
                  <a:lnTo>
                    <a:pt x="24216" y="3910"/>
                  </a:lnTo>
                  <a:lnTo>
                    <a:pt x="24234" y="3910"/>
                  </a:lnTo>
                  <a:lnTo>
                    <a:pt x="24243" y="3901"/>
                  </a:lnTo>
                  <a:lnTo>
                    <a:pt x="24261" y="3892"/>
                  </a:lnTo>
                  <a:lnTo>
                    <a:pt x="24269" y="3883"/>
                  </a:lnTo>
                  <a:lnTo>
                    <a:pt x="24269" y="3866"/>
                  </a:lnTo>
                  <a:lnTo>
                    <a:pt x="24269" y="3857"/>
                  </a:lnTo>
                  <a:lnTo>
                    <a:pt x="24252" y="3839"/>
                  </a:lnTo>
                  <a:lnTo>
                    <a:pt x="24243" y="3822"/>
                  </a:lnTo>
                  <a:lnTo>
                    <a:pt x="24243" y="3804"/>
                  </a:lnTo>
                  <a:lnTo>
                    <a:pt x="24252" y="3786"/>
                  </a:lnTo>
                  <a:lnTo>
                    <a:pt x="24261" y="3769"/>
                  </a:lnTo>
                  <a:lnTo>
                    <a:pt x="24269" y="3742"/>
                  </a:lnTo>
                  <a:lnTo>
                    <a:pt x="24278" y="3742"/>
                  </a:lnTo>
                  <a:lnTo>
                    <a:pt x="24287" y="3733"/>
                  </a:lnTo>
                  <a:lnTo>
                    <a:pt x="24296" y="3733"/>
                  </a:lnTo>
                  <a:lnTo>
                    <a:pt x="24305" y="3724"/>
                  </a:lnTo>
                  <a:lnTo>
                    <a:pt x="24305" y="3716"/>
                  </a:lnTo>
                  <a:lnTo>
                    <a:pt x="24305" y="3707"/>
                  </a:lnTo>
                  <a:lnTo>
                    <a:pt x="24313" y="3707"/>
                  </a:lnTo>
                  <a:lnTo>
                    <a:pt x="24331" y="3707"/>
                  </a:lnTo>
                  <a:lnTo>
                    <a:pt x="24331" y="3698"/>
                  </a:lnTo>
                  <a:lnTo>
                    <a:pt x="24340" y="3698"/>
                  </a:lnTo>
                  <a:lnTo>
                    <a:pt x="24340" y="3707"/>
                  </a:lnTo>
                  <a:lnTo>
                    <a:pt x="24331" y="3716"/>
                  </a:lnTo>
                  <a:lnTo>
                    <a:pt x="24313" y="3724"/>
                  </a:lnTo>
                  <a:lnTo>
                    <a:pt x="24313" y="3733"/>
                  </a:lnTo>
                  <a:lnTo>
                    <a:pt x="24331" y="3751"/>
                  </a:lnTo>
                  <a:lnTo>
                    <a:pt x="24340" y="3751"/>
                  </a:lnTo>
                  <a:lnTo>
                    <a:pt x="24349" y="3742"/>
                  </a:lnTo>
                  <a:lnTo>
                    <a:pt x="24358" y="3733"/>
                  </a:lnTo>
                  <a:lnTo>
                    <a:pt x="24366" y="3733"/>
                  </a:lnTo>
                  <a:lnTo>
                    <a:pt x="24358" y="3707"/>
                  </a:lnTo>
                  <a:lnTo>
                    <a:pt x="24358" y="3698"/>
                  </a:lnTo>
                  <a:lnTo>
                    <a:pt x="24358" y="3680"/>
                  </a:lnTo>
                  <a:lnTo>
                    <a:pt x="24349" y="3680"/>
                  </a:lnTo>
                  <a:lnTo>
                    <a:pt x="24340" y="3680"/>
                  </a:lnTo>
                  <a:lnTo>
                    <a:pt x="24331" y="3680"/>
                  </a:lnTo>
                  <a:lnTo>
                    <a:pt x="24331" y="3671"/>
                  </a:lnTo>
                  <a:lnTo>
                    <a:pt x="24322" y="3671"/>
                  </a:lnTo>
                  <a:lnTo>
                    <a:pt x="24322" y="3663"/>
                  </a:lnTo>
                  <a:lnTo>
                    <a:pt x="24322" y="3645"/>
                  </a:lnTo>
                  <a:lnTo>
                    <a:pt x="24322" y="3636"/>
                  </a:lnTo>
                  <a:lnTo>
                    <a:pt x="24322" y="3627"/>
                  </a:lnTo>
                  <a:lnTo>
                    <a:pt x="24322" y="3619"/>
                  </a:lnTo>
                  <a:lnTo>
                    <a:pt x="24322" y="3610"/>
                  </a:lnTo>
                  <a:lnTo>
                    <a:pt x="24340" y="3601"/>
                  </a:lnTo>
                  <a:lnTo>
                    <a:pt x="24349" y="3592"/>
                  </a:lnTo>
                  <a:lnTo>
                    <a:pt x="24349" y="3583"/>
                  </a:lnTo>
                  <a:lnTo>
                    <a:pt x="24358" y="3574"/>
                  </a:lnTo>
                  <a:lnTo>
                    <a:pt x="24358" y="3566"/>
                  </a:lnTo>
                  <a:lnTo>
                    <a:pt x="24349" y="3566"/>
                  </a:lnTo>
                  <a:lnTo>
                    <a:pt x="24322" y="3548"/>
                  </a:lnTo>
                  <a:lnTo>
                    <a:pt x="24313" y="3548"/>
                  </a:lnTo>
                  <a:lnTo>
                    <a:pt x="24305" y="3557"/>
                  </a:lnTo>
                  <a:lnTo>
                    <a:pt x="24296" y="3566"/>
                  </a:lnTo>
                  <a:lnTo>
                    <a:pt x="24296" y="3574"/>
                  </a:lnTo>
                  <a:lnTo>
                    <a:pt x="24296" y="3566"/>
                  </a:lnTo>
                  <a:lnTo>
                    <a:pt x="24278" y="3566"/>
                  </a:lnTo>
                  <a:lnTo>
                    <a:pt x="24269" y="3557"/>
                  </a:lnTo>
                  <a:lnTo>
                    <a:pt x="24269" y="3548"/>
                  </a:lnTo>
                  <a:lnTo>
                    <a:pt x="24261" y="3539"/>
                  </a:lnTo>
                  <a:lnTo>
                    <a:pt x="24269" y="3513"/>
                  </a:lnTo>
                  <a:lnTo>
                    <a:pt x="24278" y="3495"/>
                  </a:lnTo>
                  <a:lnTo>
                    <a:pt x="24296" y="3468"/>
                  </a:lnTo>
                  <a:lnTo>
                    <a:pt x="24313" y="3460"/>
                  </a:lnTo>
                  <a:lnTo>
                    <a:pt x="24331" y="3442"/>
                  </a:lnTo>
                  <a:lnTo>
                    <a:pt x="24340" y="3442"/>
                  </a:lnTo>
                  <a:lnTo>
                    <a:pt x="24340" y="3433"/>
                  </a:lnTo>
                  <a:lnTo>
                    <a:pt x="24331" y="3424"/>
                  </a:lnTo>
                  <a:lnTo>
                    <a:pt x="24340" y="3424"/>
                  </a:lnTo>
                  <a:lnTo>
                    <a:pt x="24349" y="3424"/>
                  </a:lnTo>
                  <a:lnTo>
                    <a:pt x="24358" y="3407"/>
                  </a:lnTo>
                  <a:lnTo>
                    <a:pt x="24358" y="3380"/>
                  </a:lnTo>
                  <a:lnTo>
                    <a:pt x="24366" y="3363"/>
                  </a:lnTo>
                  <a:lnTo>
                    <a:pt x="24366" y="3354"/>
                  </a:lnTo>
                  <a:lnTo>
                    <a:pt x="24366" y="3345"/>
                  </a:lnTo>
                  <a:lnTo>
                    <a:pt x="24375" y="3336"/>
                  </a:lnTo>
                  <a:lnTo>
                    <a:pt x="24384" y="3336"/>
                  </a:lnTo>
                  <a:lnTo>
                    <a:pt x="24393" y="3327"/>
                  </a:lnTo>
                  <a:lnTo>
                    <a:pt x="24402" y="3327"/>
                  </a:lnTo>
                  <a:lnTo>
                    <a:pt x="24410" y="3327"/>
                  </a:lnTo>
                  <a:lnTo>
                    <a:pt x="24419" y="3327"/>
                  </a:lnTo>
                  <a:lnTo>
                    <a:pt x="24419" y="3336"/>
                  </a:lnTo>
                  <a:lnTo>
                    <a:pt x="24428" y="3327"/>
                  </a:lnTo>
                  <a:lnTo>
                    <a:pt x="24437" y="3318"/>
                  </a:lnTo>
                  <a:lnTo>
                    <a:pt x="24446" y="3318"/>
                  </a:lnTo>
                  <a:lnTo>
                    <a:pt x="24455" y="3318"/>
                  </a:lnTo>
                  <a:lnTo>
                    <a:pt x="24463" y="3327"/>
                  </a:lnTo>
                  <a:lnTo>
                    <a:pt x="24472" y="3345"/>
                  </a:lnTo>
                  <a:lnTo>
                    <a:pt x="24481" y="3345"/>
                  </a:lnTo>
                  <a:lnTo>
                    <a:pt x="24490" y="3345"/>
                  </a:lnTo>
                  <a:lnTo>
                    <a:pt x="24490" y="3336"/>
                  </a:lnTo>
                  <a:lnTo>
                    <a:pt x="24490" y="3318"/>
                  </a:lnTo>
                  <a:lnTo>
                    <a:pt x="24499" y="3318"/>
                  </a:lnTo>
                  <a:lnTo>
                    <a:pt x="24508" y="3310"/>
                  </a:lnTo>
                  <a:lnTo>
                    <a:pt x="24516" y="3310"/>
                  </a:lnTo>
                  <a:lnTo>
                    <a:pt x="24525" y="3301"/>
                  </a:lnTo>
                  <a:lnTo>
                    <a:pt x="24552" y="3292"/>
                  </a:lnTo>
                  <a:lnTo>
                    <a:pt x="24569" y="3274"/>
                  </a:lnTo>
                  <a:lnTo>
                    <a:pt x="24587" y="3274"/>
                  </a:lnTo>
                  <a:lnTo>
                    <a:pt x="24578" y="3283"/>
                  </a:lnTo>
                  <a:lnTo>
                    <a:pt x="24578" y="3292"/>
                  </a:lnTo>
                  <a:lnTo>
                    <a:pt x="24578" y="3310"/>
                  </a:lnTo>
                  <a:lnTo>
                    <a:pt x="24569" y="3318"/>
                  </a:lnTo>
                  <a:lnTo>
                    <a:pt x="24569" y="3327"/>
                  </a:lnTo>
                  <a:lnTo>
                    <a:pt x="24569" y="3336"/>
                  </a:lnTo>
                  <a:lnTo>
                    <a:pt x="24569" y="3345"/>
                  </a:lnTo>
                  <a:lnTo>
                    <a:pt x="24578" y="3345"/>
                  </a:lnTo>
                  <a:lnTo>
                    <a:pt x="24587" y="3345"/>
                  </a:lnTo>
                  <a:lnTo>
                    <a:pt x="24596" y="3336"/>
                  </a:lnTo>
                  <a:lnTo>
                    <a:pt x="24631" y="3292"/>
                  </a:lnTo>
                  <a:lnTo>
                    <a:pt x="24649" y="3283"/>
                  </a:lnTo>
                  <a:lnTo>
                    <a:pt x="24675" y="3274"/>
                  </a:lnTo>
                  <a:lnTo>
                    <a:pt x="24684" y="3274"/>
                  </a:lnTo>
                  <a:lnTo>
                    <a:pt x="24719" y="3265"/>
                  </a:lnTo>
                  <a:lnTo>
                    <a:pt x="24737" y="3265"/>
                  </a:lnTo>
                  <a:lnTo>
                    <a:pt x="24755" y="3265"/>
                  </a:lnTo>
                  <a:lnTo>
                    <a:pt x="24763" y="3265"/>
                  </a:lnTo>
                  <a:lnTo>
                    <a:pt x="24799" y="3265"/>
                  </a:lnTo>
                  <a:lnTo>
                    <a:pt x="24825" y="3283"/>
                  </a:lnTo>
                  <a:lnTo>
                    <a:pt x="24843" y="3301"/>
                  </a:lnTo>
                  <a:lnTo>
                    <a:pt x="24843" y="3310"/>
                  </a:lnTo>
                  <a:lnTo>
                    <a:pt x="24852" y="3318"/>
                  </a:lnTo>
                  <a:lnTo>
                    <a:pt x="24860" y="3327"/>
                  </a:lnTo>
                  <a:lnTo>
                    <a:pt x="24878" y="3327"/>
                  </a:lnTo>
                  <a:lnTo>
                    <a:pt x="24887" y="3327"/>
                  </a:lnTo>
                  <a:lnTo>
                    <a:pt x="24887" y="3318"/>
                  </a:lnTo>
                  <a:lnTo>
                    <a:pt x="24887" y="3301"/>
                  </a:lnTo>
                  <a:lnTo>
                    <a:pt x="24896" y="3292"/>
                  </a:lnTo>
                  <a:lnTo>
                    <a:pt x="24896" y="3283"/>
                  </a:lnTo>
                  <a:lnTo>
                    <a:pt x="24913" y="3274"/>
                  </a:lnTo>
                  <a:lnTo>
                    <a:pt x="24922" y="3274"/>
                  </a:lnTo>
                  <a:lnTo>
                    <a:pt x="24966" y="3248"/>
                  </a:lnTo>
                  <a:lnTo>
                    <a:pt x="24984" y="3230"/>
                  </a:lnTo>
                  <a:lnTo>
                    <a:pt x="24984" y="3239"/>
                  </a:lnTo>
                  <a:lnTo>
                    <a:pt x="24993" y="3230"/>
                  </a:lnTo>
                  <a:lnTo>
                    <a:pt x="25002" y="3230"/>
                  </a:lnTo>
                  <a:lnTo>
                    <a:pt x="25019" y="3221"/>
                  </a:lnTo>
                  <a:lnTo>
                    <a:pt x="25028" y="3213"/>
                  </a:lnTo>
                  <a:lnTo>
                    <a:pt x="25028" y="3204"/>
                  </a:lnTo>
                  <a:lnTo>
                    <a:pt x="25028" y="3195"/>
                  </a:lnTo>
                  <a:lnTo>
                    <a:pt x="25037" y="3195"/>
                  </a:lnTo>
                  <a:lnTo>
                    <a:pt x="25046" y="3195"/>
                  </a:lnTo>
                  <a:lnTo>
                    <a:pt x="25055" y="3186"/>
                  </a:lnTo>
                  <a:lnTo>
                    <a:pt x="25063" y="3186"/>
                  </a:lnTo>
                  <a:lnTo>
                    <a:pt x="25063" y="3177"/>
                  </a:lnTo>
                  <a:lnTo>
                    <a:pt x="25063" y="3168"/>
                  </a:lnTo>
                  <a:lnTo>
                    <a:pt x="25081" y="3168"/>
                  </a:lnTo>
                  <a:lnTo>
                    <a:pt x="25099" y="3151"/>
                  </a:lnTo>
                  <a:lnTo>
                    <a:pt x="25116" y="3133"/>
                  </a:lnTo>
                  <a:lnTo>
                    <a:pt x="25134" y="3142"/>
                  </a:lnTo>
                  <a:lnTo>
                    <a:pt x="25160" y="3124"/>
                  </a:lnTo>
                  <a:lnTo>
                    <a:pt x="25169" y="3124"/>
                  </a:lnTo>
                  <a:lnTo>
                    <a:pt x="25187" y="3124"/>
                  </a:lnTo>
                  <a:lnTo>
                    <a:pt x="25196" y="3115"/>
                  </a:lnTo>
                  <a:lnTo>
                    <a:pt x="25196" y="3107"/>
                  </a:lnTo>
                  <a:lnTo>
                    <a:pt x="25205" y="3115"/>
                  </a:lnTo>
                  <a:lnTo>
                    <a:pt x="25231" y="3098"/>
                  </a:lnTo>
                  <a:lnTo>
                    <a:pt x="25240" y="3089"/>
                  </a:lnTo>
                  <a:lnTo>
                    <a:pt x="25249" y="3089"/>
                  </a:lnTo>
                  <a:lnTo>
                    <a:pt x="25257" y="3089"/>
                  </a:lnTo>
                  <a:lnTo>
                    <a:pt x="25266" y="3080"/>
                  </a:lnTo>
                  <a:lnTo>
                    <a:pt x="25319" y="3063"/>
                  </a:lnTo>
                  <a:lnTo>
                    <a:pt x="25328" y="3054"/>
                  </a:lnTo>
                  <a:lnTo>
                    <a:pt x="25346" y="3045"/>
                  </a:lnTo>
                  <a:lnTo>
                    <a:pt x="25363" y="3045"/>
                  </a:lnTo>
                  <a:lnTo>
                    <a:pt x="25381" y="3036"/>
                  </a:lnTo>
                  <a:lnTo>
                    <a:pt x="25372" y="3036"/>
                  </a:lnTo>
                  <a:lnTo>
                    <a:pt x="25363" y="3027"/>
                  </a:lnTo>
                  <a:lnTo>
                    <a:pt x="25363" y="3018"/>
                  </a:lnTo>
                  <a:lnTo>
                    <a:pt x="25372" y="3018"/>
                  </a:lnTo>
                  <a:lnTo>
                    <a:pt x="25381" y="3018"/>
                  </a:lnTo>
                  <a:lnTo>
                    <a:pt x="25390" y="3018"/>
                  </a:lnTo>
                  <a:lnTo>
                    <a:pt x="25399" y="3018"/>
                  </a:lnTo>
                  <a:lnTo>
                    <a:pt x="25390" y="3027"/>
                  </a:lnTo>
                  <a:lnTo>
                    <a:pt x="25390" y="3036"/>
                  </a:lnTo>
                  <a:lnTo>
                    <a:pt x="25416" y="3036"/>
                  </a:lnTo>
                  <a:lnTo>
                    <a:pt x="25443" y="3045"/>
                  </a:lnTo>
                  <a:lnTo>
                    <a:pt x="25513" y="3063"/>
                  </a:lnTo>
                  <a:lnTo>
                    <a:pt x="25522" y="3071"/>
                  </a:lnTo>
                  <a:lnTo>
                    <a:pt x="25522" y="3063"/>
                  </a:lnTo>
                  <a:lnTo>
                    <a:pt x="25531" y="3054"/>
                  </a:lnTo>
                  <a:lnTo>
                    <a:pt x="25540" y="3045"/>
                  </a:lnTo>
                  <a:lnTo>
                    <a:pt x="25549" y="3036"/>
                  </a:lnTo>
                  <a:lnTo>
                    <a:pt x="25557" y="3027"/>
                  </a:lnTo>
                  <a:lnTo>
                    <a:pt x="25557" y="3018"/>
                  </a:lnTo>
                  <a:lnTo>
                    <a:pt x="25549" y="3010"/>
                  </a:lnTo>
                  <a:lnTo>
                    <a:pt x="25540" y="3001"/>
                  </a:lnTo>
                  <a:lnTo>
                    <a:pt x="25531" y="2992"/>
                  </a:lnTo>
                  <a:lnTo>
                    <a:pt x="25540" y="2983"/>
                  </a:lnTo>
                  <a:lnTo>
                    <a:pt x="25549" y="2983"/>
                  </a:lnTo>
                  <a:lnTo>
                    <a:pt x="25540" y="2974"/>
                  </a:lnTo>
                  <a:lnTo>
                    <a:pt x="25540" y="2965"/>
                  </a:lnTo>
                  <a:lnTo>
                    <a:pt x="25513" y="2957"/>
                  </a:lnTo>
                  <a:lnTo>
                    <a:pt x="25513" y="2948"/>
                  </a:lnTo>
                  <a:lnTo>
                    <a:pt x="25496" y="2930"/>
                  </a:lnTo>
                  <a:lnTo>
                    <a:pt x="25496" y="2939"/>
                  </a:lnTo>
                  <a:lnTo>
                    <a:pt x="25496" y="2948"/>
                  </a:lnTo>
                  <a:lnTo>
                    <a:pt x="25496" y="2939"/>
                  </a:lnTo>
                  <a:lnTo>
                    <a:pt x="25487" y="2939"/>
                  </a:lnTo>
                  <a:lnTo>
                    <a:pt x="25496" y="2930"/>
                  </a:lnTo>
                  <a:lnTo>
                    <a:pt x="25487" y="2921"/>
                  </a:lnTo>
                  <a:lnTo>
                    <a:pt x="25478" y="2921"/>
                  </a:lnTo>
                  <a:lnTo>
                    <a:pt x="25487" y="2912"/>
                  </a:lnTo>
                  <a:lnTo>
                    <a:pt x="25496" y="2912"/>
                  </a:lnTo>
                  <a:lnTo>
                    <a:pt x="25496" y="2895"/>
                  </a:lnTo>
                  <a:lnTo>
                    <a:pt x="25487" y="2877"/>
                  </a:lnTo>
                  <a:lnTo>
                    <a:pt x="25478" y="2877"/>
                  </a:lnTo>
                  <a:lnTo>
                    <a:pt x="25478" y="2868"/>
                  </a:lnTo>
                  <a:lnTo>
                    <a:pt x="25478" y="2860"/>
                  </a:lnTo>
                  <a:lnTo>
                    <a:pt x="25469" y="2842"/>
                  </a:lnTo>
                  <a:lnTo>
                    <a:pt x="25460" y="2833"/>
                  </a:lnTo>
                  <a:lnTo>
                    <a:pt x="25452" y="2833"/>
                  </a:lnTo>
                  <a:lnTo>
                    <a:pt x="25452" y="2842"/>
                  </a:lnTo>
                  <a:lnTo>
                    <a:pt x="25443" y="2851"/>
                  </a:lnTo>
                  <a:lnTo>
                    <a:pt x="25434" y="2851"/>
                  </a:lnTo>
                  <a:lnTo>
                    <a:pt x="25416" y="2833"/>
                  </a:lnTo>
                  <a:lnTo>
                    <a:pt x="25399" y="2824"/>
                  </a:lnTo>
                  <a:lnTo>
                    <a:pt x="25399" y="2807"/>
                  </a:lnTo>
                  <a:lnTo>
                    <a:pt x="25399" y="2789"/>
                  </a:lnTo>
                  <a:lnTo>
                    <a:pt x="25399" y="2780"/>
                  </a:lnTo>
                  <a:lnTo>
                    <a:pt x="25372" y="2789"/>
                  </a:lnTo>
                  <a:lnTo>
                    <a:pt x="25354" y="2798"/>
                  </a:lnTo>
                  <a:lnTo>
                    <a:pt x="25346" y="2798"/>
                  </a:lnTo>
                  <a:lnTo>
                    <a:pt x="25328" y="2789"/>
                  </a:lnTo>
                  <a:lnTo>
                    <a:pt x="25302" y="2807"/>
                  </a:lnTo>
                  <a:lnTo>
                    <a:pt x="25310" y="2798"/>
                  </a:lnTo>
                  <a:lnTo>
                    <a:pt x="25319" y="2798"/>
                  </a:lnTo>
                  <a:lnTo>
                    <a:pt x="25319" y="2789"/>
                  </a:lnTo>
                  <a:lnTo>
                    <a:pt x="25319" y="2780"/>
                  </a:lnTo>
                  <a:lnTo>
                    <a:pt x="25310" y="2771"/>
                  </a:lnTo>
                  <a:lnTo>
                    <a:pt x="25302" y="2762"/>
                  </a:lnTo>
                  <a:lnTo>
                    <a:pt x="25293" y="2771"/>
                  </a:lnTo>
                  <a:lnTo>
                    <a:pt x="25284" y="2771"/>
                  </a:lnTo>
                  <a:lnTo>
                    <a:pt x="25275" y="2780"/>
                  </a:lnTo>
                  <a:lnTo>
                    <a:pt x="25249" y="2789"/>
                  </a:lnTo>
                  <a:lnTo>
                    <a:pt x="25231" y="2789"/>
                  </a:lnTo>
                  <a:lnTo>
                    <a:pt x="25196" y="2789"/>
                  </a:lnTo>
                  <a:lnTo>
                    <a:pt x="25187" y="2789"/>
                  </a:lnTo>
                  <a:lnTo>
                    <a:pt x="25231" y="2780"/>
                  </a:lnTo>
                  <a:lnTo>
                    <a:pt x="25249" y="2780"/>
                  </a:lnTo>
                  <a:lnTo>
                    <a:pt x="25275" y="2771"/>
                  </a:lnTo>
                  <a:lnTo>
                    <a:pt x="25302" y="2762"/>
                  </a:lnTo>
                  <a:lnTo>
                    <a:pt x="25328" y="2771"/>
                  </a:lnTo>
                  <a:lnTo>
                    <a:pt x="25337" y="2771"/>
                  </a:lnTo>
                  <a:lnTo>
                    <a:pt x="25354" y="2771"/>
                  </a:lnTo>
                  <a:lnTo>
                    <a:pt x="25372" y="2780"/>
                  </a:lnTo>
                  <a:lnTo>
                    <a:pt x="25381" y="2780"/>
                  </a:lnTo>
                  <a:lnTo>
                    <a:pt x="25381" y="2771"/>
                  </a:lnTo>
                  <a:lnTo>
                    <a:pt x="25381" y="2762"/>
                  </a:lnTo>
                  <a:lnTo>
                    <a:pt x="25372" y="2754"/>
                  </a:lnTo>
                  <a:lnTo>
                    <a:pt x="25363" y="2754"/>
                  </a:lnTo>
                  <a:lnTo>
                    <a:pt x="25346" y="2754"/>
                  </a:lnTo>
                  <a:lnTo>
                    <a:pt x="25328" y="2754"/>
                  </a:lnTo>
                  <a:lnTo>
                    <a:pt x="25319" y="2745"/>
                  </a:lnTo>
                  <a:lnTo>
                    <a:pt x="25328" y="2745"/>
                  </a:lnTo>
                  <a:lnTo>
                    <a:pt x="25337" y="2754"/>
                  </a:lnTo>
                  <a:lnTo>
                    <a:pt x="25363" y="2745"/>
                  </a:lnTo>
                  <a:lnTo>
                    <a:pt x="25381" y="2754"/>
                  </a:lnTo>
                  <a:lnTo>
                    <a:pt x="25390" y="2762"/>
                  </a:lnTo>
                  <a:lnTo>
                    <a:pt x="25407" y="2780"/>
                  </a:lnTo>
                  <a:lnTo>
                    <a:pt x="25425" y="2789"/>
                  </a:lnTo>
                  <a:lnTo>
                    <a:pt x="25460" y="2798"/>
                  </a:lnTo>
                  <a:lnTo>
                    <a:pt x="25478" y="2798"/>
                  </a:lnTo>
                  <a:lnTo>
                    <a:pt x="25496" y="2798"/>
                  </a:lnTo>
                  <a:lnTo>
                    <a:pt x="25522" y="2780"/>
                  </a:lnTo>
                  <a:lnTo>
                    <a:pt x="25549" y="2780"/>
                  </a:lnTo>
                  <a:lnTo>
                    <a:pt x="25566" y="2762"/>
                  </a:lnTo>
                  <a:lnTo>
                    <a:pt x="25575" y="2754"/>
                  </a:lnTo>
                  <a:lnTo>
                    <a:pt x="25593" y="2745"/>
                  </a:lnTo>
                  <a:lnTo>
                    <a:pt x="25610" y="2736"/>
                  </a:lnTo>
                  <a:lnTo>
                    <a:pt x="25619" y="2727"/>
                  </a:lnTo>
                  <a:lnTo>
                    <a:pt x="25628" y="2709"/>
                  </a:lnTo>
                  <a:lnTo>
                    <a:pt x="25628" y="2701"/>
                  </a:lnTo>
                  <a:lnTo>
                    <a:pt x="25637" y="2692"/>
                  </a:lnTo>
                  <a:lnTo>
                    <a:pt x="25637" y="2683"/>
                  </a:lnTo>
                  <a:lnTo>
                    <a:pt x="25637" y="2674"/>
                  </a:lnTo>
                  <a:lnTo>
                    <a:pt x="25628" y="2674"/>
                  </a:lnTo>
                  <a:lnTo>
                    <a:pt x="25619" y="2665"/>
                  </a:lnTo>
                  <a:lnTo>
                    <a:pt x="25610" y="2657"/>
                  </a:lnTo>
                  <a:lnTo>
                    <a:pt x="25602" y="2648"/>
                  </a:lnTo>
                  <a:lnTo>
                    <a:pt x="25602" y="2630"/>
                  </a:lnTo>
                  <a:lnTo>
                    <a:pt x="25610" y="2621"/>
                  </a:lnTo>
                  <a:lnTo>
                    <a:pt x="25610" y="2612"/>
                  </a:lnTo>
                  <a:lnTo>
                    <a:pt x="25619" y="2621"/>
                  </a:lnTo>
                  <a:lnTo>
                    <a:pt x="25628" y="2612"/>
                  </a:lnTo>
                  <a:lnTo>
                    <a:pt x="25637" y="2612"/>
                  </a:lnTo>
                  <a:lnTo>
                    <a:pt x="25637" y="2604"/>
                  </a:lnTo>
                  <a:lnTo>
                    <a:pt x="25637" y="2595"/>
                  </a:lnTo>
                  <a:lnTo>
                    <a:pt x="25646" y="2595"/>
                  </a:lnTo>
                  <a:lnTo>
                    <a:pt x="25654" y="2586"/>
                  </a:lnTo>
                  <a:lnTo>
                    <a:pt x="25654" y="2595"/>
                  </a:lnTo>
                  <a:lnTo>
                    <a:pt x="25654" y="2604"/>
                  </a:lnTo>
                  <a:lnTo>
                    <a:pt x="25663" y="2612"/>
                  </a:lnTo>
                  <a:lnTo>
                    <a:pt x="25672" y="2612"/>
                  </a:lnTo>
                  <a:lnTo>
                    <a:pt x="25681" y="2604"/>
                  </a:lnTo>
                  <a:lnTo>
                    <a:pt x="25690" y="2595"/>
                  </a:lnTo>
                  <a:lnTo>
                    <a:pt x="25699" y="2586"/>
                  </a:lnTo>
                  <a:lnTo>
                    <a:pt x="25699" y="2595"/>
                  </a:lnTo>
                  <a:lnTo>
                    <a:pt x="25690" y="2612"/>
                  </a:lnTo>
                  <a:lnTo>
                    <a:pt x="25681" y="2621"/>
                  </a:lnTo>
                  <a:lnTo>
                    <a:pt x="25681" y="2630"/>
                  </a:lnTo>
                  <a:lnTo>
                    <a:pt x="25672" y="2630"/>
                  </a:lnTo>
                  <a:lnTo>
                    <a:pt x="25663" y="2630"/>
                  </a:lnTo>
                  <a:lnTo>
                    <a:pt x="25672" y="2639"/>
                  </a:lnTo>
                  <a:lnTo>
                    <a:pt x="25681" y="2648"/>
                  </a:lnTo>
                  <a:lnTo>
                    <a:pt x="25690" y="2657"/>
                  </a:lnTo>
                  <a:lnTo>
                    <a:pt x="25699" y="2665"/>
                  </a:lnTo>
                  <a:lnTo>
                    <a:pt x="25699" y="2674"/>
                  </a:lnTo>
                  <a:lnTo>
                    <a:pt x="25699" y="2683"/>
                  </a:lnTo>
                  <a:lnTo>
                    <a:pt x="25699" y="2692"/>
                  </a:lnTo>
                  <a:lnTo>
                    <a:pt x="25707" y="2692"/>
                  </a:lnTo>
                  <a:lnTo>
                    <a:pt x="25716" y="2701"/>
                  </a:lnTo>
                  <a:lnTo>
                    <a:pt x="25760" y="2692"/>
                  </a:lnTo>
                  <a:lnTo>
                    <a:pt x="25769" y="2692"/>
                  </a:lnTo>
                  <a:lnTo>
                    <a:pt x="25796" y="2683"/>
                  </a:lnTo>
                  <a:lnTo>
                    <a:pt x="25804" y="2683"/>
                  </a:lnTo>
                  <a:lnTo>
                    <a:pt x="25813" y="2683"/>
                  </a:lnTo>
                  <a:lnTo>
                    <a:pt x="25840" y="2692"/>
                  </a:lnTo>
                  <a:lnTo>
                    <a:pt x="25875" y="2701"/>
                  </a:lnTo>
                  <a:lnTo>
                    <a:pt x="25884" y="2709"/>
                  </a:lnTo>
                  <a:lnTo>
                    <a:pt x="25893" y="2727"/>
                  </a:lnTo>
                  <a:lnTo>
                    <a:pt x="25893" y="2745"/>
                  </a:lnTo>
                  <a:lnTo>
                    <a:pt x="25893" y="2754"/>
                  </a:lnTo>
                  <a:lnTo>
                    <a:pt x="25901" y="2762"/>
                  </a:lnTo>
                  <a:lnTo>
                    <a:pt x="25919" y="2771"/>
                  </a:lnTo>
                  <a:lnTo>
                    <a:pt x="25928" y="2780"/>
                  </a:lnTo>
                  <a:lnTo>
                    <a:pt x="25937" y="2780"/>
                  </a:lnTo>
                  <a:lnTo>
                    <a:pt x="25946" y="2780"/>
                  </a:lnTo>
                  <a:lnTo>
                    <a:pt x="25954" y="2780"/>
                  </a:lnTo>
                  <a:lnTo>
                    <a:pt x="25972" y="2780"/>
                  </a:lnTo>
                  <a:lnTo>
                    <a:pt x="25990" y="2789"/>
                  </a:lnTo>
                  <a:lnTo>
                    <a:pt x="26007" y="2798"/>
                  </a:lnTo>
                  <a:lnTo>
                    <a:pt x="26016" y="2807"/>
                  </a:lnTo>
                  <a:lnTo>
                    <a:pt x="26034" y="2824"/>
                  </a:lnTo>
                  <a:lnTo>
                    <a:pt x="26051" y="2833"/>
                  </a:lnTo>
                  <a:lnTo>
                    <a:pt x="26060" y="2833"/>
                  </a:lnTo>
                  <a:lnTo>
                    <a:pt x="26069" y="2824"/>
                  </a:lnTo>
                  <a:lnTo>
                    <a:pt x="26078" y="2815"/>
                  </a:lnTo>
                  <a:lnTo>
                    <a:pt x="26078" y="2807"/>
                  </a:lnTo>
                  <a:lnTo>
                    <a:pt x="26078" y="2815"/>
                  </a:lnTo>
                  <a:lnTo>
                    <a:pt x="26078" y="2824"/>
                  </a:lnTo>
                  <a:lnTo>
                    <a:pt x="26078" y="2833"/>
                  </a:lnTo>
                  <a:lnTo>
                    <a:pt x="26087" y="2842"/>
                  </a:lnTo>
                  <a:lnTo>
                    <a:pt x="26096" y="2842"/>
                  </a:lnTo>
                  <a:lnTo>
                    <a:pt x="26104" y="2842"/>
                  </a:lnTo>
                  <a:lnTo>
                    <a:pt x="26104" y="2833"/>
                  </a:lnTo>
                  <a:lnTo>
                    <a:pt x="26113" y="2833"/>
                  </a:lnTo>
                  <a:lnTo>
                    <a:pt x="26104" y="2815"/>
                  </a:lnTo>
                  <a:lnTo>
                    <a:pt x="26113" y="2815"/>
                  </a:lnTo>
                  <a:lnTo>
                    <a:pt x="26122" y="2815"/>
                  </a:lnTo>
                  <a:lnTo>
                    <a:pt x="26122" y="2824"/>
                  </a:lnTo>
                  <a:lnTo>
                    <a:pt x="26149" y="2824"/>
                  </a:lnTo>
                  <a:lnTo>
                    <a:pt x="26149" y="2815"/>
                  </a:lnTo>
                  <a:lnTo>
                    <a:pt x="26140" y="2807"/>
                  </a:lnTo>
                  <a:lnTo>
                    <a:pt x="26131" y="2807"/>
                  </a:lnTo>
                  <a:lnTo>
                    <a:pt x="26122" y="2798"/>
                  </a:lnTo>
                  <a:lnTo>
                    <a:pt x="26113" y="2798"/>
                  </a:lnTo>
                  <a:lnTo>
                    <a:pt x="26104" y="2789"/>
                  </a:lnTo>
                  <a:lnTo>
                    <a:pt x="26113" y="2789"/>
                  </a:lnTo>
                  <a:lnTo>
                    <a:pt x="26113" y="2780"/>
                  </a:lnTo>
                  <a:lnTo>
                    <a:pt x="26122" y="2780"/>
                  </a:lnTo>
                  <a:lnTo>
                    <a:pt x="26113" y="2771"/>
                  </a:lnTo>
                  <a:lnTo>
                    <a:pt x="26104" y="2771"/>
                  </a:lnTo>
                  <a:lnTo>
                    <a:pt x="26096" y="2780"/>
                  </a:lnTo>
                  <a:lnTo>
                    <a:pt x="26096" y="2771"/>
                  </a:lnTo>
                  <a:lnTo>
                    <a:pt x="26104" y="2771"/>
                  </a:lnTo>
                  <a:lnTo>
                    <a:pt x="26113" y="2771"/>
                  </a:lnTo>
                  <a:lnTo>
                    <a:pt x="26122" y="2771"/>
                  </a:lnTo>
                  <a:lnTo>
                    <a:pt x="26131" y="2762"/>
                  </a:lnTo>
                  <a:lnTo>
                    <a:pt x="26149" y="2762"/>
                  </a:lnTo>
                  <a:lnTo>
                    <a:pt x="26157" y="2754"/>
                  </a:lnTo>
                  <a:lnTo>
                    <a:pt x="26157" y="2745"/>
                  </a:lnTo>
                  <a:lnTo>
                    <a:pt x="26157" y="2736"/>
                  </a:lnTo>
                  <a:lnTo>
                    <a:pt x="26157" y="2727"/>
                  </a:lnTo>
                  <a:lnTo>
                    <a:pt x="26149" y="2727"/>
                  </a:lnTo>
                  <a:lnTo>
                    <a:pt x="26140" y="2727"/>
                  </a:lnTo>
                  <a:lnTo>
                    <a:pt x="26131" y="2727"/>
                  </a:lnTo>
                  <a:lnTo>
                    <a:pt x="26157" y="2718"/>
                  </a:lnTo>
                  <a:lnTo>
                    <a:pt x="26157" y="2701"/>
                  </a:lnTo>
                  <a:lnTo>
                    <a:pt x="26149" y="2701"/>
                  </a:lnTo>
                  <a:lnTo>
                    <a:pt x="26149" y="2692"/>
                  </a:lnTo>
                  <a:lnTo>
                    <a:pt x="26140" y="2683"/>
                  </a:lnTo>
                  <a:lnTo>
                    <a:pt x="26122" y="2674"/>
                  </a:lnTo>
                  <a:lnTo>
                    <a:pt x="26131" y="2674"/>
                  </a:lnTo>
                  <a:lnTo>
                    <a:pt x="26149" y="2674"/>
                  </a:lnTo>
                  <a:lnTo>
                    <a:pt x="26149" y="2683"/>
                  </a:lnTo>
                  <a:lnTo>
                    <a:pt x="26157" y="2683"/>
                  </a:lnTo>
                  <a:lnTo>
                    <a:pt x="26166" y="2683"/>
                  </a:lnTo>
                  <a:close/>
                  <a:moveTo>
                    <a:pt x="16382" y="5181"/>
                  </a:moveTo>
                  <a:lnTo>
                    <a:pt x="16373" y="5189"/>
                  </a:lnTo>
                  <a:lnTo>
                    <a:pt x="16364" y="5189"/>
                  </a:lnTo>
                  <a:lnTo>
                    <a:pt x="16356" y="5189"/>
                  </a:lnTo>
                  <a:lnTo>
                    <a:pt x="16347" y="5189"/>
                  </a:lnTo>
                  <a:lnTo>
                    <a:pt x="16347" y="5198"/>
                  </a:lnTo>
                  <a:lnTo>
                    <a:pt x="16356" y="5198"/>
                  </a:lnTo>
                  <a:lnTo>
                    <a:pt x="16347" y="5198"/>
                  </a:lnTo>
                  <a:lnTo>
                    <a:pt x="16338" y="5198"/>
                  </a:lnTo>
                  <a:lnTo>
                    <a:pt x="16329" y="5198"/>
                  </a:lnTo>
                  <a:lnTo>
                    <a:pt x="16320" y="5207"/>
                  </a:lnTo>
                  <a:lnTo>
                    <a:pt x="16312" y="5207"/>
                  </a:lnTo>
                  <a:lnTo>
                    <a:pt x="16303" y="5198"/>
                  </a:lnTo>
                  <a:lnTo>
                    <a:pt x="16294" y="5189"/>
                  </a:lnTo>
                  <a:lnTo>
                    <a:pt x="16285" y="5189"/>
                  </a:lnTo>
                  <a:lnTo>
                    <a:pt x="16276" y="5189"/>
                  </a:lnTo>
                  <a:lnTo>
                    <a:pt x="16267" y="5189"/>
                  </a:lnTo>
                  <a:lnTo>
                    <a:pt x="16259" y="5181"/>
                  </a:lnTo>
                  <a:lnTo>
                    <a:pt x="16250" y="5181"/>
                  </a:lnTo>
                  <a:lnTo>
                    <a:pt x="16250" y="5172"/>
                  </a:lnTo>
                  <a:lnTo>
                    <a:pt x="16241" y="5189"/>
                  </a:lnTo>
                  <a:lnTo>
                    <a:pt x="16241" y="5198"/>
                  </a:lnTo>
                  <a:lnTo>
                    <a:pt x="16241" y="5216"/>
                  </a:lnTo>
                  <a:lnTo>
                    <a:pt x="16232" y="5225"/>
                  </a:lnTo>
                  <a:lnTo>
                    <a:pt x="16232" y="5242"/>
                  </a:lnTo>
                  <a:lnTo>
                    <a:pt x="16241" y="5260"/>
                  </a:lnTo>
                  <a:lnTo>
                    <a:pt x="16241" y="5269"/>
                  </a:lnTo>
                  <a:lnTo>
                    <a:pt x="16250" y="5278"/>
                  </a:lnTo>
                  <a:lnTo>
                    <a:pt x="16259" y="5278"/>
                  </a:lnTo>
                  <a:lnTo>
                    <a:pt x="16250" y="5269"/>
                  </a:lnTo>
                  <a:lnTo>
                    <a:pt x="16250" y="5260"/>
                  </a:lnTo>
                  <a:lnTo>
                    <a:pt x="16259" y="5260"/>
                  </a:lnTo>
                  <a:lnTo>
                    <a:pt x="16276" y="5269"/>
                  </a:lnTo>
                  <a:lnTo>
                    <a:pt x="16285" y="5269"/>
                  </a:lnTo>
                  <a:lnTo>
                    <a:pt x="16285" y="5278"/>
                  </a:lnTo>
                  <a:lnTo>
                    <a:pt x="16285" y="5287"/>
                  </a:lnTo>
                  <a:lnTo>
                    <a:pt x="16294" y="5295"/>
                  </a:lnTo>
                  <a:lnTo>
                    <a:pt x="16294" y="5304"/>
                  </a:lnTo>
                  <a:lnTo>
                    <a:pt x="16285" y="5304"/>
                  </a:lnTo>
                  <a:lnTo>
                    <a:pt x="16276" y="5295"/>
                  </a:lnTo>
                  <a:lnTo>
                    <a:pt x="16267" y="5295"/>
                  </a:lnTo>
                  <a:lnTo>
                    <a:pt x="16259" y="5313"/>
                  </a:lnTo>
                  <a:lnTo>
                    <a:pt x="16267" y="5322"/>
                  </a:lnTo>
                  <a:lnTo>
                    <a:pt x="16276" y="5322"/>
                  </a:lnTo>
                  <a:lnTo>
                    <a:pt x="16285" y="5322"/>
                  </a:lnTo>
                  <a:lnTo>
                    <a:pt x="16294" y="5322"/>
                  </a:lnTo>
                  <a:lnTo>
                    <a:pt x="16294" y="5331"/>
                  </a:lnTo>
                  <a:lnTo>
                    <a:pt x="16303" y="5331"/>
                  </a:lnTo>
                  <a:lnTo>
                    <a:pt x="16303" y="5340"/>
                  </a:lnTo>
                  <a:lnTo>
                    <a:pt x="16312" y="5348"/>
                  </a:lnTo>
                  <a:lnTo>
                    <a:pt x="16320" y="5348"/>
                  </a:lnTo>
                  <a:lnTo>
                    <a:pt x="16320" y="5357"/>
                  </a:lnTo>
                  <a:lnTo>
                    <a:pt x="16320" y="5366"/>
                  </a:lnTo>
                  <a:lnTo>
                    <a:pt x="16312" y="5384"/>
                  </a:lnTo>
                  <a:lnTo>
                    <a:pt x="16312" y="5392"/>
                  </a:lnTo>
                  <a:lnTo>
                    <a:pt x="16312" y="5401"/>
                  </a:lnTo>
                  <a:lnTo>
                    <a:pt x="16312" y="5410"/>
                  </a:lnTo>
                  <a:lnTo>
                    <a:pt x="16312" y="5428"/>
                  </a:lnTo>
                  <a:lnTo>
                    <a:pt x="16312" y="5437"/>
                  </a:lnTo>
                  <a:lnTo>
                    <a:pt x="16312" y="5463"/>
                  </a:lnTo>
                  <a:lnTo>
                    <a:pt x="16320" y="5481"/>
                  </a:lnTo>
                  <a:lnTo>
                    <a:pt x="16320" y="5490"/>
                  </a:lnTo>
                  <a:lnTo>
                    <a:pt x="16320" y="5498"/>
                  </a:lnTo>
                  <a:lnTo>
                    <a:pt x="16329" y="5525"/>
                  </a:lnTo>
                  <a:lnTo>
                    <a:pt x="16329" y="5534"/>
                  </a:lnTo>
                  <a:lnTo>
                    <a:pt x="16320" y="5534"/>
                  </a:lnTo>
                  <a:lnTo>
                    <a:pt x="16312" y="5534"/>
                  </a:lnTo>
                  <a:lnTo>
                    <a:pt x="16303" y="5534"/>
                  </a:lnTo>
                  <a:lnTo>
                    <a:pt x="16312" y="5525"/>
                  </a:lnTo>
                  <a:lnTo>
                    <a:pt x="16320" y="5525"/>
                  </a:lnTo>
                  <a:lnTo>
                    <a:pt x="16312" y="5525"/>
                  </a:lnTo>
                  <a:lnTo>
                    <a:pt x="16276" y="5525"/>
                  </a:lnTo>
                  <a:lnTo>
                    <a:pt x="16197" y="5551"/>
                  </a:lnTo>
                  <a:lnTo>
                    <a:pt x="16162" y="5551"/>
                  </a:lnTo>
                  <a:lnTo>
                    <a:pt x="16117" y="5543"/>
                  </a:lnTo>
                  <a:lnTo>
                    <a:pt x="16100" y="5534"/>
                  </a:lnTo>
                  <a:lnTo>
                    <a:pt x="16073" y="5516"/>
                  </a:lnTo>
                  <a:lnTo>
                    <a:pt x="16056" y="5507"/>
                  </a:lnTo>
                  <a:lnTo>
                    <a:pt x="16047" y="5490"/>
                  </a:lnTo>
                  <a:lnTo>
                    <a:pt x="16047" y="5481"/>
                  </a:lnTo>
                  <a:lnTo>
                    <a:pt x="16038" y="5481"/>
                  </a:lnTo>
                  <a:lnTo>
                    <a:pt x="16029" y="5481"/>
                  </a:lnTo>
                  <a:lnTo>
                    <a:pt x="16012" y="5481"/>
                  </a:lnTo>
                  <a:lnTo>
                    <a:pt x="15994" y="5472"/>
                  </a:lnTo>
                  <a:lnTo>
                    <a:pt x="15985" y="5472"/>
                  </a:lnTo>
                  <a:lnTo>
                    <a:pt x="15967" y="5463"/>
                  </a:lnTo>
                  <a:lnTo>
                    <a:pt x="15959" y="5454"/>
                  </a:lnTo>
                  <a:lnTo>
                    <a:pt x="15959" y="5445"/>
                  </a:lnTo>
                  <a:lnTo>
                    <a:pt x="15950" y="5428"/>
                  </a:lnTo>
                  <a:lnTo>
                    <a:pt x="15950" y="5419"/>
                  </a:lnTo>
                  <a:lnTo>
                    <a:pt x="15950" y="5401"/>
                  </a:lnTo>
                  <a:lnTo>
                    <a:pt x="15950" y="5392"/>
                  </a:lnTo>
                  <a:lnTo>
                    <a:pt x="15950" y="5366"/>
                  </a:lnTo>
                  <a:lnTo>
                    <a:pt x="15950" y="5357"/>
                  </a:lnTo>
                  <a:lnTo>
                    <a:pt x="15950" y="5348"/>
                  </a:lnTo>
                  <a:lnTo>
                    <a:pt x="15959" y="5340"/>
                  </a:lnTo>
                  <a:lnTo>
                    <a:pt x="15967" y="5340"/>
                  </a:lnTo>
                  <a:lnTo>
                    <a:pt x="15967" y="5348"/>
                  </a:lnTo>
                  <a:lnTo>
                    <a:pt x="15976" y="5340"/>
                  </a:lnTo>
                  <a:lnTo>
                    <a:pt x="15976" y="5322"/>
                  </a:lnTo>
                  <a:lnTo>
                    <a:pt x="15985" y="5322"/>
                  </a:lnTo>
                  <a:lnTo>
                    <a:pt x="15985" y="5313"/>
                  </a:lnTo>
                  <a:lnTo>
                    <a:pt x="15985" y="5304"/>
                  </a:lnTo>
                  <a:lnTo>
                    <a:pt x="15985" y="5295"/>
                  </a:lnTo>
                  <a:lnTo>
                    <a:pt x="15985" y="5278"/>
                  </a:lnTo>
                  <a:lnTo>
                    <a:pt x="15994" y="5251"/>
                  </a:lnTo>
                  <a:lnTo>
                    <a:pt x="16003" y="5242"/>
                  </a:lnTo>
                  <a:lnTo>
                    <a:pt x="16012" y="5242"/>
                  </a:lnTo>
                  <a:lnTo>
                    <a:pt x="16020" y="5234"/>
                  </a:lnTo>
                  <a:lnTo>
                    <a:pt x="16029" y="5234"/>
                  </a:lnTo>
                  <a:lnTo>
                    <a:pt x="16047" y="5234"/>
                  </a:lnTo>
                  <a:lnTo>
                    <a:pt x="16056" y="5234"/>
                  </a:lnTo>
                  <a:lnTo>
                    <a:pt x="16056" y="5225"/>
                  </a:lnTo>
                  <a:lnTo>
                    <a:pt x="16047" y="5225"/>
                  </a:lnTo>
                  <a:lnTo>
                    <a:pt x="16047" y="5216"/>
                  </a:lnTo>
                  <a:lnTo>
                    <a:pt x="16038" y="5216"/>
                  </a:lnTo>
                  <a:lnTo>
                    <a:pt x="16029" y="5207"/>
                  </a:lnTo>
                  <a:lnTo>
                    <a:pt x="16020" y="5207"/>
                  </a:lnTo>
                  <a:lnTo>
                    <a:pt x="16012" y="5207"/>
                  </a:lnTo>
                  <a:lnTo>
                    <a:pt x="16003" y="5198"/>
                  </a:lnTo>
                  <a:lnTo>
                    <a:pt x="15994" y="5189"/>
                  </a:lnTo>
                  <a:lnTo>
                    <a:pt x="15976" y="5172"/>
                  </a:lnTo>
                  <a:lnTo>
                    <a:pt x="15967" y="5163"/>
                  </a:lnTo>
                  <a:lnTo>
                    <a:pt x="15967" y="5154"/>
                  </a:lnTo>
                  <a:lnTo>
                    <a:pt x="15967" y="5145"/>
                  </a:lnTo>
                  <a:lnTo>
                    <a:pt x="15959" y="5145"/>
                  </a:lnTo>
                  <a:lnTo>
                    <a:pt x="15950" y="5119"/>
                  </a:lnTo>
                  <a:lnTo>
                    <a:pt x="15932" y="5101"/>
                  </a:lnTo>
                  <a:lnTo>
                    <a:pt x="15923" y="5101"/>
                  </a:lnTo>
                  <a:lnTo>
                    <a:pt x="15923" y="5092"/>
                  </a:lnTo>
                  <a:lnTo>
                    <a:pt x="15915" y="5092"/>
                  </a:lnTo>
                  <a:lnTo>
                    <a:pt x="15906" y="5084"/>
                  </a:lnTo>
                  <a:lnTo>
                    <a:pt x="15906" y="5075"/>
                  </a:lnTo>
                  <a:lnTo>
                    <a:pt x="15888" y="5057"/>
                  </a:lnTo>
                  <a:lnTo>
                    <a:pt x="15870" y="5031"/>
                  </a:lnTo>
                  <a:lnTo>
                    <a:pt x="15862" y="5031"/>
                  </a:lnTo>
                  <a:lnTo>
                    <a:pt x="15862" y="5013"/>
                  </a:lnTo>
                  <a:lnTo>
                    <a:pt x="15862" y="5004"/>
                  </a:lnTo>
                  <a:lnTo>
                    <a:pt x="15853" y="5004"/>
                  </a:lnTo>
                  <a:lnTo>
                    <a:pt x="15844" y="4995"/>
                  </a:lnTo>
                  <a:lnTo>
                    <a:pt x="15853" y="4978"/>
                  </a:lnTo>
                  <a:lnTo>
                    <a:pt x="15844" y="4960"/>
                  </a:lnTo>
                  <a:lnTo>
                    <a:pt x="15853" y="4951"/>
                  </a:lnTo>
                  <a:lnTo>
                    <a:pt x="15853" y="4934"/>
                  </a:lnTo>
                  <a:lnTo>
                    <a:pt x="15862" y="4925"/>
                  </a:lnTo>
                  <a:lnTo>
                    <a:pt x="15862" y="4916"/>
                  </a:lnTo>
                  <a:lnTo>
                    <a:pt x="15853" y="4925"/>
                  </a:lnTo>
                  <a:lnTo>
                    <a:pt x="15844" y="4951"/>
                  </a:lnTo>
                  <a:lnTo>
                    <a:pt x="15844" y="4925"/>
                  </a:lnTo>
                  <a:lnTo>
                    <a:pt x="15835" y="4907"/>
                  </a:lnTo>
                  <a:lnTo>
                    <a:pt x="15835" y="4898"/>
                  </a:lnTo>
                  <a:lnTo>
                    <a:pt x="15826" y="4889"/>
                  </a:lnTo>
                  <a:lnTo>
                    <a:pt x="15818" y="4889"/>
                  </a:lnTo>
                  <a:lnTo>
                    <a:pt x="15818" y="4881"/>
                  </a:lnTo>
                  <a:lnTo>
                    <a:pt x="15809" y="4872"/>
                  </a:lnTo>
                  <a:lnTo>
                    <a:pt x="15791" y="4872"/>
                  </a:lnTo>
                  <a:lnTo>
                    <a:pt x="15791" y="4863"/>
                  </a:lnTo>
                  <a:lnTo>
                    <a:pt x="15791" y="4854"/>
                  </a:lnTo>
                  <a:lnTo>
                    <a:pt x="15791" y="4845"/>
                  </a:lnTo>
                  <a:lnTo>
                    <a:pt x="15800" y="4845"/>
                  </a:lnTo>
                  <a:lnTo>
                    <a:pt x="15809" y="4836"/>
                  </a:lnTo>
                  <a:lnTo>
                    <a:pt x="15809" y="4828"/>
                  </a:lnTo>
                  <a:lnTo>
                    <a:pt x="15818" y="4836"/>
                  </a:lnTo>
                  <a:lnTo>
                    <a:pt x="15818" y="4828"/>
                  </a:lnTo>
                  <a:lnTo>
                    <a:pt x="15826" y="4819"/>
                  </a:lnTo>
                  <a:lnTo>
                    <a:pt x="15835" y="4801"/>
                  </a:lnTo>
                  <a:lnTo>
                    <a:pt x="15844" y="4792"/>
                  </a:lnTo>
                  <a:lnTo>
                    <a:pt x="15844" y="4784"/>
                  </a:lnTo>
                  <a:lnTo>
                    <a:pt x="15844" y="4775"/>
                  </a:lnTo>
                  <a:lnTo>
                    <a:pt x="15853" y="4775"/>
                  </a:lnTo>
                  <a:lnTo>
                    <a:pt x="15853" y="4766"/>
                  </a:lnTo>
                  <a:lnTo>
                    <a:pt x="15844" y="4757"/>
                  </a:lnTo>
                  <a:lnTo>
                    <a:pt x="15853" y="4757"/>
                  </a:lnTo>
                  <a:lnTo>
                    <a:pt x="15862" y="4766"/>
                  </a:lnTo>
                  <a:lnTo>
                    <a:pt x="15862" y="4757"/>
                  </a:lnTo>
                  <a:lnTo>
                    <a:pt x="15870" y="4757"/>
                  </a:lnTo>
                  <a:lnTo>
                    <a:pt x="15888" y="4757"/>
                  </a:lnTo>
                  <a:lnTo>
                    <a:pt x="15897" y="4748"/>
                  </a:lnTo>
                  <a:lnTo>
                    <a:pt x="15906" y="4748"/>
                  </a:lnTo>
                  <a:lnTo>
                    <a:pt x="15923" y="4731"/>
                  </a:lnTo>
                  <a:lnTo>
                    <a:pt x="15932" y="4731"/>
                  </a:lnTo>
                  <a:lnTo>
                    <a:pt x="15932" y="4739"/>
                  </a:lnTo>
                  <a:lnTo>
                    <a:pt x="15941" y="4739"/>
                  </a:lnTo>
                  <a:lnTo>
                    <a:pt x="15941" y="4731"/>
                  </a:lnTo>
                  <a:lnTo>
                    <a:pt x="15932" y="4722"/>
                  </a:lnTo>
                  <a:lnTo>
                    <a:pt x="15941" y="4722"/>
                  </a:lnTo>
                  <a:lnTo>
                    <a:pt x="15967" y="4713"/>
                  </a:lnTo>
                  <a:lnTo>
                    <a:pt x="15967" y="4704"/>
                  </a:lnTo>
                  <a:lnTo>
                    <a:pt x="15976" y="4704"/>
                  </a:lnTo>
                  <a:lnTo>
                    <a:pt x="15976" y="4695"/>
                  </a:lnTo>
                  <a:lnTo>
                    <a:pt x="15976" y="4686"/>
                  </a:lnTo>
                  <a:lnTo>
                    <a:pt x="15985" y="4686"/>
                  </a:lnTo>
                  <a:lnTo>
                    <a:pt x="15985" y="4678"/>
                  </a:lnTo>
                  <a:lnTo>
                    <a:pt x="15994" y="4678"/>
                  </a:lnTo>
                  <a:lnTo>
                    <a:pt x="16003" y="4678"/>
                  </a:lnTo>
                  <a:lnTo>
                    <a:pt x="16012" y="4678"/>
                  </a:lnTo>
                  <a:lnTo>
                    <a:pt x="16020" y="4669"/>
                  </a:lnTo>
                  <a:lnTo>
                    <a:pt x="16029" y="4669"/>
                  </a:lnTo>
                  <a:lnTo>
                    <a:pt x="16038" y="4660"/>
                  </a:lnTo>
                  <a:lnTo>
                    <a:pt x="16056" y="4651"/>
                  </a:lnTo>
                  <a:lnTo>
                    <a:pt x="16065" y="4642"/>
                  </a:lnTo>
                  <a:lnTo>
                    <a:pt x="16073" y="4651"/>
                  </a:lnTo>
                  <a:lnTo>
                    <a:pt x="16073" y="4642"/>
                  </a:lnTo>
                  <a:lnTo>
                    <a:pt x="16082" y="4642"/>
                  </a:lnTo>
                  <a:lnTo>
                    <a:pt x="16100" y="4633"/>
                  </a:lnTo>
                  <a:lnTo>
                    <a:pt x="16117" y="4625"/>
                  </a:lnTo>
                  <a:lnTo>
                    <a:pt x="16126" y="4625"/>
                  </a:lnTo>
                  <a:lnTo>
                    <a:pt x="16153" y="4633"/>
                  </a:lnTo>
                  <a:lnTo>
                    <a:pt x="16162" y="4642"/>
                  </a:lnTo>
                  <a:lnTo>
                    <a:pt x="16179" y="4642"/>
                  </a:lnTo>
                  <a:lnTo>
                    <a:pt x="16188" y="4651"/>
                  </a:lnTo>
                  <a:lnTo>
                    <a:pt x="16197" y="4651"/>
                  </a:lnTo>
                  <a:lnTo>
                    <a:pt x="16206" y="4642"/>
                  </a:lnTo>
                  <a:lnTo>
                    <a:pt x="16215" y="4642"/>
                  </a:lnTo>
                  <a:lnTo>
                    <a:pt x="16215" y="4633"/>
                  </a:lnTo>
                  <a:lnTo>
                    <a:pt x="16232" y="4642"/>
                  </a:lnTo>
                  <a:lnTo>
                    <a:pt x="16250" y="4642"/>
                  </a:lnTo>
                  <a:lnTo>
                    <a:pt x="16259" y="4642"/>
                  </a:lnTo>
                  <a:lnTo>
                    <a:pt x="16259" y="4651"/>
                  </a:lnTo>
                  <a:lnTo>
                    <a:pt x="16259" y="4660"/>
                  </a:lnTo>
                  <a:lnTo>
                    <a:pt x="16267" y="4669"/>
                  </a:lnTo>
                  <a:lnTo>
                    <a:pt x="16259" y="4669"/>
                  </a:lnTo>
                  <a:lnTo>
                    <a:pt x="16259" y="4678"/>
                  </a:lnTo>
                  <a:lnTo>
                    <a:pt x="16259" y="4686"/>
                  </a:lnTo>
                  <a:lnTo>
                    <a:pt x="16259" y="4713"/>
                  </a:lnTo>
                  <a:lnTo>
                    <a:pt x="16259" y="4731"/>
                  </a:lnTo>
                  <a:lnTo>
                    <a:pt x="16241" y="4748"/>
                  </a:lnTo>
                  <a:lnTo>
                    <a:pt x="16232" y="4766"/>
                  </a:lnTo>
                  <a:lnTo>
                    <a:pt x="16241" y="4775"/>
                  </a:lnTo>
                  <a:lnTo>
                    <a:pt x="16259" y="4784"/>
                  </a:lnTo>
                  <a:lnTo>
                    <a:pt x="16267" y="4792"/>
                  </a:lnTo>
                  <a:lnTo>
                    <a:pt x="16259" y="4792"/>
                  </a:lnTo>
                  <a:lnTo>
                    <a:pt x="16250" y="4792"/>
                  </a:lnTo>
                  <a:lnTo>
                    <a:pt x="16232" y="4784"/>
                  </a:lnTo>
                  <a:lnTo>
                    <a:pt x="16215" y="4784"/>
                  </a:lnTo>
                  <a:lnTo>
                    <a:pt x="16179" y="4784"/>
                  </a:lnTo>
                  <a:lnTo>
                    <a:pt x="16162" y="4784"/>
                  </a:lnTo>
                  <a:lnTo>
                    <a:pt x="16144" y="4784"/>
                  </a:lnTo>
                  <a:lnTo>
                    <a:pt x="16135" y="4784"/>
                  </a:lnTo>
                  <a:lnTo>
                    <a:pt x="16126" y="4792"/>
                  </a:lnTo>
                  <a:lnTo>
                    <a:pt x="16126" y="4801"/>
                  </a:lnTo>
                  <a:lnTo>
                    <a:pt x="16126" y="4810"/>
                  </a:lnTo>
                  <a:lnTo>
                    <a:pt x="16117" y="4819"/>
                  </a:lnTo>
                  <a:lnTo>
                    <a:pt x="16109" y="4819"/>
                  </a:lnTo>
                  <a:lnTo>
                    <a:pt x="16109" y="4828"/>
                  </a:lnTo>
                  <a:lnTo>
                    <a:pt x="16109" y="4836"/>
                  </a:lnTo>
                  <a:lnTo>
                    <a:pt x="16117" y="4845"/>
                  </a:lnTo>
                  <a:lnTo>
                    <a:pt x="16126" y="4854"/>
                  </a:lnTo>
                  <a:lnTo>
                    <a:pt x="16135" y="4854"/>
                  </a:lnTo>
                  <a:lnTo>
                    <a:pt x="16144" y="4854"/>
                  </a:lnTo>
                  <a:lnTo>
                    <a:pt x="16144" y="4863"/>
                  </a:lnTo>
                  <a:lnTo>
                    <a:pt x="16135" y="4863"/>
                  </a:lnTo>
                  <a:lnTo>
                    <a:pt x="16126" y="4863"/>
                  </a:lnTo>
                  <a:lnTo>
                    <a:pt x="16117" y="4863"/>
                  </a:lnTo>
                  <a:lnTo>
                    <a:pt x="16109" y="4863"/>
                  </a:lnTo>
                  <a:lnTo>
                    <a:pt x="16100" y="4854"/>
                  </a:lnTo>
                  <a:lnTo>
                    <a:pt x="16082" y="4854"/>
                  </a:lnTo>
                  <a:lnTo>
                    <a:pt x="16065" y="4854"/>
                  </a:lnTo>
                  <a:lnTo>
                    <a:pt x="16056" y="4854"/>
                  </a:lnTo>
                  <a:lnTo>
                    <a:pt x="16056" y="4863"/>
                  </a:lnTo>
                  <a:lnTo>
                    <a:pt x="16047" y="4863"/>
                  </a:lnTo>
                  <a:lnTo>
                    <a:pt x="16047" y="4872"/>
                  </a:lnTo>
                  <a:lnTo>
                    <a:pt x="16056" y="4881"/>
                  </a:lnTo>
                  <a:lnTo>
                    <a:pt x="16065" y="4881"/>
                  </a:lnTo>
                  <a:lnTo>
                    <a:pt x="16082" y="4881"/>
                  </a:lnTo>
                  <a:lnTo>
                    <a:pt x="16091" y="4889"/>
                  </a:lnTo>
                  <a:lnTo>
                    <a:pt x="16100" y="4916"/>
                  </a:lnTo>
                  <a:lnTo>
                    <a:pt x="16109" y="4934"/>
                  </a:lnTo>
                  <a:lnTo>
                    <a:pt x="16117" y="4942"/>
                  </a:lnTo>
                  <a:lnTo>
                    <a:pt x="16126" y="4942"/>
                  </a:lnTo>
                  <a:lnTo>
                    <a:pt x="16126" y="4951"/>
                  </a:lnTo>
                  <a:lnTo>
                    <a:pt x="16126" y="4960"/>
                  </a:lnTo>
                  <a:lnTo>
                    <a:pt x="16126" y="4969"/>
                  </a:lnTo>
                  <a:lnTo>
                    <a:pt x="16126" y="4978"/>
                  </a:lnTo>
                  <a:lnTo>
                    <a:pt x="16126" y="4986"/>
                  </a:lnTo>
                  <a:lnTo>
                    <a:pt x="16135" y="4986"/>
                  </a:lnTo>
                  <a:lnTo>
                    <a:pt x="16144" y="4986"/>
                  </a:lnTo>
                  <a:lnTo>
                    <a:pt x="16153" y="4986"/>
                  </a:lnTo>
                  <a:lnTo>
                    <a:pt x="16162" y="4986"/>
                  </a:lnTo>
                  <a:lnTo>
                    <a:pt x="16162" y="4995"/>
                  </a:lnTo>
                  <a:lnTo>
                    <a:pt x="16162" y="5004"/>
                  </a:lnTo>
                  <a:lnTo>
                    <a:pt x="16170" y="5004"/>
                  </a:lnTo>
                  <a:lnTo>
                    <a:pt x="16170" y="5013"/>
                  </a:lnTo>
                  <a:lnTo>
                    <a:pt x="16179" y="5013"/>
                  </a:lnTo>
                  <a:lnTo>
                    <a:pt x="16188" y="5013"/>
                  </a:lnTo>
                  <a:lnTo>
                    <a:pt x="16197" y="5013"/>
                  </a:lnTo>
                  <a:lnTo>
                    <a:pt x="16206" y="5013"/>
                  </a:lnTo>
                  <a:lnTo>
                    <a:pt x="16215" y="5013"/>
                  </a:lnTo>
                  <a:lnTo>
                    <a:pt x="16223" y="5013"/>
                  </a:lnTo>
                  <a:lnTo>
                    <a:pt x="16223" y="5022"/>
                  </a:lnTo>
                  <a:lnTo>
                    <a:pt x="16223" y="5039"/>
                  </a:lnTo>
                  <a:lnTo>
                    <a:pt x="16223" y="5048"/>
                  </a:lnTo>
                  <a:lnTo>
                    <a:pt x="16223" y="5057"/>
                  </a:lnTo>
                  <a:lnTo>
                    <a:pt x="16215" y="5066"/>
                  </a:lnTo>
                  <a:lnTo>
                    <a:pt x="16215" y="5075"/>
                  </a:lnTo>
                  <a:lnTo>
                    <a:pt x="16215" y="5084"/>
                  </a:lnTo>
                  <a:lnTo>
                    <a:pt x="16215" y="5092"/>
                  </a:lnTo>
                  <a:lnTo>
                    <a:pt x="16215" y="5110"/>
                  </a:lnTo>
                  <a:lnTo>
                    <a:pt x="16223" y="5128"/>
                  </a:lnTo>
                  <a:lnTo>
                    <a:pt x="16232" y="5145"/>
                  </a:lnTo>
                  <a:lnTo>
                    <a:pt x="16241" y="5154"/>
                  </a:lnTo>
                  <a:lnTo>
                    <a:pt x="16241" y="5145"/>
                  </a:lnTo>
                  <a:lnTo>
                    <a:pt x="16241" y="5119"/>
                  </a:lnTo>
                  <a:lnTo>
                    <a:pt x="16241" y="5110"/>
                  </a:lnTo>
                  <a:lnTo>
                    <a:pt x="16250" y="5092"/>
                  </a:lnTo>
                  <a:lnTo>
                    <a:pt x="16259" y="5084"/>
                  </a:lnTo>
                  <a:lnTo>
                    <a:pt x="16267" y="5075"/>
                  </a:lnTo>
                  <a:lnTo>
                    <a:pt x="16276" y="5084"/>
                  </a:lnTo>
                  <a:lnTo>
                    <a:pt x="16285" y="5075"/>
                  </a:lnTo>
                  <a:lnTo>
                    <a:pt x="16303" y="5075"/>
                  </a:lnTo>
                  <a:lnTo>
                    <a:pt x="16312" y="5075"/>
                  </a:lnTo>
                  <a:lnTo>
                    <a:pt x="16320" y="5101"/>
                  </a:lnTo>
                  <a:lnTo>
                    <a:pt x="16329" y="5110"/>
                  </a:lnTo>
                  <a:lnTo>
                    <a:pt x="16329" y="5119"/>
                  </a:lnTo>
                  <a:lnTo>
                    <a:pt x="16329" y="5128"/>
                  </a:lnTo>
                  <a:lnTo>
                    <a:pt x="16338" y="5137"/>
                  </a:lnTo>
                  <a:lnTo>
                    <a:pt x="16347" y="5145"/>
                  </a:lnTo>
                  <a:lnTo>
                    <a:pt x="16373" y="5154"/>
                  </a:lnTo>
                  <a:lnTo>
                    <a:pt x="16373" y="5163"/>
                  </a:lnTo>
                  <a:lnTo>
                    <a:pt x="16382" y="5172"/>
                  </a:lnTo>
                  <a:close/>
                  <a:moveTo>
                    <a:pt x="22505" y="3848"/>
                  </a:moveTo>
                  <a:lnTo>
                    <a:pt x="22496" y="3848"/>
                  </a:lnTo>
                  <a:lnTo>
                    <a:pt x="22470" y="3839"/>
                  </a:lnTo>
                  <a:lnTo>
                    <a:pt x="22461" y="3857"/>
                  </a:lnTo>
                  <a:lnTo>
                    <a:pt x="22452" y="3857"/>
                  </a:lnTo>
                  <a:lnTo>
                    <a:pt x="22452" y="3866"/>
                  </a:lnTo>
                  <a:lnTo>
                    <a:pt x="22443" y="3883"/>
                  </a:lnTo>
                  <a:lnTo>
                    <a:pt x="22452" y="3874"/>
                  </a:lnTo>
                  <a:lnTo>
                    <a:pt x="22461" y="3874"/>
                  </a:lnTo>
                  <a:lnTo>
                    <a:pt x="22470" y="3874"/>
                  </a:lnTo>
                  <a:lnTo>
                    <a:pt x="22478" y="3892"/>
                  </a:lnTo>
                  <a:lnTo>
                    <a:pt x="22487" y="3892"/>
                  </a:lnTo>
                  <a:lnTo>
                    <a:pt x="22487" y="3883"/>
                  </a:lnTo>
                  <a:lnTo>
                    <a:pt x="22496" y="3883"/>
                  </a:lnTo>
                  <a:lnTo>
                    <a:pt x="22505" y="3874"/>
                  </a:lnTo>
                  <a:lnTo>
                    <a:pt x="22505" y="3866"/>
                  </a:lnTo>
                  <a:lnTo>
                    <a:pt x="22505" y="3857"/>
                  </a:lnTo>
                  <a:lnTo>
                    <a:pt x="22514" y="3857"/>
                  </a:lnTo>
                  <a:lnTo>
                    <a:pt x="22514" y="3848"/>
                  </a:lnTo>
                  <a:close/>
                  <a:moveTo>
                    <a:pt x="25196" y="9963"/>
                  </a:moveTo>
                  <a:lnTo>
                    <a:pt x="25187" y="9963"/>
                  </a:lnTo>
                  <a:close/>
                  <a:moveTo>
                    <a:pt x="16259" y="5366"/>
                  </a:moveTo>
                  <a:lnTo>
                    <a:pt x="16259" y="5340"/>
                  </a:lnTo>
                  <a:lnTo>
                    <a:pt x="16250" y="5340"/>
                  </a:lnTo>
                  <a:lnTo>
                    <a:pt x="16259" y="5357"/>
                  </a:lnTo>
                  <a:close/>
                  <a:moveTo>
                    <a:pt x="16056" y="4819"/>
                  </a:moveTo>
                  <a:lnTo>
                    <a:pt x="16056" y="4810"/>
                  </a:lnTo>
                  <a:lnTo>
                    <a:pt x="16047" y="4819"/>
                  </a:lnTo>
                  <a:close/>
                  <a:moveTo>
                    <a:pt x="16038" y="4819"/>
                  </a:moveTo>
                  <a:lnTo>
                    <a:pt x="16038" y="4810"/>
                  </a:lnTo>
                  <a:lnTo>
                    <a:pt x="16038" y="4819"/>
                  </a:lnTo>
                  <a:lnTo>
                    <a:pt x="16029" y="4828"/>
                  </a:lnTo>
                  <a:lnTo>
                    <a:pt x="16038" y="4836"/>
                  </a:lnTo>
                  <a:lnTo>
                    <a:pt x="16047" y="4836"/>
                  </a:lnTo>
                  <a:lnTo>
                    <a:pt x="16047" y="4828"/>
                  </a:lnTo>
                  <a:lnTo>
                    <a:pt x="16038" y="4828"/>
                  </a:lnTo>
                  <a:close/>
                  <a:moveTo>
                    <a:pt x="15879" y="4766"/>
                  </a:moveTo>
                  <a:lnTo>
                    <a:pt x="15879" y="4775"/>
                  </a:lnTo>
                  <a:lnTo>
                    <a:pt x="15888" y="4775"/>
                  </a:lnTo>
                  <a:lnTo>
                    <a:pt x="15888" y="4766"/>
                  </a:lnTo>
                  <a:lnTo>
                    <a:pt x="15879" y="4757"/>
                  </a:lnTo>
                  <a:close/>
                  <a:moveTo>
                    <a:pt x="24093" y="8975"/>
                  </a:moveTo>
                  <a:lnTo>
                    <a:pt x="24093" y="8966"/>
                  </a:lnTo>
                  <a:lnTo>
                    <a:pt x="24084" y="8966"/>
                  </a:lnTo>
                  <a:lnTo>
                    <a:pt x="24084" y="8975"/>
                  </a:lnTo>
                  <a:close/>
                  <a:moveTo>
                    <a:pt x="22364" y="9363"/>
                  </a:moveTo>
                  <a:lnTo>
                    <a:pt x="22373" y="9372"/>
                  </a:lnTo>
                  <a:lnTo>
                    <a:pt x="22373" y="9363"/>
                  </a:lnTo>
                  <a:lnTo>
                    <a:pt x="22373" y="9354"/>
                  </a:lnTo>
                  <a:close/>
                  <a:moveTo>
                    <a:pt x="23634" y="10378"/>
                  </a:moveTo>
                  <a:lnTo>
                    <a:pt x="23634" y="10387"/>
                  </a:lnTo>
                  <a:lnTo>
                    <a:pt x="23634" y="10396"/>
                  </a:lnTo>
                  <a:lnTo>
                    <a:pt x="23634" y="10387"/>
                  </a:lnTo>
                  <a:close/>
                  <a:moveTo>
                    <a:pt x="23643" y="10475"/>
                  </a:moveTo>
                  <a:lnTo>
                    <a:pt x="23634" y="10457"/>
                  </a:lnTo>
                  <a:lnTo>
                    <a:pt x="23634" y="10440"/>
                  </a:lnTo>
                  <a:lnTo>
                    <a:pt x="23634" y="10431"/>
                  </a:lnTo>
                  <a:lnTo>
                    <a:pt x="23616" y="10404"/>
                  </a:lnTo>
                  <a:lnTo>
                    <a:pt x="23616" y="10387"/>
                  </a:lnTo>
                  <a:lnTo>
                    <a:pt x="23616" y="10369"/>
                  </a:lnTo>
                  <a:lnTo>
                    <a:pt x="23608" y="10316"/>
                  </a:lnTo>
                  <a:lnTo>
                    <a:pt x="23616" y="10290"/>
                  </a:lnTo>
                  <a:lnTo>
                    <a:pt x="23608" y="10281"/>
                  </a:lnTo>
                  <a:lnTo>
                    <a:pt x="23599" y="10281"/>
                  </a:lnTo>
                  <a:lnTo>
                    <a:pt x="23599" y="10272"/>
                  </a:lnTo>
                  <a:lnTo>
                    <a:pt x="23599" y="10254"/>
                  </a:lnTo>
                  <a:lnTo>
                    <a:pt x="23590" y="10237"/>
                  </a:lnTo>
                  <a:lnTo>
                    <a:pt x="23581" y="10237"/>
                  </a:lnTo>
                  <a:lnTo>
                    <a:pt x="23572" y="10219"/>
                  </a:lnTo>
                  <a:lnTo>
                    <a:pt x="23564" y="10210"/>
                  </a:lnTo>
                  <a:lnTo>
                    <a:pt x="23564" y="10201"/>
                  </a:lnTo>
                  <a:lnTo>
                    <a:pt x="23555" y="10193"/>
                  </a:lnTo>
                  <a:lnTo>
                    <a:pt x="23537" y="10184"/>
                  </a:lnTo>
                  <a:lnTo>
                    <a:pt x="23537" y="10175"/>
                  </a:lnTo>
                  <a:lnTo>
                    <a:pt x="23519" y="10157"/>
                  </a:lnTo>
                  <a:lnTo>
                    <a:pt x="23519" y="10148"/>
                  </a:lnTo>
                  <a:lnTo>
                    <a:pt x="23511" y="10140"/>
                  </a:lnTo>
                  <a:lnTo>
                    <a:pt x="23502" y="10140"/>
                  </a:lnTo>
                  <a:lnTo>
                    <a:pt x="23493" y="10140"/>
                  </a:lnTo>
                  <a:lnTo>
                    <a:pt x="23475" y="10122"/>
                  </a:lnTo>
                  <a:lnTo>
                    <a:pt x="23467" y="10122"/>
                  </a:lnTo>
                  <a:lnTo>
                    <a:pt x="23467" y="10113"/>
                  </a:lnTo>
                  <a:lnTo>
                    <a:pt x="23458" y="10104"/>
                  </a:lnTo>
                  <a:lnTo>
                    <a:pt x="23449" y="10104"/>
                  </a:lnTo>
                  <a:lnTo>
                    <a:pt x="23449" y="10096"/>
                  </a:lnTo>
                  <a:lnTo>
                    <a:pt x="23440" y="10078"/>
                  </a:lnTo>
                  <a:lnTo>
                    <a:pt x="23440" y="10051"/>
                  </a:lnTo>
                  <a:lnTo>
                    <a:pt x="23440" y="10025"/>
                  </a:lnTo>
                  <a:lnTo>
                    <a:pt x="23431" y="10016"/>
                  </a:lnTo>
                  <a:lnTo>
                    <a:pt x="23422" y="10016"/>
                  </a:lnTo>
                  <a:lnTo>
                    <a:pt x="23422" y="10025"/>
                  </a:lnTo>
                  <a:lnTo>
                    <a:pt x="23414" y="10025"/>
                  </a:lnTo>
                  <a:lnTo>
                    <a:pt x="23405" y="10016"/>
                  </a:lnTo>
                  <a:lnTo>
                    <a:pt x="23396" y="10007"/>
                  </a:lnTo>
                  <a:lnTo>
                    <a:pt x="23387" y="9998"/>
                  </a:lnTo>
                  <a:lnTo>
                    <a:pt x="23378" y="9998"/>
                  </a:lnTo>
                  <a:lnTo>
                    <a:pt x="23378" y="10007"/>
                  </a:lnTo>
                  <a:lnTo>
                    <a:pt x="23387" y="10025"/>
                  </a:lnTo>
                  <a:lnTo>
                    <a:pt x="23378" y="10025"/>
                  </a:lnTo>
                  <a:lnTo>
                    <a:pt x="23369" y="10016"/>
                  </a:lnTo>
                  <a:lnTo>
                    <a:pt x="23361" y="10016"/>
                  </a:lnTo>
                  <a:lnTo>
                    <a:pt x="23361" y="10007"/>
                  </a:lnTo>
                  <a:lnTo>
                    <a:pt x="23352" y="10007"/>
                  </a:lnTo>
                  <a:lnTo>
                    <a:pt x="23352" y="9990"/>
                  </a:lnTo>
                  <a:lnTo>
                    <a:pt x="23343" y="9963"/>
                  </a:lnTo>
                  <a:lnTo>
                    <a:pt x="23343" y="9954"/>
                  </a:lnTo>
                  <a:lnTo>
                    <a:pt x="23334" y="9946"/>
                  </a:lnTo>
                  <a:lnTo>
                    <a:pt x="23334" y="9928"/>
                  </a:lnTo>
                  <a:lnTo>
                    <a:pt x="23325" y="9928"/>
                  </a:lnTo>
                  <a:lnTo>
                    <a:pt x="23325" y="9919"/>
                  </a:lnTo>
                  <a:lnTo>
                    <a:pt x="23317" y="9901"/>
                  </a:lnTo>
                  <a:lnTo>
                    <a:pt x="23299" y="9893"/>
                  </a:lnTo>
                  <a:lnTo>
                    <a:pt x="23290" y="9884"/>
                  </a:lnTo>
                  <a:lnTo>
                    <a:pt x="23290" y="9875"/>
                  </a:lnTo>
                  <a:lnTo>
                    <a:pt x="23290" y="9866"/>
                  </a:lnTo>
                  <a:lnTo>
                    <a:pt x="23299" y="9866"/>
                  </a:lnTo>
                  <a:lnTo>
                    <a:pt x="23299" y="9857"/>
                  </a:lnTo>
                  <a:lnTo>
                    <a:pt x="23290" y="9857"/>
                  </a:lnTo>
                  <a:lnTo>
                    <a:pt x="23281" y="9840"/>
                  </a:lnTo>
                  <a:lnTo>
                    <a:pt x="23272" y="9840"/>
                  </a:lnTo>
                  <a:lnTo>
                    <a:pt x="23264" y="9840"/>
                  </a:lnTo>
                  <a:lnTo>
                    <a:pt x="23246" y="9831"/>
                  </a:lnTo>
                  <a:lnTo>
                    <a:pt x="23246" y="9822"/>
                  </a:lnTo>
                  <a:lnTo>
                    <a:pt x="23237" y="9822"/>
                  </a:lnTo>
                  <a:lnTo>
                    <a:pt x="23228" y="9822"/>
                  </a:lnTo>
                  <a:lnTo>
                    <a:pt x="23228" y="9813"/>
                  </a:lnTo>
                  <a:lnTo>
                    <a:pt x="23219" y="9813"/>
                  </a:lnTo>
                  <a:lnTo>
                    <a:pt x="23202" y="9804"/>
                  </a:lnTo>
                  <a:lnTo>
                    <a:pt x="23202" y="9795"/>
                  </a:lnTo>
                  <a:lnTo>
                    <a:pt x="23193" y="9787"/>
                  </a:lnTo>
                  <a:lnTo>
                    <a:pt x="23184" y="9787"/>
                  </a:lnTo>
                  <a:lnTo>
                    <a:pt x="23175" y="9787"/>
                  </a:lnTo>
                  <a:lnTo>
                    <a:pt x="23167" y="9778"/>
                  </a:lnTo>
                  <a:lnTo>
                    <a:pt x="23149" y="9778"/>
                  </a:lnTo>
                  <a:lnTo>
                    <a:pt x="23140" y="9769"/>
                  </a:lnTo>
                  <a:lnTo>
                    <a:pt x="23131" y="9769"/>
                  </a:lnTo>
                  <a:lnTo>
                    <a:pt x="23122" y="9760"/>
                  </a:lnTo>
                  <a:lnTo>
                    <a:pt x="23114" y="9751"/>
                  </a:lnTo>
                  <a:lnTo>
                    <a:pt x="23114" y="9743"/>
                  </a:lnTo>
                  <a:lnTo>
                    <a:pt x="23114" y="9734"/>
                  </a:lnTo>
                  <a:lnTo>
                    <a:pt x="23114" y="9725"/>
                  </a:lnTo>
                  <a:lnTo>
                    <a:pt x="23105" y="9716"/>
                  </a:lnTo>
                  <a:lnTo>
                    <a:pt x="23096" y="9698"/>
                  </a:lnTo>
                  <a:lnTo>
                    <a:pt x="23087" y="9690"/>
                  </a:lnTo>
                  <a:lnTo>
                    <a:pt x="23096" y="9681"/>
                  </a:lnTo>
                  <a:lnTo>
                    <a:pt x="23096" y="9654"/>
                  </a:lnTo>
                  <a:lnTo>
                    <a:pt x="23096" y="9637"/>
                  </a:lnTo>
                  <a:lnTo>
                    <a:pt x="23078" y="9610"/>
                  </a:lnTo>
                  <a:lnTo>
                    <a:pt x="23078" y="9601"/>
                  </a:lnTo>
                  <a:lnTo>
                    <a:pt x="23069" y="9592"/>
                  </a:lnTo>
                  <a:lnTo>
                    <a:pt x="23061" y="9584"/>
                  </a:lnTo>
                  <a:lnTo>
                    <a:pt x="23052" y="9575"/>
                  </a:lnTo>
                  <a:lnTo>
                    <a:pt x="23052" y="9566"/>
                  </a:lnTo>
                  <a:lnTo>
                    <a:pt x="23043" y="9557"/>
                  </a:lnTo>
                  <a:lnTo>
                    <a:pt x="23052" y="9557"/>
                  </a:lnTo>
                  <a:lnTo>
                    <a:pt x="23052" y="9548"/>
                  </a:lnTo>
                  <a:lnTo>
                    <a:pt x="23052" y="9531"/>
                  </a:lnTo>
                  <a:lnTo>
                    <a:pt x="23043" y="9522"/>
                  </a:lnTo>
                  <a:lnTo>
                    <a:pt x="23043" y="9504"/>
                  </a:lnTo>
                  <a:lnTo>
                    <a:pt x="23034" y="9487"/>
                  </a:lnTo>
                  <a:lnTo>
                    <a:pt x="23034" y="9478"/>
                  </a:lnTo>
                  <a:lnTo>
                    <a:pt x="23034" y="9469"/>
                  </a:lnTo>
                  <a:lnTo>
                    <a:pt x="23034" y="9460"/>
                  </a:lnTo>
                  <a:lnTo>
                    <a:pt x="23034" y="9451"/>
                  </a:lnTo>
                  <a:lnTo>
                    <a:pt x="23025" y="9442"/>
                  </a:lnTo>
                  <a:lnTo>
                    <a:pt x="23017" y="9442"/>
                  </a:lnTo>
                  <a:lnTo>
                    <a:pt x="23008" y="9434"/>
                  </a:lnTo>
                  <a:lnTo>
                    <a:pt x="22990" y="9416"/>
                  </a:lnTo>
                  <a:lnTo>
                    <a:pt x="22981" y="9407"/>
                  </a:lnTo>
                  <a:lnTo>
                    <a:pt x="22981" y="9398"/>
                  </a:lnTo>
                  <a:lnTo>
                    <a:pt x="22964" y="9398"/>
                  </a:lnTo>
                  <a:lnTo>
                    <a:pt x="22955" y="9407"/>
                  </a:lnTo>
                  <a:lnTo>
                    <a:pt x="22946" y="9407"/>
                  </a:lnTo>
                  <a:lnTo>
                    <a:pt x="22937" y="9416"/>
                  </a:lnTo>
                  <a:lnTo>
                    <a:pt x="22928" y="9407"/>
                  </a:lnTo>
                  <a:lnTo>
                    <a:pt x="22920" y="9389"/>
                  </a:lnTo>
                  <a:lnTo>
                    <a:pt x="22920" y="9381"/>
                  </a:lnTo>
                  <a:lnTo>
                    <a:pt x="22911" y="9372"/>
                  </a:lnTo>
                  <a:lnTo>
                    <a:pt x="22911" y="9363"/>
                  </a:lnTo>
                  <a:lnTo>
                    <a:pt x="22911" y="9337"/>
                  </a:lnTo>
                  <a:lnTo>
                    <a:pt x="22911" y="9328"/>
                  </a:lnTo>
                  <a:lnTo>
                    <a:pt x="22911" y="9310"/>
                  </a:lnTo>
                  <a:lnTo>
                    <a:pt x="22902" y="9292"/>
                  </a:lnTo>
                  <a:lnTo>
                    <a:pt x="22902" y="9284"/>
                  </a:lnTo>
                  <a:lnTo>
                    <a:pt x="22893" y="9266"/>
                  </a:lnTo>
                  <a:lnTo>
                    <a:pt x="22884" y="9257"/>
                  </a:lnTo>
                  <a:lnTo>
                    <a:pt x="22875" y="9257"/>
                  </a:lnTo>
                  <a:lnTo>
                    <a:pt x="22875" y="9248"/>
                  </a:lnTo>
                  <a:lnTo>
                    <a:pt x="22884" y="9239"/>
                  </a:lnTo>
                  <a:lnTo>
                    <a:pt x="22884" y="9231"/>
                  </a:lnTo>
                  <a:lnTo>
                    <a:pt x="22875" y="9231"/>
                  </a:lnTo>
                  <a:lnTo>
                    <a:pt x="22867" y="9222"/>
                  </a:lnTo>
                  <a:lnTo>
                    <a:pt x="22858" y="9222"/>
                  </a:lnTo>
                  <a:lnTo>
                    <a:pt x="22858" y="9204"/>
                  </a:lnTo>
                  <a:lnTo>
                    <a:pt x="22858" y="9187"/>
                  </a:lnTo>
                  <a:lnTo>
                    <a:pt x="22858" y="9178"/>
                  </a:lnTo>
                  <a:lnTo>
                    <a:pt x="22849" y="9169"/>
                  </a:lnTo>
                  <a:lnTo>
                    <a:pt x="22849" y="9160"/>
                  </a:lnTo>
                  <a:lnTo>
                    <a:pt x="22840" y="9151"/>
                  </a:lnTo>
                  <a:lnTo>
                    <a:pt x="22840" y="9142"/>
                  </a:lnTo>
                  <a:lnTo>
                    <a:pt x="22831" y="9134"/>
                  </a:lnTo>
                  <a:lnTo>
                    <a:pt x="22822" y="9142"/>
                  </a:lnTo>
                  <a:lnTo>
                    <a:pt x="22822" y="9151"/>
                  </a:lnTo>
                  <a:lnTo>
                    <a:pt x="22805" y="9151"/>
                  </a:lnTo>
                  <a:lnTo>
                    <a:pt x="22805" y="9178"/>
                  </a:lnTo>
                  <a:lnTo>
                    <a:pt x="22796" y="9204"/>
                  </a:lnTo>
                  <a:lnTo>
                    <a:pt x="22787" y="9222"/>
                  </a:lnTo>
                  <a:lnTo>
                    <a:pt x="22796" y="9231"/>
                  </a:lnTo>
                  <a:lnTo>
                    <a:pt x="22796" y="9239"/>
                  </a:lnTo>
                  <a:lnTo>
                    <a:pt x="22787" y="9231"/>
                  </a:lnTo>
                  <a:lnTo>
                    <a:pt x="22778" y="9239"/>
                  </a:lnTo>
                  <a:lnTo>
                    <a:pt x="22770" y="9257"/>
                  </a:lnTo>
                  <a:lnTo>
                    <a:pt x="22770" y="9266"/>
                  </a:lnTo>
                  <a:lnTo>
                    <a:pt x="22778" y="9275"/>
                  </a:lnTo>
                  <a:lnTo>
                    <a:pt x="22787" y="9275"/>
                  </a:lnTo>
                  <a:lnTo>
                    <a:pt x="22787" y="9284"/>
                  </a:lnTo>
                  <a:lnTo>
                    <a:pt x="22787" y="9292"/>
                  </a:lnTo>
                  <a:lnTo>
                    <a:pt x="22778" y="9292"/>
                  </a:lnTo>
                  <a:lnTo>
                    <a:pt x="22770" y="9301"/>
                  </a:lnTo>
                  <a:lnTo>
                    <a:pt x="22770" y="9328"/>
                  </a:lnTo>
                  <a:lnTo>
                    <a:pt x="22761" y="9337"/>
                  </a:lnTo>
                  <a:lnTo>
                    <a:pt x="22761" y="9345"/>
                  </a:lnTo>
                  <a:lnTo>
                    <a:pt x="22761" y="9363"/>
                  </a:lnTo>
                  <a:lnTo>
                    <a:pt x="22761" y="9372"/>
                  </a:lnTo>
                  <a:lnTo>
                    <a:pt x="22761" y="9381"/>
                  </a:lnTo>
                  <a:lnTo>
                    <a:pt x="22770" y="9389"/>
                  </a:lnTo>
                  <a:lnTo>
                    <a:pt x="22761" y="9407"/>
                  </a:lnTo>
                  <a:lnTo>
                    <a:pt x="22761" y="9416"/>
                  </a:lnTo>
                  <a:lnTo>
                    <a:pt x="22770" y="9442"/>
                  </a:lnTo>
                  <a:lnTo>
                    <a:pt x="22770" y="9460"/>
                  </a:lnTo>
                  <a:lnTo>
                    <a:pt x="22761" y="9469"/>
                  </a:lnTo>
                  <a:lnTo>
                    <a:pt x="22752" y="9504"/>
                  </a:lnTo>
                  <a:lnTo>
                    <a:pt x="22752" y="9522"/>
                  </a:lnTo>
                  <a:lnTo>
                    <a:pt x="22752" y="9540"/>
                  </a:lnTo>
                  <a:lnTo>
                    <a:pt x="22752" y="9548"/>
                  </a:lnTo>
                  <a:lnTo>
                    <a:pt x="22743" y="9566"/>
                  </a:lnTo>
                  <a:lnTo>
                    <a:pt x="22734" y="9575"/>
                  </a:lnTo>
                  <a:lnTo>
                    <a:pt x="22717" y="9610"/>
                  </a:lnTo>
                  <a:lnTo>
                    <a:pt x="22717" y="9619"/>
                  </a:lnTo>
                  <a:lnTo>
                    <a:pt x="22708" y="9637"/>
                  </a:lnTo>
                  <a:lnTo>
                    <a:pt x="22699" y="9645"/>
                  </a:lnTo>
                  <a:lnTo>
                    <a:pt x="22681" y="9654"/>
                  </a:lnTo>
                  <a:lnTo>
                    <a:pt x="22664" y="9654"/>
                  </a:lnTo>
                  <a:lnTo>
                    <a:pt x="22655" y="9654"/>
                  </a:lnTo>
                  <a:lnTo>
                    <a:pt x="22646" y="9654"/>
                  </a:lnTo>
                  <a:lnTo>
                    <a:pt x="22637" y="9654"/>
                  </a:lnTo>
                  <a:lnTo>
                    <a:pt x="22628" y="9645"/>
                  </a:lnTo>
                  <a:lnTo>
                    <a:pt x="22611" y="9637"/>
                  </a:lnTo>
                  <a:lnTo>
                    <a:pt x="22593" y="9628"/>
                  </a:lnTo>
                  <a:lnTo>
                    <a:pt x="22584" y="9619"/>
                  </a:lnTo>
                  <a:lnTo>
                    <a:pt x="22584" y="9610"/>
                  </a:lnTo>
                  <a:lnTo>
                    <a:pt x="22575" y="9601"/>
                  </a:lnTo>
                  <a:lnTo>
                    <a:pt x="22558" y="9592"/>
                  </a:lnTo>
                  <a:lnTo>
                    <a:pt x="22549" y="9592"/>
                  </a:lnTo>
                  <a:lnTo>
                    <a:pt x="22540" y="9592"/>
                  </a:lnTo>
                  <a:lnTo>
                    <a:pt x="22523" y="9584"/>
                  </a:lnTo>
                  <a:lnTo>
                    <a:pt x="22505" y="9575"/>
                  </a:lnTo>
                  <a:lnTo>
                    <a:pt x="22496" y="9566"/>
                  </a:lnTo>
                  <a:lnTo>
                    <a:pt x="22478" y="9548"/>
                  </a:lnTo>
                  <a:lnTo>
                    <a:pt x="22470" y="9540"/>
                  </a:lnTo>
                  <a:lnTo>
                    <a:pt x="22452" y="9531"/>
                  </a:lnTo>
                  <a:lnTo>
                    <a:pt x="22443" y="9531"/>
                  </a:lnTo>
                  <a:lnTo>
                    <a:pt x="22434" y="9522"/>
                  </a:lnTo>
                  <a:lnTo>
                    <a:pt x="22425" y="9522"/>
                  </a:lnTo>
                  <a:lnTo>
                    <a:pt x="22408" y="9522"/>
                  </a:lnTo>
                  <a:lnTo>
                    <a:pt x="22408" y="9513"/>
                  </a:lnTo>
                  <a:lnTo>
                    <a:pt x="22408" y="9504"/>
                  </a:lnTo>
                  <a:lnTo>
                    <a:pt x="22399" y="9504"/>
                  </a:lnTo>
                  <a:lnTo>
                    <a:pt x="22390" y="9504"/>
                  </a:lnTo>
                  <a:lnTo>
                    <a:pt x="22373" y="9495"/>
                  </a:lnTo>
                  <a:lnTo>
                    <a:pt x="22373" y="9487"/>
                  </a:lnTo>
                  <a:lnTo>
                    <a:pt x="22355" y="9478"/>
                  </a:lnTo>
                  <a:lnTo>
                    <a:pt x="22346" y="9469"/>
                  </a:lnTo>
                  <a:lnTo>
                    <a:pt x="22320" y="9451"/>
                  </a:lnTo>
                  <a:lnTo>
                    <a:pt x="22311" y="9451"/>
                  </a:lnTo>
                  <a:lnTo>
                    <a:pt x="22311" y="9442"/>
                  </a:lnTo>
                  <a:lnTo>
                    <a:pt x="22311" y="9434"/>
                  </a:lnTo>
                  <a:lnTo>
                    <a:pt x="22320" y="9434"/>
                  </a:lnTo>
                  <a:lnTo>
                    <a:pt x="22320" y="9425"/>
                  </a:lnTo>
                  <a:lnTo>
                    <a:pt x="22337" y="9398"/>
                  </a:lnTo>
                  <a:lnTo>
                    <a:pt x="22346" y="9389"/>
                  </a:lnTo>
                  <a:lnTo>
                    <a:pt x="22355" y="9372"/>
                  </a:lnTo>
                  <a:lnTo>
                    <a:pt x="22355" y="9363"/>
                  </a:lnTo>
                  <a:lnTo>
                    <a:pt x="22346" y="9354"/>
                  </a:lnTo>
                  <a:lnTo>
                    <a:pt x="22346" y="9328"/>
                  </a:lnTo>
                  <a:lnTo>
                    <a:pt x="22364" y="9319"/>
                  </a:lnTo>
                  <a:lnTo>
                    <a:pt x="22373" y="9319"/>
                  </a:lnTo>
                  <a:lnTo>
                    <a:pt x="22381" y="9319"/>
                  </a:lnTo>
                  <a:lnTo>
                    <a:pt x="22381" y="9328"/>
                  </a:lnTo>
                  <a:lnTo>
                    <a:pt x="22390" y="9319"/>
                  </a:lnTo>
                  <a:lnTo>
                    <a:pt x="22399" y="9310"/>
                  </a:lnTo>
                  <a:lnTo>
                    <a:pt x="22399" y="9301"/>
                  </a:lnTo>
                  <a:lnTo>
                    <a:pt x="22390" y="9292"/>
                  </a:lnTo>
                  <a:lnTo>
                    <a:pt x="22425" y="9257"/>
                  </a:lnTo>
                  <a:lnTo>
                    <a:pt x="22417" y="9248"/>
                  </a:lnTo>
                  <a:lnTo>
                    <a:pt x="22408" y="9248"/>
                  </a:lnTo>
                  <a:lnTo>
                    <a:pt x="22399" y="9239"/>
                  </a:lnTo>
                  <a:lnTo>
                    <a:pt x="22390" y="9231"/>
                  </a:lnTo>
                  <a:lnTo>
                    <a:pt x="22373" y="9239"/>
                  </a:lnTo>
                  <a:lnTo>
                    <a:pt x="22373" y="9248"/>
                  </a:lnTo>
                  <a:lnTo>
                    <a:pt x="22381" y="9257"/>
                  </a:lnTo>
                  <a:lnTo>
                    <a:pt x="22373" y="9266"/>
                  </a:lnTo>
                  <a:lnTo>
                    <a:pt x="22364" y="9266"/>
                  </a:lnTo>
                  <a:lnTo>
                    <a:pt x="22355" y="9257"/>
                  </a:lnTo>
                  <a:lnTo>
                    <a:pt x="22355" y="9248"/>
                  </a:lnTo>
                  <a:lnTo>
                    <a:pt x="22346" y="9239"/>
                  </a:lnTo>
                  <a:lnTo>
                    <a:pt x="22346" y="9248"/>
                  </a:lnTo>
                  <a:lnTo>
                    <a:pt x="22337" y="9248"/>
                  </a:lnTo>
                  <a:lnTo>
                    <a:pt x="22328" y="9248"/>
                  </a:lnTo>
                  <a:lnTo>
                    <a:pt x="22328" y="9239"/>
                  </a:lnTo>
                  <a:lnTo>
                    <a:pt x="22337" y="9239"/>
                  </a:lnTo>
                  <a:lnTo>
                    <a:pt x="22346" y="9231"/>
                  </a:lnTo>
                  <a:lnTo>
                    <a:pt x="22346" y="9222"/>
                  </a:lnTo>
                  <a:lnTo>
                    <a:pt x="22337" y="9222"/>
                  </a:lnTo>
                  <a:lnTo>
                    <a:pt x="22328" y="9231"/>
                  </a:lnTo>
                  <a:lnTo>
                    <a:pt x="22320" y="9239"/>
                  </a:lnTo>
                  <a:lnTo>
                    <a:pt x="22311" y="9239"/>
                  </a:lnTo>
                  <a:lnTo>
                    <a:pt x="22293" y="9248"/>
                  </a:lnTo>
                  <a:lnTo>
                    <a:pt x="22284" y="9248"/>
                  </a:lnTo>
                  <a:lnTo>
                    <a:pt x="22267" y="9239"/>
                  </a:lnTo>
                  <a:lnTo>
                    <a:pt x="22258" y="9231"/>
                  </a:lnTo>
                  <a:lnTo>
                    <a:pt x="22249" y="9239"/>
                  </a:lnTo>
                  <a:lnTo>
                    <a:pt x="22240" y="9239"/>
                  </a:lnTo>
                  <a:lnTo>
                    <a:pt x="22231" y="9231"/>
                  </a:lnTo>
                  <a:lnTo>
                    <a:pt x="22223" y="9231"/>
                  </a:lnTo>
                  <a:lnTo>
                    <a:pt x="22214" y="9231"/>
                  </a:lnTo>
                  <a:lnTo>
                    <a:pt x="22196" y="9222"/>
                  </a:lnTo>
                  <a:lnTo>
                    <a:pt x="22178" y="9222"/>
                  </a:lnTo>
                  <a:lnTo>
                    <a:pt x="22170" y="9222"/>
                  </a:lnTo>
                  <a:lnTo>
                    <a:pt x="22170" y="9213"/>
                  </a:lnTo>
                  <a:lnTo>
                    <a:pt x="22161" y="9213"/>
                  </a:lnTo>
                  <a:lnTo>
                    <a:pt x="22143" y="9213"/>
                  </a:lnTo>
                  <a:lnTo>
                    <a:pt x="22143" y="9204"/>
                  </a:lnTo>
                  <a:lnTo>
                    <a:pt x="22134" y="9195"/>
                  </a:lnTo>
                  <a:lnTo>
                    <a:pt x="22134" y="9187"/>
                  </a:lnTo>
                  <a:lnTo>
                    <a:pt x="22126" y="9187"/>
                  </a:lnTo>
                  <a:lnTo>
                    <a:pt x="22117" y="9195"/>
                  </a:lnTo>
                  <a:lnTo>
                    <a:pt x="22108" y="9195"/>
                  </a:lnTo>
                  <a:lnTo>
                    <a:pt x="22099" y="9187"/>
                  </a:lnTo>
                  <a:lnTo>
                    <a:pt x="22081" y="9178"/>
                  </a:lnTo>
                  <a:lnTo>
                    <a:pt x="22081" y="9169"/>
                  </a:lnTo>
                  <a:lnTo>
                    <a:pt x="22073" y="9178"/>
                  </a:lnTo>
                  <a:lnTo>
                    <a:pt x="22064" y="9178"/>
                  </a:lnTo>
                  <a:lnTo>
                    <a:pt x="22064" y="9169"/>
                  </a:lnTo>
                  <a:lnTo>
                    <a:pt x="22055" y="9169"/>
                  </a:lnTo>
                  <a:lnTo>
                    <a:pt x="22046" y="9178"/>
                  </a:lnTo>
                  <a:lnTo>
                    <a:pt x="22055" y="9187"/>
                  </a:lnTo>
                  <a:lnTo>
                    <a:pt x="22064" y="9195"/>
                  </a:lnTo>
                  <a:lnTo>
                    <a:pt x="22073" y="9195"/>
                  </a:lnTo>
                  <a:lnTo>
                    <a:pt x="22081" y="9195"/>
                  </a:lnTo>
                  <a:lnTo>
                    <a:pt x="22099" y="9195"/>
                  </a:lnTo>
                  <a:lnTo>
                    <a:pt x="22108" y="9204"/>
                  </a:lnTo>
                  <a:lnTo>
                    <a:pt x="22108" y="9213"/>
                  </a:lnTo>
                  <a:lnTo>
                    <a:pt x="22108" y="9222"/>
                  </a:lnTo>
                  <a:lnTo>
                    <a:pt x="22108" y="9231"/>
                  </a:lnTo>
                  <a:lnTo>
                    <a:pt x="22117" y="9239"/>
                  </a:lnTo>
                  <a:lnTo>
                    <a:pt x="22108" y="9239"/>
                  </a:lnTo>
                  <a:lnTo>
                    <a:pt x="22099" y="9239"/>
                  </a:lnTo>
                  <a:lnTo>
                    <a:pt x="22090" y="9248"/>
                  </a:lnTo>
                  <a:lnTo>
                    <a:pt x="22090" y="9257"/>
                  </a:lnTo>
                  <a:lnTo>
                    <a:pt x="22090" y="9248"/>
                  </a:lnTo>
                  <a:lnTo>
                    <a:pt x="22081" y="9248"/>
                  </a:lnTo>
                  <a:lnTo>
                    <a:pt x="22073" y="9248"/>
                  </a:lnTo>
                  <a:lnTo>
                    <a:pt x="22064" y="9257"/>
                  </a:lnTo>
                  <a:lnTo>
                    <a:pt x="22055" y="9248"/>
                  </a:lnTo>
                  <a:lnTo>
                    <a:pt x="22037" y="9248"/>
                  </a:lnTo>
                  <a:lnTo>
                    <a:pt x="22020" y="9248"/>
                  </a:lnTo>
                  <a:lnTo>
                    <a:pt x="22011" y="9248"/>
                  </a:lnTo>
                  <a:lnTo>
                    <a:pt x="22011" y="9239"/>
                  </a:lnTo>
                  <a:lnTo>
                    <a:pt x="22002" y="9239"/>
                  </a:lnTo>
                  <a:lnTo>
                    <a:pt x="22002" y="9248"/>
                  </a:lnTo>
                  <a:lnTo>
                    <a:pt x="21993" y="9248"/>
                  </a:lnTo>
                  <a:lnTo>
                    <a:pt x="21984" y="9248"/>
                  </a:lnTo>
                  <a:lnTo>
                    <a:pt x="21993" y="9248"/>
                  </a:lnTo>
                  <a:lnTo>
                    <a:pt x="21984" y="9257"/>
                  </a:lnTo>
                  <a:lnTo>
                    <a:pt x="21976" y="9257"/>
                  </a:lnTo>
                  <a:lnTo>
                    <a:pt x="21976" y="9266"/>
                  </a:lnTo>
                  <a:lnTo>
                    <a:pt x="21976" y="9275"/>
                  </a:lnTo>
                  <a:lnTo>
                    <a:pt x="21967" y="9266"/>
                  </a:lnTo>
                  <a:lnTo>
                    <a:pt x="21958" y="9266"/>
                  </a:lnTo>
                  <a:lnTo>
                    <a:pt x="21958" y="9284"/>
                  </a:lnTo>
                  <a:lnTo>
                    <a:pt x="21949" y="9284"/>
                  </a:lnTo>
                  <a:lnTo>
                    <a:pt x="21940" y="9284"/>
                  </a:lnTo>
                  <a:lnTo>
                    <a:pt x="21940" y="9301"/>
                  </a:lnTo>
                  <a:lnTo>
                    <a:pt x="21923" y="9301"/>
                  </a:lnTo>
                  <a:lnTo>
                    <a:pt x="21923" y="9310"/>
                  </a:lnTo>
                  <a:lnTo>
                    <a:pt x="21923" y="9319"/>
                  </a:lnTo>
                  <a:lnTo>
                    <a:pt x="21931" y="9328"/>
                  </a:lnTo>
                  <a:lnTo>
                    <a:pt x="21931" y="9337"/>
                  </a:lnTo>
                  <a:lnTo>
                    <a:pt x="21923" y="9337"/>
                  </a:lnTo>
                  <a:lnTo>
                    <a:pt x="21923" y="9345"/>
                  </a:lnTo>
                  <a:lnTo>
                    <a:pt x="21905" y="9345"/>
                  </a:lnTo>
                  <a:lnTo>
                    <a:pt x="21896" y="9354"/>
                  </a:lnTo>
                  <a:lnTo>
                    <a:pt x="21896" y="9363"/>
                  </a:lnTo>
                  <a:lnTo>
                    <a:pt x="21896" y="9372"/>
                  </a:lnTo>
                  <a:lnTo>
                    <a:pt x="21887" y="9381"/>
                  </a:lnTo>
                  <a:lnTo>
                    <a:pt x="21870" y="9398"/>
                  </a:lnTo>
                  <a:lnTo>
                    <a:pt x="21870" y="9407"/>
                  </a:lnTo>
                  <a:lnTo>
                    <a:pt x="21878" y="9416"/>
                  </a:lnTo>
                  <a:lnTo>
                    <a:pt x="21887" y="9425"/>
                  </a:lnTo>
                  <a:lnTo>
                    <a:pt x="21887" y="9434"/>
                  </a:lnTo>
                  <a:lnTo>
                    <a:pt x="21896" y="9442"/>
                  </a:lnTo>
                  <a:lnTo>
                    <a:pt x="21905" y="9442"/>
                  </a:lnTo>
                  <a:lnTo>
                    <a:pt x="21896" y="9442"/>
                  </a:lnTo>
                  <a:lnTo>
                    <a:pt x="21887" y="9442"/>
                  </a:lnTo>
                  <a:lnTo>
                    <a:pt x="21887" y="9451"/>
                  </a:lnTo>
                  <a:lnTo>
                    <a:pt x="21887" y="9460"/>
                  </a:lnTo>
                  <a:lnTo>
                    <a:pt x="21887" y="9469"/>
                  </a:lnTo>
                  <a:lnTo>
                    <a:pt x="21878" y="9460"/>
                  </a:lnTo>
                  <a:lnTo>
                    <a:pt x="21870" y="9451"/>
                  </a:lnTo>
                  <a:lnTo>
                    <a:pt x="21861" y="9442"/>
                  </a:lnTo>
                  <a:lnTo>
                    <a:pt x="21861" y="9451"/>
                  </a:lnTo>
                  <a:lnTo>
                    <a:pt x="21861" y="9460"/>
                  </a:lnTo>
                  <a:lnTo>
                    <a:pt x="21852" y="9469"/>
                  </a:lnTo>
                  <a:lnTo>
                    <a:pt x="21852" y="9460"/>
                  </a:lnTo>
                  <a:lnTo>
                    <a:pt x="21852" y="9451"/>
                  </a:lnTo>
                  <a:lnTo>
                    <a:pt x="21843" y="9442"/>
                  </a:lnTo>
                  <a:lnTo>
                    <a:pt x="21817" y="9442"/>
                  </a:lnTo>
                  <a:lnTo>
                    <a:pt x="21808" y="9442"/>
                  </a:lnTo>
                  <a:lnTo>
                    <a:pt x="21799" y="9442"/>
                  </a:lnTo>
                  <a:lnTo>
                    <a:pt x="21790" y="9451"/>
                  </a:lnTo>
                  <a:lnTo>
                    <a:pt x="21781" y="9451"/>
                  </a:lnTo>
                  <a:lnTo>
                    <a:pt x="21781" y="9460"/>
                  </a:lnTo>
                  <a:lnTo>
                    <a:pt x="21781" y="9469"/>
                  </a:lnTo>
                  <a:lnTo>
                    <a:pt x="21781" y="9478"/>
                  </a:lnTo>
                  <a:lnTo>
                    <a:pt x="21781" y="9469"/>
                  </a:lnTo>
                  <a:lnTo>
                    <a:pt x="21773" y="9478"/>
                  </a:lnTo>
                  <a:lnTo>
                    <a:pt x="21773" y="9460"/>
                  </a:lnTo>
                  <a:lnTo>
                    <a:pt x="21773" y="9451"/>
                  </a:lnTo>
                  <a:lnTo>
                    <a:pt x="21781" y="9442"/>
                  </a:lnTo>
                  <a:lnTo>
                    <a:pt x="21781" y="9434"/>
                  </a:lnTo>
                  <a:lnTo>
                    <a:pt x="21755" y="9416"/>
                  </a:lnTo>
                  <a:lnTo>
                    <a:pt x="21746" y="9407"/>
                  </a:lnTo>
                  <a:lnTo>
                    <a:pt x="21746" y="9398"/>
                  </a:lnTo>
                  <a:lnTo>
                    <a:pt x="21728" y="9389"/>
                  </a:lnTo>
                  <a:lnTo>
                    <a:pt x="21728" y="9381"/>
                  </a:lnTo>
                  <a:lnTo>
                    <a:pt x="21711" y="9372"/>
                  </a:lnTo>
                  <a:lnTo>
                    <a:pt x="21702" y="9372"/>
                  </a:lnTo>
                  <a:lnTo>
                    <a:pt x="21693" y="9363"/>
                  </a:lnTo>
                  <a:lnTo>
                    <a:pt x="21684" y="9363"/>
                  </a:lnTo>
                  <a:lnTo>
                    <a:pt x="21676" y="9363"/>
                  </a:lnTo>
                  <a:lnTo>
                    <a:pt x="21676" y="9372"/>
                  </a:lnTo>
                  <a:lnTo>
                    <a:pt x="21676" y="9381"/>
                  </a:lnTo>
                  <a:lnTo>
                    <a:pt x="21667" y="9389"/>
                  </a:lnTo>
                  <a:lnTo>
                    <a:pt x="21658" y="9389"/>
                  </a:lnTo>
                  <a:lnTo>
                    <a:pt x="21649" y="9381"/>
                  </a:lnTo>
                  <a:lnTo>
                    <a:pt x="21640" y="9389"/>
                  </a:lnTo>
                  <a:lnTo>
                    <a:pt x="21631" y="9389"/>
                  </a:lnTo>
                  <a:lnTo>
                    <a:pt x="21631" y="9381"/>
                  </a:lnTo>
                  <a:lnTo>
                    <a:pt x="21623" y="9381"/>
                  </a:lnTo>
                  <a:lnTo>
                    <a:pt x="21623" y="9389"/>
                  </a:lnTo>
                  <a:lnTo>
                    <a:pt x="21631" y="9389"/>
                  </a:lnTo>
                  <a:lnTo>
                    <a:pt x="21623" y="9398"/>
                  </a:lnTo>
                  <a:lnTo>
                    <a:pt x="21623" y="9407"/>
                  </a:lnTo>
                  <a:lnTo>
                    <a:pt x="21623" y="9416"/>
                  </a:lnTo>
                  <a:lnTo>
                    <a:pt x="21614" y="9416"/>
                  </a:lnTo>
                  <a:lnTo>
                    <a:pt x="21614" y="9425"/>
                  </a:lnTo>
                  <a:lnTo>
                    <a:pt x="21605" y="9425"/>
                  </a:lnTo>
                  <a:lnTo>
                    <a:pt x="21605" y="9416"/>
                  </a:lnTo>
                  <a:lnTo>
                    <a:pt x="21596" y="9416"/>
                  </a:lnTo>
                  <a:lnTo>
                    <a:pt x="21596" y="9407"/>
                  </a:lnTo>
                  <a:lnTo>
                    <a:pt x="21596" y="9398"/>
                  </a:lnTo>
                  <a:lnTo>
                    <a:pt x="21587" y="9398"/>
                  </a:lnTo>
                  <a:lnTo>
                    <a:pt x="21587" y="9407"/>
                  </a:lnTo>
                  <a:lnTo>
                    <a:pt x="21587" y="9416"/>
                  </a:lnTo>
                  <a:lnTo>
                    <a:pt x="21579" y="9416"/>
                  </a:lnTo>
                  <a:lnTo>
                    <a:pt x="21579" y="9425"/>
                  </a:lnTo>
                  <a:lnTo>
                    <a:pt x="21570" y="9425"/>
                  </a:lnTo>
                  <a:lnTo>
                    <a:pt x="21561" y="9425"/>
                  </a:lnTo>
                  <a:lnTo>
                    <a:pt x="21561" y="9434"/>
                  </a:lnTo>
                  <a:lnTo>
                    <a:pt x="21561" y="9442"/>
                  </a:lnTo>
                  <a:lnTo>
                    <a:pt x="21561" y="9451"/>
                  </a:lnTo>
                  <a:lnTo>
                    <a:pt x="21570" y="9460"/>
                  </a:lnTo>
                  <a:lnTo>
                    <a:pt x="21561" y="9460"/>
                  </a:lnTo>
                  <a:lnTo>
                    <a:pt x="21552" y="9460"/>
                  </a:lnTo>
                  <a:lnTo>
                    <a:pt x="21552" y="9451"/>
                  </a:lnTo>
                  <a:lnTo>
                    <a:pt x="21543" y="9460"/>
                  </a:lnTo>
                  <a:lnTo>
                    <a:pt x="21534" y="9469"/>
                  </a:lnTo>
                  <a:lnTo>
                    <a:pt x="21534" y="9478"/>
                  </a:lnTo>
                  <a:lnTo>
                    <a:pt x="21543" y="9478"/>
                  </a:lnTo>
                  <a:lnTo>
                    <a:pt x="21552" y="9478"/>
                  </a:lnTo>
                  <a:lnTo>
                    <a:pt x="21552" y="9487"/>
                  </a:lnTo>
                  <a:lnTo>
                    <a:pt x="21543" y="9487"/>
                  </a:lnTo>
                  <a:lnTo>
                    <a:pt x="21526" y="9478"/>
                  </a:lnTo>
                  <a:lnTo>
                    <a:pt x="21517" y="9487"/>
                  </a:lnTo>
                  <a:lnTo>
                    <a:pt x="21517" y="9495"/>
                  </a:lnTo>
                  <a:lnTo>
                    <a:pt x="21508" y="9487"/>
                  </a:lnTo>
                  <a:lnTo>
                    <a:pt x="21508" y="9495"/>
                  </a:lnTo>
                  <a:lnTo>
                    <a:pt x="21499" y="9504"/>
                  </a:lnTo>
                  <a:lnTo>
                    <a:pt x="21499" y="9513"/>
                  </a:lnTo>
                  <a:lnTo>
                    <a:pt x="21508" y="9522"/>
                  </a:lnTo>
                  <a:lnTo>
                    <a:pt x="21508" y="9531"/>
                  </a:lnTo>
                  <a:lnTo>
                    <a:pt x="21517" y="9513"/>
                  </a:lnTo>
                  <a:lnTo>
                    <a:pt x="21517" y="9522"/>
                  </a:lnTo>
                  <a:lnTo>
                    <a:pt x="21517" y="9531"/>
                  </a:lnTo>
                  <a:lnTo>
                    <a:pt x="21517" y="9540"/>
                  </a:lnTo>
                  <a:lnTo>
                    <a:pt x="21508" y="9540"/>
                  </a:lnTo>
                  <a:lnTo>
                    <a:pt x="21499" y="9540"/>
                  </a:lnTo>
                  <a:lnTo>
                    <a:pt x="21499" y="9548"/>
                  </a:lnTo>
                  <a:lnTo>
                    <a:pt x="21508" y="9557"/>
                  </a:lnTo>
                  <a:lnTo>
                    <a:pt x="21517" y="9557"/>
                  </a:lnTo>
                  <a:lnTo>
                    <a:pt x="21526" y="9557"/>
                  </a:lnTo>
                  <a:lnTo>
                    <a:pt x="21508" y="9557"/>
                  </a:lnTo>
                  <a:lnTo>
                    <a:pt x="21490" y="9557"/>
                  </a:lnTo>
                  <a:lnTo>
                    <a:pt x="21481" y="9557"/>
                  </a:lnTo>
                  <a:lnTo>
                    <a:pt x="21481" y="9548"/>
                  </a:lnTo>
                  <a:lnTo>
                    <a:pt x="21473" y="9548"/>
                  </a:lnTo>
                  <a:lnTo>
                    <a:pt x="21464" y="9557"/>
                  </a:lnTo>
                  <a:lnTo>
                    <a:pt x="21455" y="9548"/>
                  </a:lnTo>
                  <a:lnTo>
                    <a:pt x="21446" y="9540"/>
                  </a:lnTo>
                  <a:lnTo>
                    <a:pt x="21446" y="9548"/>
                  </a:lnTo>
                  <a:lnTo>
                    <a:pt x="21446" y="9557"/>
                  </a:lnTo>
                  <a:lnTo>
                    <a:pt x="21437" y="9566"/>
                  </a:lnTo>
                  <a:lnTo>
                    <a:pt x="21437" y="9575"/>
                  </a:lnTo>
                  <a:lnTo>
                    <a:pt x="21446" y="9584"/>
                  </a:lnTo>
                  <a:lnTo>
                    <a:pt x="21455" y="9592"/>
                  </a:lnTo>
                  <a:lnTo>
                    <a:pt x="21464" y="9592"/>
                  </a:lnTo>
                  <a:lnTo>
                    <a:pt x="21464" y="9601"/>
                  </a:lnTo>
                  <a:lnTo>
                    <a:pt x="21464" y="9610"/>
                  </a:lnTo>
                  <a:lnTo>
                    <a:pt x="21455" y="9619"/>
                  </a:lnTo>
                  <a:lnTo>
                    <a:pt x="21455" y="9610"/>
                  </a:lnTo>
                  <a:lnTo>
                    <a:pt x="21446" y="9610"/>
                  </a:lnTo>
                  <a:lnTo>
                    <a:pt x="21437" y="9610"/>
                  </a:lnTo>
                  <a:lnTo>
                    <a:pt x="21446" y="9619"/>
                  </a:lnTo>
                  <a:lnTo>
                    <a:pt x="21437" y="9637"/>
                  </a:lnTo>
                  <a:lnTo>
                    <a:pt x="21437" y="9645"/>
                  </a:lnTo>
                  <a:lnTo>
                    <a:pt x="21437" y="9637"/>
                  </a:lnTo>
                  <a:lnTo>
                    <a:pt x="21429" y="9628"/>
                  </a:lnTo>
                  <a:lnTo>
                    <a:pt x="21420" y="9610"/>
                  </a:lnTo>
                  <a:lnTo>
                    <a:pt x="21411" y="9592"/>
                  </a:lnTo>
                  <a:lnTo>
                    <a:pt x="21402" y="9584"/>
                  </a:lnTo>
                  <a:lnTo>
                    <a:pt x="21393" y="9566"/>
                  </a:lnTo>
                  <a:lnTo>
                    <a:pt x="21384" y="9575"/>
                  </a:lnTo>
                  <a:lnTo>
                    <a:pt x="21384" y="9584"/>
                  </a:lnTo>
                  <a:lnTo>
                    <a:pt x="21376" y="9592"/>
                  </a:lnTo>
                  <a:lnTo>
                    <a:pt x="21367" y="9592"/>
                  </a:lnTo>
                  <a:lnTo>
                    <a:pt x="21367" y="9601"/>
                  </a:lnTo>
                  <a:lnTo>
                    <a:pt x="21358" y="9601"/>
                  </a:lnTo>
                  <a:lnTo>
                    <a:pt x="21349" y="9610"/>
                  </a:lnTo>
                  <a:lnTo>
                    <a:pt x="21340" y="9619"/>
                  </a:lnTo>
                  <a:lnTo>
                    <a:pt x="21340" y="9628"/>
                  </a:lnTo>
                  <a:lnTo>
                    <a:pt x="21331" y="9637"/>
                  </a:lnTo>
                  <a:lnTo>
                    <a:pt x="21331" y="9645"/>
                  </a:lnTo>
                  <a:lnTo>
                    <a:pt x="21340" y="9663"/>
                  </a:lnTo>
                  <a:lnTo>
                    <a:pt x="21340" y="9681"/>
                  </a:lnTo>
                  <a:lnTo>
                    <a:pt x="21349" y="9681"/>
                  </a:lnTo>
                  <a:lnTo>
                    <a:pt x="21349" y="9690"/>
                  </a:lnTo>
                  <a:lnTo>
                    <a:pt x="21340" y="9690"/>
                  </a:lnTo>
                  <a:lnTo>
                    <a:pt x="21323" y="9707"/>
                  </a:lnTo>
                  <a:lnTo>
                    <a:pt x="21314" y="9716"/>
                  </a:lnTo>
                  <a:lnTo>
                    <a:pt x="21305" y="9725"/>
                  </a:lnTo>
                  <a:lnTo>
                    <a:pt x="21305" y="9734"/>
                  </a:lnTo>
                  <a:lnTo>
                    <a:pt x="21296" y="9743"/>
                  </a:lnTo>
                  <a:lnTo>
                    <a:pt x="21296" y="9751"/>
                  </a:lnTo>
                  <a:lnTo>
                    <a:pt x="21287" y="9760"/>
                  </a:lnTo>
                  <a:lnTo>
                    <a:pt x="21279" y="9778"/>
                  </a:lnTo>
                  <a:lnTo>
                    <a:pt x="21261" y="9795"/>
                  </a:lnTo>
                  <a:lnTo>
                    <a:pt x="21252" y="9804"/>
                  </a:lnTo>
                  <a:lnTo>
                    <a:pt x="21243" y="9804"/>
                  </a:lnTo>
                  <a:lnTo>
                    <a:pt x="21208" y="9822"/>
                  </a:lnTo>
                  <a:lnTo>
                    <a:pt x="21190" y="9822"/>
                  </a:lnTo>
                  <a:lnTo>
                    <a:pt x="21164" y="9831"/>
                  </a:lnTo>
                  <a:lnTo>
                    <a:pt x="21146" y="9831"/>
                  </a:lnTo>
                  <a:lnTo>
                    <a:pt x="21129" y="9831"/>
                  </a:lnTo>
                  <a:lnTo>
                    <a:pt x="21111" y="9831"/>
                  </a:lnTo>
                  <a:lnTo>
                    <a:pt x="21084" y="9848"/>
                  </a:lnTo>
                  <a:lnTo>
                    <a:pt x="21067" y="9857"/>
                  </a:lnTo>
                  <a:lnTo>
                    <a:pt x="21049" y="9857"/>
                  </a:lnTo>
                  <a:lnTo>
                    <a:pt x="21040" y="9866"/>
                  </a:lnTo>
                  <a:lnTo>
                    <a:pt x="21023" y="9875"/>
                  </a:lnTo>
                  <a:lnTo>
                    <a:pt x="21005" y="9884"/>
                  </a:lnTo>
                  <a:lnTo>
                    <a:pt x="20987" y="9884"/>
                  </a:lnTo>
                  <a:lnTo>
                    <a:pt x="20979" y="9884"/>
                  </a:lnTo>
                  <a:lnTo>
                    <a:pt x="20970" y="9884"/>
                  </a:lnTo>
                  <a:lnTo>
                    <a:pt x="20961" y="9884"/>
                  </a:lnTo>
                  <a:lnTo>
                    <a:pt x="20943" y="9884"/>
                  </a:lnTo>
                  <a:lnTo>
                    <a:pt x="20934" y="9884"/>
                  </a:lnTo>
                  <a:lnTo>
                    <a:pt x="20926" y="9884"/>
                  </a:lnTo>
                  <a:lnTo>
                    <a:pt x="20882" y="9910"/>
                  </a:lnTo>
                  <a:lnTo>
                    <a:pt x="20873" y="9919"/>
                  </a:lnTo>
                  <a:lnTo>
                    <a:pt x="20864" y="9928"/>
                  </a:lnTo>
                  <a:lnTo>
                    <a:pt x="20855" y="9937"/>
                  </a:lnTo>
                  <a:lnTo>
                    <a:pt x="20846" y="9946"/>
                  </a:lnTo>
                  <a:lnTo>
                    <a:pt x="20820" y="9954"/>
                  </a:lnTo>
                  <a:lnTo>
                    <a:pt x="20802" y="9963"/>
                  </a:lnTo>
                  <a:lnTo>
                    <a:pt x="20793" y="9972"/>
                  </a:lnTo>
                  <a:lnTo>
                    <a:pt x="20785" y="9981"/>
                  </a:lnTo>
                  <a:lnTo>
                    <a:pt x="20767" y="10007"/>
                  </a:lnTo>
                  <a:lnTo>
                    <a:pt x="20758" y="10016"/>
                  </a:lnTo>
                  <a:lnTo>
                    <a:pt x="20749" y="10016"/>
                  </a:lnTo>
                  <a:lnTo>
                    <a:pt x="20749" y="10025"/>
                  </a:lnTo>
                  <a:lnTo>
                    <a:pt x="20749" y="10007"/>
                  </a:lnTo>
                  <a:lnTo>
                    <a:pt x="20740" y="9998"/>
                  </a:lnTo>
                  <a:lnTo>
                    <a:pt x="20749" y="9981"/>
                  </a:lnTo>
                  <a:lnTo>
                    <a:pt x="20749" y="9972"/>
                  </a:lnTo>
                  <a:lnTo>
                    <a:pt x="20740" y="9972"/>
                  </a:lnTo>
                  <a:lnTo>
                    <a:pt x="20732" y="9981"/>
                  </a:lnTo>
                  <a:lnTo>
                    <a:pt x="20723" y="10007"/>
                  </a:lnTo>
                  <a:lnTo>
                    <a:pt x="20714" y="10034"/>
                  </a:lnTo>
                  <a:lnTo>
                    <a:pt x="20723" y="10051"/>
                  </a:lnTo>
                  <a:lnTo>
                    <a:pt x="20723" y="10060"/>
                  </a:lnTo>
                  <a:lnTo>
                    <a:pt x="20723" y="10078"/>
                  </a:lnTo>
                  <a:lnTo>
                    <a:pt x="20723" y="10087"/>
                  </a:lnTo>
                  <a:lnTo>
                    <a:pt x="20723" y="10096"/>
                  </a:lnTo>
                  <a:lnTo>
                    <a:pt x="20705" y="10122"/>
                  </a:lnTo>
                  <a:lnTo>
                    <a:pt x="20696" y="10131"/>
                  </a:lnTo>
                  <a:lnTo>
                    <a:pt x="20696" y="10148"/>
                  </a:lnTo>
                  <a:lnTo>
                    <a:pt x="20696" y="10157"/>
                  </a:lnTo>
                  <a:lnTo>
                    <a:pt x="20696" y="10175"/>
                  </a:lnTo>
                  <a:lnTo>
                    <a:pt x="20696" y="10184"/>
                  </a:lnTo>
                  <a:lnTo>
                    <a:pt x="20705" y="10193"/>
                  </a:lnTo>
                  <a:lnTo>
                    <a:pt x="20714" y="10219"/>
                  </a:lnTo>
                  <a:lnTo>
                    <a:pt x="20723" y="10228"/>
                  </a:lnTo>
                  <a:lnTo>
                    <a:pt x="20740" y="10263"/>
                  </a:lnTo>
                  <a:lnTo>
                    <a:pt x="20749" y="10281"/>
                  </a:lnTo>
                  <a:lnTo>
                    <a:pt x="20758" y="10290"/>
                  </a:lnTo>
                  <a:lnTo>
                    <a:pt x="20749" y="10307"/>
                  </a:lnTo>
                  <a:lnTo>
                    <a:pt x="20749" y="10316"/>
                  </a:lnTo>
                  <a:lnTo>
                    <a:pt x="20749" y="10325"/>
                  </a:lnTo>
                  <a:lnTo>
                    <a:pt x="20740" y="10325"/>
                  </a:lnTo>
                  <a:lnTo>
                    <a:pt x="20740" y="10316"/>
                  </a:lnTo>
                  <a:lnTo>
                    <a:pt x="20732" y="10316"/>
                  </a:lnTo>
                  <a:lnTo>
                    <a:pt x="20732" y="10299"/>
                  </a:lnTo>
                  <a:lnTo>
                    <a:pt x="20723" y="10299"/>
                  </a:lnTo>
                  <a:lnTo>
                    <a:pt x="20723" y="10307"/>
                  </a:lnTo>
                  <a:lnTo>
                    <a:pt x="20714" y="10307"/>
                  </a:lnTo>
                  <a:lnTo>
                    <a:pt x="20714" y="10299"/>
                  </a:lnTo>
                  <a:lnTo>
                    <a:pt x="20714" y="10281"/>
                  </a:lnTo>
                  <a:lnTo>
                    <a:pt x="20705" y="10272"/>
                  </a:lnTo>
                  <a:lnTo>
                    <a:pt x="20705" y="10263"/>
                  </a:lnTo>
                  <a:lnTo>
                    <a:pt x="20696" y="10263"/>
                  </a:lnTo>
                  <a:lnTo>
                    <a:pt x="20696" y="10272"/>
                  </a:lnTo>
                  <a:lnTo>
                    <a:pt x="20705" y="10290"/>
                  </a:lnTo>
                  <a:lnTo>
                    <a:pt x="20705" y="10299"/>
                  </a:lnTo>
                  <a:lnTo>
                    <a:pt x="20714" y="10316"/>
                  </a:lnTo>
                  <a:lnTo>
                    <a:pt x="20723" y="10316"/>
                  </a:lnTo>
                  <a:lnTo>
                    <a:pt x="20723" y="10325"/>
                  </a:lnTo>
                  <a:lnTo>
                    <a:pt x="20723" y="10334"/>
                  </a:lnTo>
                  <a:lnTo>
                    <a:pt x="20723" y="10343"/>
                  </a:lnTo>
                  <a:lnTo>
                    <a:pt x="20714" y="10343"/>
                  </a:lnTo>
                  <a:lnTo>
                    <a:pt x="20705" y="10343"/>
                  </a:lnTo>
                  <a:lnTo>
                    <a:pt x="20705" y="10325"/>
                  </a:lnTo>
                  <a:lnTo>
                    <a:pt x="20696" y="10307"/>
                  </a:lnTo>
                  <a:lnTo>
                    <a:pt x="20687" y="10299"/>
                  </a:lnTo>
                  <a:lnTo>
                    <a:pt x="20687" y="10307"/>
                  </a:lnTo>
                  <a:lnTo>
                    <a:pt x="20687" y="10316"/>
                  </a:lnTo>
                  <a:lnTo>
                    <a:pt x="20679" y="10307"/>
                  </a:lnTo>
                  <a:lnTo>
                    <a:pt x="20679" y="10316"/>
                  </a:lnTo>
                  <a:lnTo>
                    <a:pt x="20687" y="10325"/>
                  </a:lnTo>
                  <a:lnTo>
                    <a:pt x="20714" y="10360"/>
                  </a:lnTo>
                  <a:lnTo>
                    <a:pt x="20740" y="10404"/>
                  </a:lnTo>
                  <a:lnTo>
                    <a:pt x="20740" y="10413"/>
                  </a:lnTo>
                  <a:lnTo>
                    <a:pt x="20749" y="10449"/>
                  </a:lnTo>
                  <a:lnTo>
                    <a:pt x="20749" y="10457"/>
                  </a:lnTo>
                  <a:lnTo>
                    <a:pt x="20767" y="10475"/>
                  </a:lnTo>
                  <a:lnTo>
                    <a:pt x="20776" y="10493"/>
                  </a:lnTo>
                  <a:lnTo>
                    <a:pt x="20785" y="10502"/>
                  </a:lnTo>
                  <a:lnTo>
                    <a:pt x="20785" y="10510"/>
                  </a:lnTo>
                  <a:lnTo>
                    <a:pt x="20785" y="10519"/>
                  </a:lnTo>
                  <a:lnTo>
                    <a:pt x="20802" y="10546"/>
                  </a:lnTo>
                  <a:lnTo>
                    <a:pt x="20811" y="10563"/>
                  </a:lnTo>
                  <a:lnTo>
                    <a:pt x="20811" y="10572"/>
                  </a:lnTo>
                  <a:lnTo>
                    <a:pt x="20802" y="10590"/>
                  </a:lnTo>
                  <a:lnTo>
                    <a:pt x="20811" y="10616"/>
                  </a:lnTo>
                  <a:lnTo>
                    <a:pt x="20811" y="10625"/>
                  </a:lnTo>
                  <a:lnTo>
                    <a:pt x="20820" y="10660"/>
                  </a:lnTo>
                  <a:lnTo>
                    <a:pt x="20820" y="10678"/>
                  </a:lnTo>
                  <a:lnTo>
                    <a:pt x="20829" y="10687"/>
                  </a:lnTo>
                  <a:lnTo>
                    <a:pt x="20846" y="10713"/>
                  </a:lnTo>
                  <a:lnTo>
                    <a:pt x="20864" y="10749"/>
                  </a:lnTo>
                  <a:lnTo>
                    <a:pt x="20864" y="10766"/>
                  </a:lnTo>
                  <a:lnTo>
                    <a:pt x="20864" y="10802"/>
                  </a:lnTo>
                  <a:lnTo>
                    <a:pt x="20864" y="10819"/>
                  </a:lnTo>
                  <a:lnTo>
                    <a:pt x="20855" y="10819"/>
                  </a:lnTo>
                  <a:lnTo>
                    <a:pt x="20855" y="10828"/>
                  </a:lnTo>
                  <a:lnTo>
                    <a:pt x="20864" y="10855"/>
                  </a:lnTo>
                  <a:lnTo>
                    <a:pt x="20864" y="10872"/>
                  </a:lnTo>
                  <a:lnTo>
                    <a:pt x="20855" y="10881"/>
                  </a:lnTo>
                  <a:lnTo>
                    <a:pt x="20846" y="10899"/>
                  </a:lnTo>
                  <a:lnTo>
                    <a:pt x="20837" y="10908"/>
                  </a:lnTo>
                  <a:lnTo>
                    <a:pt x="20820" y="10908"/>
                  </a:lnTo>
                  <a:lnTo>
                    <a:pt x="20820" y="10899"/>
                  </a:lnTo>
                  <a:lnTo>
                    <a:pt x="20811" y="10899"/>
                  </a:lnTo>
                  <a:lnTo>
                    <a:pt x="20811" y="10916"/>
                  </a:lnTo>
                  <a:lnTo>
                    <a:pt x="20811" y="10943"/>
                  </a:lnTo>
                  <a:lnTo>
                    <a:pt x="20811" y="10952"/>
                  </a:lnTo>
                  <a:lnTo>
                    <a:pt x="20811" y="10960"/>
                  </a:lnTo>
                  <a:lnTo>
                    <a:pt x="20820" y="10960"/>
                  </a:lnTo>
                  <a:lnTo>
                    <a:pt x="20829" y="10960"/>
                  </a:lnTo>
                  <a:lnTo>
                    <a:pt x="20855" y="10969"/>
                  </a:lnTo>
                  <a:lnTo>
                    <a:pt x="20864" y="10978"/>
                  </a:lnTo>
                  <a:lnTo>
                    <a:pt x="20882" y="11005"/>
                  </a:lnTo>
                  <a:lnTo>
                    <a:pt x="20899" y="11005"/>
                  </a:lnTo>
                  <a:lnTo>
                    <a:pt x="20926" y="11022"/>
                  </a:lnTo>
                  <a:lnTo>
                    <a:pt x="20943" y="11022"/>
                  </a:lnTo>
                  <a:lnTo>
                    <a:pt x="20970" y="11022"/>
                  </a:lnTo>
                  <a:lnTo>
                    <a:pt x="20996" y="11031"/>
                  </a:lnTo>
                  <a:lnTo>
                    <a:pt x="21005" y="11022"/>
                  </a:lnTo>
                  <a:lnTo>
                    <a:pt x="21023" y="11022"/>
                  </a:lnTo>
                  <a:lnTo>
                    <a:pt x="21032" y="11022"/>
                  </a:lnTo>
                  <a:lnTo>
                    <a:pt x="21040" y="11022"/>
                  </a:lnTo>
                  <a:lnTo>
                    <a:pt x="21067" y="10996"/>
                  </a:lnTo>
                  <a:lnTo>
                    <a:pt x="21093" y="10978"/>
                  </a:lnTo>
                  <a:lnTo>
                    <a:pt x="21111" y="10978"/>
                  </a:lnTo>
                  <a:lnTo>
                    <a:pt x="21120" y="10978"/>
                  </a:lnTo>
                  <a:lnTo>
                    <a:pt x="21137" y="10969"/>
                  </a:lnTo>
                  <a:lnTo>
                    <a:pt x="21155" y="10943"/>
                  </a:lnTo>
                  <a:lnTo>
                    <a:pt x="21164" y="10934"/>
                  </a:lnTo>
                  <a:lnTo>
                    <a:pt x="21190" y="10934"/>
                  </a:lnTo>
                  <a:lnTo>
                    <a:pt x="21208" y="10934"/>
                  </a:lnTo>
                  <a:lnTo>
                    <a:pt x="21217" y="10934"/>
                  </a:lnTo>
                  <a:lnTo>
                    <a:pt x="21234" y="10925"/>
                  </a:lnTo>
                  <a:lnTo>
                    <a:pt x="21279" y="10925"/>
                  </a:lnTo>
                  <a:lnTo>
                    <a:pt x="21305" y="10925"/>
                  </a:lnTo>
                  <a:lnTo>
                    <a:pt x="21323" y="10925"/>
                  </a:lnTo>
                  <a:lnTo>
                    <a:pt x="21331" y="10925"/>
                  </a:lnTo>
                  <a:lnTo>
                    <a:pt x="21340" y="10934"/>
                  </a:lnTo>
                  <a:lnTo>
                    <a:pt x="21384" y="10925"/>
                  </a:lnTo>
                  <a:lnTo>
                    <a:pt x="21393" y="10925"/>
                  </a:lnTo>
                  <a:lnTo>
                    <a:pt x="21402" y="10925"/>
                  </a:lnTo>
                  <a:lnTo>
                    <a:pt x="21411" y="10934"/>
                  </a:lnTo>
                  <a:lnTo>
                    <a:pt x="21429" y="10925"/>
                  </a:lnTo>
                  <a:lnTo>
                    <a:pt x="21437" y="10925"/>
                  </a:lnTo>
                  <a:lnTo>
                    <a:pt x="21446" y="10925"/>
                  </a:lnTo>
                  <a:lnTo>
                    <a:pt x="21464" y="10908"/>
                  </a:lnTo>
                  <a:lnTo>
                    <a:pt x="21473" y="10890"/>
                  </a:lnTo>
                  <a:lnTo>
                    <a:pt x="21481" y="10863"/>
                  </a:lnTo>
                  <a:lnTo>
                    <a:pt x="21490" y="10855"/>
                  </a:lnTo>
                  <a:lnTo>
                    <a:pt x="21499" y="10855"/>
                  </a:lnTo>
                  <a:lnTo>
                    <a:pt x="21508" y="10846"/>
                  </a:lnTo>
                  <a:lnTo>
                    <a:pt x="21526" y="10846"/>
                  </a:lnTo>
                  <a:lnTo>
                    <a:pt x="21561" y="10819"/>
                  </a:lnTo>
                  <a:lnTo>
                    <a:pt x="21579" y="10819"/>
                  </a:lnTo>
                  <a:lnTo>
                    <a:pt x="21587" y="10810"/>
                  </a:lnTo>
                  <a:lnTo>
                    <a:pt x="21614" y="10793"/>
                  </a:lnTo>
                  <a:lnTo>
                    <a:pt x="21631" y="10793"/>
                  </a:lnTo>
                  <a:lnTo>
                    <a:pt x="21676" y="10802"/>
                  </a:lnTo>
                  <a:lnTo>
                    <a:pt x="21702" y="10793"/>
                  </a:lnTo>
                  <a:lnTo>
                    <a:pt x="21720" y="10793"/>
                  </a:lnTo>
                  <a:lnTo>
                    <a:pt x="21746" y="10784"/>
                  </a:lnTo>
                  <a:lnTo>
                    <a:pt x="21773" y="10775"/>
                  </a:lnTo>
                  <a:lnTo>
                    <a:pt x="21808" y="10766"/>
                  </a:lnTo>
                  <a:lnTo>
                    <a:pt x="21834" y="10749"/>
                  </a:lnTo>
                  <a:lnTo>
                    <a:pt x="21852" y="10749"/>
                  </a:lnTo>
                  <a:lnTo>
                    <a:pt x="21878" y="10740"/>
                  </a:lnTo>
                  <a:lnTo>
                    <a:pt x="21923" y="10740"/>
                  </a:lnTo>
                  <a:lnTo>
                    <a:pt x="21967" y="10740"/>
                  </a:lnTo>
                  <a:lnTo>
                    <a:pt x="21984" y="10740"/>
                  </a:lnTo>
                  <a:lnTo>
                    <a:pt x="21984" y="10731"/>
                  </a:lnTo>
                  <a:lnTo>
                    <a:pt x="21993" y="10731"/>
                  </a:lnTo>
                  <a:lnTo>
                    <a:pt x="22011" y="10731"/>
                  </a:lnTo>
                  <a:lnTo>
                    <a:pt x="22020" y="10740"/>
                  </a:lnTo>
                  <a:lnTo>
                    <a:pt x="22037" y="10749"/>
                  </a:lnTo>
                  <a:lnTo>
                    <a:pt x="22073" y="10775"/>
                  </a:lnTo>
                  <a:lnTo>
                    <a:pt x="22081" y="10775"/>
                  </a:lnTo>
                  <a:lnTo>
                    <a:pt x="22108" y="10766"/>
                  </a:lnTo>
                  <a:lnTo>
                    <a:pt x="22117" y="10766"/>
                  </a:lnTo>
                  <a:lnTo>
                    <a:pt x="22152" y="10784"/>
                  </a:lnTo>
                  <a:lnTo>
                    <a:pt x="22161" y="10784"/>
                  </a:lnTo>
                  <a:lnTo>
                    <a:pt x="22178" y="10784"/>
                  </a:lnTo>
                  <a:lnTo>
                    <a:pt x="22178" y="10793"/>
                  </a:lnTo>
                  <a:lnTo>
                    <a:pt x="22187" y="10793"/>
                  </a:lnTo>
                  <a:lnTo>
                    <a:pt x="22205" y="10810"/>
                  </a:lnTo>
                  <a:lnTo>
                    <a:pt x="22223" y="10819"/>
                  </a:lnTo>
                  <a:lnTo>
                    <a:pt x="22223" y="10828"/>
                  </a:lnTo>
                  <a:lnTo>
                    <a:pt x="22214" y="10837"/>
                  </a:lnTo>
                  <a:lnTo>
                    <a:pt x="22223" y="10855"/>
                  </a:lnTo>
                  <a:lnTo>
                    <a:pt x="22231" y="10863"/>
                  </a:lnTo>
                  <a:lnTo>
                    <a:pt x="22249" y="10872"/>
                  </a:lnTo>
                  <a:lnTo>
                    <a:pt x="22258" y="10872"/>
                  </a:lnTo>
                  <a:lnTo>
                    <a:pt x="22267" y="10881"/>
                  </a:lnTo>
                  <a:lnTo>
                    <a:pt x="22267" y="10890"/>
                  </a:lnTo>
                  <a:lnTo>
                    <a:pt x="22275" y="10908"/>
                  </a:lnTo>
                  <a:lnTo>
                    <a:pt x="22284" y="10916"/>
                  </a:lnTo>
                  <a:lnTo>
                    <a:pt x="22293" y="10925"/>
                  </a:lnTo>
                  <a:lnTo>
                    <a:pt x="22293" y="10934"/>
                  </a:lnTo>
                  <a:lnTo>
                    <a:pt x="22302" y="10952"/>
                  </a:lnTo>
                  <a:lnTo>
                    <a:pt x="22311" y="10969"/>
                  </a:lnTo>
                  <a:lnTo>
                    <a:pt x="22311" y="10987"/>
                  </a:lnTo>
                  <a:lnTo>
                    <a:pt x="22302" y="10978"/>
                  </a:lnTo>
                  <a:lnTo>
                    <a:pt x="22293" y="10978"/>
                  </a:lnTo>
                  <a:lnTo>
                    <a:pt x="22293" y="10987"/>
                  </a:lnTo>
                  <a:lnTo>
                    <a:pt x="22302" y="10987"/>
                  </a:lnTo>
                  <a:lnTo>
                    <a:pt x="22311" y="10996"/>
                  </a:lnTo>
                  <a:lnTo>
                    <a:pt x="22320" y="10996"/>
                  </a:lnTo>
                  <a:lnTo>
                    <a:pt x="22328" y="11013"/>
                  </a:lnTo>
                  <a:lnTo>
                    <a:pt x="22337" y="11013"/>
                  </a:lnTo>
                  <a:lnTo>
                    <a:pt x="22337" y="11005"/>
                  </a:lnTo>
                  <a:lnTo>
                    <a:pt x="22346" y="11013"/>
                  </a:lnTo>
                  <a:lnTo>
                    <a:pt x="22355" y="11013"/>
                  </a:lnTo>
                  <a:lnTo>
                    <a:pt x="22346" y="10996"/>
                  </a:lnTo>
                  <a:lnTo>
                    <a:pt x="22346" y="10987"/>
                  </a:lnTo>
                  <a:lnTo>
                    <a:pt x="22355" y="10987"/>
                  </a:lnTo>
                  <a:lnTo>
                    <a:pt x="22364" y="10969"/>
                  </a:lnTo>
                  <a:lnTo>
                    <a:pt x="22381" y="10943"/>
                  </a:lnTo>
                  <a:lnTo>
                    <a:pt x="22390" y="10934"/>
                  </a:lnTo>
                  <a:lnTo>
                    <a:pt x="22399" y="10925"/>
                  </a:lnTo>
                  <a:lnTo>
                    <a:pt x="22408" y="10925"/>
                  </a:lnTo>
                  <a:lnTo>
                    <a:pt x="22425" y="10916"/>
                  </a:lnTo>
                  <a:lnTo>
                    <a:pt x="22434" y="10916"/>
                  </a:lnTo>
                  <a:lnTo>
                    <a:pt x="22434" y="10908"/>
                  </a:lnTo>
                  <a:lnTo>
                    <a:pt x="22443" y="10908"/>
                  </a:lnTo>
                  <a:lnTo>
                    <a:pt x="22452" y="10890"/>
                  </a:lnTo>
                  <a:lnTo>
                    <a:pt x="22461" y="10872"/>
                  </a:lnTo>
                  <a:lnTo>
                    <a:pt x="22470" y="10863"/>
                  </a:lnTo>
                  <a:lnTo>
                    <a:pt x="22478" y="10855"/>
                  </a:lnTo>
                  <a:lnTo>
                    <a:pt x="22487" y="10837"/>
                  </a:lnTo>
                  <a:lnTo>
                    <a:pt x="22487" y="10828"/>
                  </a:lnTo>
                  <a:lnTo>
                    <a:pt x="22487" y="10819"/>
                  </a:lnTo>
                  <a:lnTo>
                    <a:pt x="22487" y="10828"/>
                  </a:lnTo>
                  <a:lnTo>
                    <a:pt x="22496" y="10837"/>
                  </a:lnTo>
                  <a:lnTo>
                    <a:pt x="22505" y="10863"/>
                  </a:lnTo>
                  <a:lnTo>
                    <a:pt x="22496" y="10863"/>
                  </a:lnTo>
                  <a:lnTo>
                    <a:pt x="22487" y="10872"/>
                  </a:lnTo>
                  <a:lnTo>
                    <a:pt x="22487" y="10881"/>
                  </a:lnTo>
                  <a:lnTo>
                    <a:pt x="22496" y="10890"/>
                  </a:lnTo>
                  <a:lnTo>
                    <a:pt x="22496" y="10899"/>
                  </a:lnTo>
                  <a:lnTo>
                    <a:pt x="22487" y="10908"/>
                  </a:lnTo>
                  <a:lnTo>
                    <a:pt x="22478" y="10925"/>
                  </a:lnTo>
                  <a:lnTo>
                    <a:pt x="22461" y="10952"/>
                  </a:lnTo>
                  <a:lnTo>
                    <a:pt x="22461" y="10960"/>
                  </a:lnTo>
                  <a:lnTo>
                    <a:pt x="22461" y="10969"/>
                  </a:lnTo>
                  <a:lnTo>
                    <a:pt x="22461" y="10978"/>
                  </a:lnTo>
                  <a:lnTo>
                    <a:pt x="22461" y="10987"/>
                  </a:lnTo>
                  <a:lnTo>
                    <a:pt x="22461" y="10996"/>
                  </a:lnTo>
                  <a:lnTo>
                    <a:pt x="22461" y="11013"/>
                  </a:lnTo>
                  <a:lnTo>
                    <a:pt x="22452" y="11013"/>
                  </a:lnTo>
                  <a:lnTo>
                    <a:pt x="22443" y="11013"/>
                  </a:lnTo>
                  <a:lnTo>
                    <a:pt x="22434" y="11013"/>
                  </a:lnTo>
                  <a:lnTo>
                    <a:pt x="22425" y="11013"/>
                  </a:lnTo>
                  <a:lnTo>
                    <a:pt x="22417" y="11040"/>
                  </a:lnTo>
                  <a:lnTo>
                    <a:pt x="22425" y="11040"/>
                  </a:lnTo>
                  <a:lnTo>
                    <a:pt x="22434" y="11040"/>
                  </a:lnTo>
                  <a:lnTo>
                    <a:pt x="22452" y="11031"/>
                  </a:lnTo>
                  <a:lnTo>
                    <a:pt x="22461" y="11031"/>
                  </a:lnTo>
                  <a:lnTo>
                    <a:pt x="22470" y="11031"/>
                  </a:lnTo>
                  <a:lnTo>
                    <a:pt x="22478" y="11031"/>
                  </a:lnTo>
                  <a:lnTo>
                    <a:pt x="22496" y="10996"/>
                  </a:lnTo>
                  <a:lnTo>
                    <a:pt x="22496" y="10978"/>
                  </a:lnTo>
                  <a:lnTo>
                    <a:pt x="22505" y="10960"/>
                  </a:lnTo>
                  <a:lnTo>
                    <a:pt x="22505" y="10952"/>
                  </a:lnTo>
                  <a:lnTo>
                    <a:pt x="22514" y="10960"/>
                  </a:lnTo>
                  <a:lnTo>
                    <a:pt x="22523" y="10969"/>
                  </a:lnTo>
                  <a:lnTo>
                    <a:pt x="22531" y="10987"/>
                  </a:lnTo>
                  <a:lnTo>
                    <a:pt x="22540" y="10996"/>
                  </a:lnTo>
                  <a:lnTo>
                    <a:pt x="22540" y="11022"/>
                  </a:lnTo>
                  <a:lnTo>
                    <a:pt x="22531" y="11049"/>
                  </a:lnTo>
                  <a:lnTo>
                    <a:pt x="22523" y="11058"/>
                  </a:lnTo>
                  <a:lnTo>
                    <a:pt x="22514" y="11066"/>
                  </a:lnTo>
                  <a:lnTo>
                    <a:pt x="22531" y="11075"/>
                  </a:lnTo>
                  <a:lnTo>
                    <a:pt x="22540" y="11075"/>
                  </a:lnTo>
                  <a:lnTo>
                    <a:pt x="22558" y="11066"/>
                  </a:lnTo>
                  <a:lnTo>
                    <a:pt x="22567" y="11066"/>
                  </a:lnTo>
                  <a:lnTo>
                    <a:pt x="22567" y="11058"/>
                  </a:lnTo>
                  <a:lnTo>
                    <a:pt x="22575" y="11058"/>
                  </a:lnTo>
                  <a:lnTo>
                    <a:pt x="22584" y="11049"/>
                  </a:lnTo>
                  <a:lnTo>
                    <a:pt x="22593" y="11049"/>
                  </a:lnTo>
                  <a:lnTo>
                    <a:pt x="22602" y="11058"/>
                  </a:lnTo>
                  <a:lnTo>
                    <a:pt x="22593" y="11058"/>
                  </a:lnTo>
                  <a:lnTo>
                    <a:pt x="22593" y="11066"/>
                  </a:lnTo>
                  <a:lnTo>
                    <a:pt x="22584" y="11066"/>
                  </a:lnTo>
                  <a:lnTo>
                    <a:pt x="22575" y="11066"/>
                  </a:lnTo>
                  <a:lnTo>
                    <a:pt x="22575" y="11075"/>
                  </a:lnTo>
                  <a:lnTo>
                    <a:pt x="22593" y="11084"/>
                  </a:lnTo>
                  <a:lnTo>
                    <a:pt x="22611" y="11102"/>
                  </a:lnTo>
                  <a:lnTo>
                    <a:pt x="22611" y="11110"/>
                  </a:lnTo>
                  <a:lnTo>
                    <a:pt x="22628" y="11137"/>
                  </a:lnTo>
                  <a:lnTo>
                    <a:pt x="22637" y="11155"/>
                  </a:lnTo>
                  <a:lnTo>
                    <a:pt x="22637" y="11163"/>
                  </a:lnTo>
                  <a:lnTo>
                    <a:pt x="22628" y="11181"/>
                  </a:lnTo>
                  <a:lnTo>
                    <a:pt x="22628" y="11190"/>
                  </a:lnTo>
                  <a:lnTo>
                    <a:pt x="22628" y="11199"/>
                  </a:lnTo>
                  <a:lnTo>
                    <a:pt x="22628" y="11208"/>
                  </a:lnTo>
                  <a:lnTo>
                    <a:pt x="22637" y="11216"/>
                  </a:lnTo>
                  <a:lnTo>
                    <a:pt x="22664" y="11243"/>
                  </a:lnTo>
                  <a:lnTo>
                    <a:pt x="22672" y="11261"/>
                  </a:lnTo>
                  <a:lnTo>
                    <a:pt x="22690" y="11269"/>
                  </a:lnTo>
                  <a:lnTo>
                    <a:pt x="22725" y="11278"/>
                  </a:lnTo>
                  <a:lnTo>
                    <a:pt x="22734" y="11287"/>
                  </a:lnTo>
                  <a:lnTo>
                    <a:pt x="22752" y="11305"/>
                  </a:lnTo>
                  <a:lnTo>
                    <a:pt x="22761" y="11305"/>
                  </a:lnTo>
                  <a:lnTo>
                    <a:pt x="22770" y="11305"/>
                  </a:lnTo>
                  <a:lnTo>
                    <a:pt x="22778" y="11296"/>
                  </a:lnTo>
                  <a:lnTo>
                    <a:pt x="22787" y="11296"/>
                  </a:lnTo>
                  <a:lnTo>
                    <a:pt x="22805" y="11305"/>
                  </a:lnTo>
                  <a:lnTo>
                    <a:pt x="22822" y="11305"/>
                  </a:lnTo>
                  <a:lnTo>
                    <a:pt x="22831" y="11305"/>
                  </a:lnTo>
                  <a:lnTo>
                    <a:pt x="22840" y="11313"/>
                  </a:lnTo>
                  <a:lnTo>
                    <a:pt x="22858" y="11322"/>
                  </a:lnTo>
                  <a:lnTo>
                    <a:pt x="22875" y="11322"/>
                  </a:lnTo>
                  <a:lnTo>
                    <a:pt x="22884" y="11331"/>
                  </a:lnTo>
                  <a:lnTo>
                    <a:pt x="22893" y="11331"/>
                  </a:lnTo>
                  <a:lnTo>
                    <a:pt x="22911" y="11340"/>
                  </a:lnTo>
                  <a:lnTo>
                    <a:pt x="22920" y="11340"/>
                  </a:lnTo>
                  <a:lnTo>
                    <a:pt x="22928" y="11331"/>
                  </a:lnTo>
                  <a:lnTo>
                    <a:pt x="22946" y="11313"/>
                  </a:lnTo>
                  <a:lnTo>
                    <a:pt x="22964" y="11305"/>
                  </a:lnTo>
                  <a:lnTo>
                    <a:pt x="22972" y="11296"/>
                  </a:lnTo>
                  <a:lnTo>
                    <a:pt x="22981" y="11296"/>
                  </a:lnTo>
                  <a:lnTo>
                    <a:pt x="22990" y="11287"/>
                  </a:lnTo>
                  <a:lnTo>
                    <a:pt x="22981" y="11287"/>
                  </a:lnTo>
                  <a:lnTo>
                    <a:pt x="22972" y="11278"/>
                  </a:lnTo>
                  <a:lnTo>
                    <a:pt x="22981" y="11278"/>
                  </a:lnTo>
                  <a:lnTo>
                    <a:pt x="23008" y="11261"/>
                  </a:lnTo>
                  <a:lnTo>
                    <a:pt x="23017" y="11269"/>
                  </a:lnTo>
                  <a:lnTo>
                    <a:pt x="23025" y="11278"/>
                  </a:lnTo>
                  <a:lnTo>
                    <a:pt x="23017" y="11287"/>
                  </a:lnTo>
                  <a:lnTo>
                    <a:pt x="23017" y="11296"/>
                  </a:lnTo>
                  <a:lnTo>
                    <a:pt x="23008" y="11296"/>
                  </a:lnTo>
                  <a:lnTo>
                    <a:pt x="22999" y="11305"/>
                  </a:lnTo>
                  <a:lnTo>
                    <a:pt x="22999" y="11296"/>
                  </a:lnTo>
                  <a:lnTo>
                    <a:pt x="23008" y="11305"/>
                  </a:lnTo>
                  <a:lnTo>
                    <a:pt x="23017" y="11313"/>
                  </a:lnTo>
                  <a:lnTo>
                    <a:pt x="23025" y="11305"/>
                  </a:lnTo>
                  <a:lnTo>
                    <a:pt x="23034" y="11296"/>
                  </a:lnTo>
                  <a:lnTo>
                    <a:pt x="23034" y="11287"/>
                  </a:lnTo>
                  <a:lnTo>
                    <a:pt x="23043" y="11287"/>
                  </a:lnTo>
                  <a:lnTo>
                    <a:pt x="23052" y="11296"/>
                  </a:lnTo>
                  <a:lnTo>
                    <a:pt x="23052" y="11305"/>
                  </a:lnTo>
                  <a:lnTo>
                    <a:pt x="23043" y="11313"/>
                  </a:lnTo>
                  <a:lnTo>
                    <a:pt x="23052" y="11322"/>
                  </a:lnTo>
                  <a:lnTo>
                    <a:pt x="23061" y="11331"/>
                  </a:lnTo>
                  <a:lnTo>
                    <a:pt x="23069" y="11331"/>
                  </a:lnTo>
                  <a:lnTo>
                    <a:pt x="23078" y="11340"/>
                  </a:lnTo>
                  <a:lnTo>
                    <a:pt x="23087" y="11349"/>
                  </a:lnTo>
                  <a:lnTo>
                    <a:pt x="23096" y="11340"/>
                  </a:lnTo>
                  <a:lnTo>
                    <a:pt x="23105" y="11349"/>
                  </a:lnTo>
                  <a:lnTo>
                    <a:pt x="23114" y="11366"/>
                  </a:lnTo>
                  <a:lnTo>
                    <a:pt x="23122" y="11366"/>
                  </a:lnTo>
                  <a:lnTo>
                    <a:pt x="23122" y="11358"/>
                  </a:lnTo>
                  <a:lnTo>
                    <a:pt x="23122" y="11340"/>
                  </a:lnTo>
                  <a:lnTo>
                    <a:pt x="23114" y="11349"/>
                  </a:lnTo>
                  <a:lnTo>
                    <a:pt x="23114" y="11340"/>
                  </a:lnTo>
                  <a:lnTo>
                    <a:pt x="23105" y="11340"/>
                  </a:lnTo>
                  <a:lnTo>
                    <a:pt x="23105" y="11331"/>
                  </a:lnTo>
                  <a:lnTo>
                    <a:pt x="23114" y="11331"/>
                  </a:lnTo>
                  <a:lnTo>
                    <a:pt x="23122" y="11331"/>
                  </a:lnTo>
                  <a:lnTo>
                    <a:pt x="23149" y="11331"/>
                  </a:lnTo>
                  <a:lnTo>
                    <a:pt x="23193" y="11287"/>
                  </a:lnTo>
                  <a:lnTo>
                    <a:pt x="23211" y="11278"/>
                  </a:lnTo>
                  <a:lnTo>
                    <a:pt x="23228" y="11269"/>
                  </a:lnTo>
                  <a:lnTo>
                    <a:pt x="23246" y="11261"/>
                  </a:lnTo>
                  <a:lnTo>
                    <a:pt x="23255" y="11261"/>
                  </a:lnTo>
                  <a:lnTo>
                    <a:pt x="23308" y="11252"/>
                  </a:lnTo>
                  <a:lnTo>
                    <a:pt x="23334" y="11252"/>
                  </a:lnTo>
                  <a:lnTo>
                    <a:pt x="23343" y="11252"/>
                  </a:lnTo>
                  <a:lnTo>
                    <a:pt x="23352" y="11252"/>
                  </a:lnTo>
                  <a:lnTo>
                    <a:pt x="23361" y="11234"/>
                  </a:lnTo>
                  <a:lnTo>
                    <a:pt x="23369" y="11234"/>
                  </a:lnTo>
                  <a:lnTo>
                    <a:pt x="23378" y="11234"/>
                  </a:lnTo>
                  <a:lnTo>
                    <a:pt x="23378" y="11225"/>
                  </a:lnTo>
                  <a:lnTo>
                    <a:pt x="23378" y="11216"/>
                  </a:lnTo>
                  <a:lnTo>
                    <a:pt x="23378" y="11208"/>
                  </a:lnTo>
                  <a:lnTo>
                    <a:pt x="23378" y="11190"/>
                  </a:lnTo>
                  <a:lnTo>
                    <a:pt x="23378" y="11172"/>
                  </a:lnTo>
                  <a:lnTo>
                    <a:pt x="23378" y="11163"/>
                  </a:lnTo>
                  <a:lnTo>
                    <a:pt x="23387" y="11146"/>
                  </a:lnTo>
                  <a:lnTo>
                    <a:pt x="23387" y="11137"/>
                  </a:lnTo>
                  <a:lnTo>
                    <a:pt x="23396" y="11110"/>
                  </a:lnTo>
                  <a:lnTo>
                    <a:pt x="23396" y="11102"/>
                  </a:lnTo>
                  <a:lnTo>
                    <a:pt x="23396" y="11084"/>
                  </a:lnTo>
                  <a:lnTo>
                    <a:pt x="23405" y="11075"/>
                  </a:lnTo>
                  <a:lnTo>
                    <a:pt x="23414" y="11066"/>
                  </a:lnTo>
                  <a:lnTo>
                    <a:pt x="23422" y="11040"/>
                  </a:lnTo>
                  <a:lnTo>
                    <a:pt x="23431" y="11031"/>
                  </a:lnTo>
                  <a:lnTo>
                    <a:pt x="23440" y="11031"/>
                  </a:lnTo>
                  <a:lnTo>
                    <a:pt x="23431" y="11031"/>
                  </a:lnTo>
                  <a:lnTo>
                    <a:pt x="23431" y="11022"/>
                  </a:lnTo>
                  <a:lnTo>
                    <a:pt x="23440" y="11022"/>
                  </a:lnTo>
                  <a:lnTo>
                    <a:pt x="23440" y="11013"/>
                  </a:lnTo>
                  <a:lnTo>
                    <a:pt x="23440" y="10996"/>
                  </a:lnTo>
                  <a:lnTo>
                    <a:pt x="23449" y="10978"/>
                  </a:lnTo>
                  <a:lnTo>
                    <a:pt x="23449" y="10969"/>
                  </a:lnTo>
                  <a:lnTo>
                    <a:pt x="23458" y="10960"/>
                  </a:lnTo>
                  <a:lnTo>
                    <a:pt x="23467" y="10952"/>
                  </a:lnTo>
                  <a:lnTo>
                    <a:pt x="23475" y="10943"/>
                  </a:lnTo>
                  <a:lnTo>
                    <a:pt x="23467" y="10934"/>
                  </a:lnTo>
                  <a:lnTo>
                    <a:pt x="23475" y="10934"/>
                  </a:lnTo>
                  <a:lnTo>
                    <a:pt x="23475" y="10925"/>
                  </a:lnTo>
                  <a:lnTo>
                    <a:pt x="23484" y="10908"/>
                  </a:lnTo>
                  <a:lnTo>
                    <a:pt x="23475" y="10899"/>
                  </a:lnTo>
                  <a:lnTo>
                    <a:pt x="23484" y="10899"/>
                  </a:lnTo>
                  <a:lnTo>
                    <a:pt x="23493" y="10890"/>
                  </a:lnTo>
                  <a:lnTo>
                    <a:pt x="23493" y="10881"/>
                  </a:lnTo>
                  <a:lnTo>
                    <a:pt x="23502" y="10872"/>
                  </a:lnTo>
                  <a:lnTo>
                    <a:pt x="23502" y="10863"/>
                  </a:lnTo>
                  <a:lnTo>
                    <a:pt x="23519" y="10846"/>
                  </a:lnTo>
                  <a:lnTo>
                    <a:pt x="23528" y="10837"/>
                  </a:lnTo>
                  <a:lnTo>
                    <a:pt x="23546" y="10837"/>
                  </a:lnTo>
                  <a:lnTo>
                    <a:pt x="23546" y="10828"/>
                  </a:lnTo>
                  <a:lnTo>
                    <a:pt x="23537" y="10828"/>
                  </a:lnTo>
                  <a:lnTo>
                    <a:pt x="23546" y="10828"/>
                  </a:lnTo>
                  <a:lnTo>
                    <a:pt x="23546" y="10819"/>
                  </a:lnTo>
                  <a:lnTo>
                    <a:pt x="23555" y="10819"/>
                  </a:lnTo>
                  <a:lnTo>
                    <a:pt x="23564" y="10810"/>
                  </a:lnTo>
                  <a:lnTo>
                    <a:pt x="23572" y="10802"/>
                  </a:lnTo>
                  <a:lnTo>
                    <a:pt x="23572" y="10793"/>
                  </a:lnTo>
                  <a:lnTo>
                    <a:pt x="23572" y="10775"/>
                  </a:lnTo>
                  <a:lnTo>
                    <a:pt x="23590" y="10757"/>
                  </a:lnTo>
                  <a:lnTo>
                    <a:pt x="23599" y="10731"/>
                  </a:lnTo>
                  <a:lnTo>
                    <a:pt x="23599" y="10705"/>
                  </a:lnTo>
                  <a:lnTo>
                    <a:pt x="23608" y="10696"/>
                  </a:lnTo>
                  <a:lnTo>
                    <a:pt x="23608" y="10687"/>
                  </a:lnTo>
                  <a:lnTo>
                    <a:pt x="23608" y="10669"/>
                  </a:lnTo>
                  <a:lnTo>
                    <a:pt x="23608" y="10660"/>
                  </a:lnTo>
                  <a:lnTo>
                    <a:pt x="23616" y="10625"/>
                  </a:lnTo>
                  <a:lnTo>
                    <a:pt x="23616" y="10607"/>
                  </a:lnTo>
                  <a:lnTo>
                    <a:pt x="23625" y="10599"/>
                  </a:lnTo>
                  <a:lnTo>
                    <a:pt x="23625" y="10572"/>
                  </a:lnTo>
                  <a:lnTo>
                    <a:pt x="23625" y="10554"/>
                  </a:lnTo>
                  <a:lnTo>
                    <a:pt x="23634" y="10537"/>
                  </a:lnTo>
                  <a:lnTo>
                    <a:pt x="23652" y="10519"/>
                  </a:lnTo>
                  <a:lnTo>
                    <a:pt x="23652" y="10502"/>
                  </a:lnTo>
                  <a:lnTo>
                    <a:pt x="23643" y="10493"/>
                  </a:lnTo>
                  <a:close/>
                  <a:moveTo>
                    <a:pt x="23634" y="10413"/>
                  </a:moveTo>
                  <a:lnTo>
                    <a:pt x="23634" y="10422"/>
                  </a:lnTo>
                  <a:lnTo>
                    <a:pt x="23634" y="10431"/>
                  </a:lnTo>
                  <a:lnTo>
                    <a:pt x="23643" y="10404"/>
                  </a:lnTo>
                  <a:lnTo>
                    <a:pt x="23634" y="10404"/>
                  </a:lnTo>
                  <a:close/>
                  <a:moveTo>
                    <a:pt x="23255" y="11437"/>
                  </a:moveTo>
                  <a:lnTo>
                    <a:pt x="23246" y="11437"/>
                  </a:lnTo>
                  <a:lnTo>
                    <a:pt x="23237" y="11419"/>
                  </a:lnTo>
                  <a:lnTo>
                    <a:pt x="23228" y="11419"/>
                  </a:lnTo>
                  <a:lnTo>
                    <a:pt x="23228" y="11428"/>
                  </a:lnTo>
                  <a:lnTo>
                    <a:pt x="23219" y="11428"/>
                  </a:lnTo>
                  <a:lnTo>
                    <a:pt x="23219" y="11437"/>
                  </a:lnTo>
                  <a:lnTo>
                    <a:pt x="23228" y="11437"/>
                  </a:lnTo>
                  <a:lnTo>
                    <a:pt x="23228" y="11446"/>
                  </a:lnTo>
                  <a:lnTo>
                    <a:pt x="23237" y="11455"/>
                  </a:lnTo>
                  <a:lnTo>
                    <a:pt x="23237" y="11464"/>
                  </a:lnTo>
                  <a:lnTo>
                    <a:pt x="23246" y="11464"/>
                  </a:lnTo>
                  <a:lnTo>
                    <a:pt x="23255" y="11464"/>
                  </a:lnTo>
                  <a:lnTo>
                    <a:pt x="23255" y="11455"/>
                  </a:lnTo>
                  <a:lnTo>
                    <a:pt x="23264" y="11455"/>
                  </a:lnTo>
                  <a:lnTo>
                    <a:pt x="23255" y="11455"/>
                  </a:lnTo>
                  <a:lnTo>
                    <a:pt x="23255" y="11446"/>
                  </a:lnTo>
                  <a:close/>
                  <a:moveTo>
                    <a:pt x="23264" y="11472"/>
                  </a:moveTo>
                  <a:lnTo>
                    <a:pt x="23255" y="11472"/>
                  </a:lnTo>
                  <a:lnTo>
                    <a:pt x="23237" y="11472"/>
                  </a:lnTo>
                  <a:lnTo>
                    <a:pt x="23237" y="11481"/>
                  </a:lnTo>
                  <a:lnTo>
                    <a:pt x="23246" y="11481"/>
                  </a:lnTo>
                  <a:lnTo>
                    <a:pt x="23255" y="11481"/>
                  </a:lnTo>
                  <a:lnTo>
                    <a:pt x="23264" y="11481"/>
                  </a:lnTo>
                  <a:lnTo>
                    <a:pt x="23272" y="11481"/>
                  </a:lnTo>
                  <a:close/>
                  <a:moveTo>
                    <a:pt x="23643" y="9195"/>
                  </a:moveTo>
                  <a:lnTo>
                    <a:pt x="23625" y="9187"/>
                  </a:lnTo>
                  <a:lnTo>
                    <a:pt x="23616" y="9178"/>
                  </a:lnTo>
                  <a:lnTo>
                    <a:pt x="23616" y="9187"/>
                  </a:lnTo>
                  <a:lnTo>
                    <a:pt x="23625" y="9187"/>
                  </a:lnTo>
                  <a:lnTo>
                    <a:pt x="23625" y="9195"/>
                  </a:lnTo>
                  <a:lnTo>
                    <a:pt x="23634" y="9195"/>
                  </a:lnTo>
                  <a:lnTo>
                    <a:pt x="23643" y="9204"/>
                  </a:lnTo>
                  <a:lnTo>
                    <a:pt x="23652" y="9204"/>
                  </a:lnTo>
                  <a:lnTo>
                    <a:pt x="23661" y="9204"/>
                  </a:lnTo>
                  <a:lnTo>
                    <a:pt x="23652" y="9195"/>
                  </a:lnTo>
                  <a:close/>
                  <a:moveTo>
                    <a:pt x="23255" y="11490"/>
                  </a:moveTo>
                  <a:lnTo>
                    <a:pt x="23246" y="11490"/>
                  </a:lnTo>
                  <a:close/>
                  <a:moveTo>
                    <a:pt x="23052" y="11305"/>
                  </a:moveTo>
                  <a:lnTo>
                    <a:pt x="23043" y="11296"/>
                  </a:lnTo>
                  <a:lnTo>
                    <a:pt x="23034" y="11296"/>
                  </a:lnTo>
                  <a:lnTo>
                    <a:pt x="23034" y="11305"/>
                  </a:lnTo>
                  <a:lnTo>
                    <a:pt x="23043" y="11305"/>
                  </a:lnTo>
                  <a:close/>
                  <a:moveTo>
                    <a:pt x="23802" y="8860"/>
                  </a:moveTo>
                  <a:lnTo>
                    <a:pt x="23802" y="8869"/>
                  </a:lnTo>
                  <a:lnTo>
                    <a:pt x="23811" y="8869"/>
                  </a:lnTo>
                  <a:close/>
                  <a:moveTo>
                    <a:pt x="23819" y="8825"/>
                  </a:moveTo>
                  <a:lnTo>
                    <a:pt x="23811" y="8816"/>
                  </a:lnTo>
                  <a:lnTo>
                    <a:pt x="23802" y="8816"/>
                  </a:lnTo>
                  <a:lnTo>
                    <a:pt x="23802" y="8807"/>
                  </a:lnTo>
                  <a:lnTo>
                    <a:pt x="23793" y="8807"/>
                  </a:lnTo>
                  <a:lnTo>
                    <a:pt x="23784" y="8798"/>
                  </a:lnTo>
                  <a:lnTo>
                    <a:pt x="23775" y="8789"/>
                  </a:lnTo>
                  <a:lnTo>
                    <a:pt x="23766" y="8781"/>
                  </a:lnTo>
                  <a:lnTo>
                    <a:pt x="23766" y="8772"/>
                  </a:lnTo>
                  <a:lnTo>
                    <a:pt x="23758" y="8763"/>
                  </a:lnTo>
                  <a:lnTo>
                    <a:pt x="23749" y="8754"/>
                  </a:lnTo>
                  <a:lnTo>
                    <a:pt x="23740" y="8754"/>
                  </a:lnTo>
                  <a:lnTo>
                    <a:pt x="23731" y="8754"/>
                  </a:lnTo>
                  <a:lnTo>
                    <a:pt x="23731" y="8745"/>
                  </a:lnTo>
                  <a:lnTo>
                    <a:pt x="23731" y="8754"/>
                  </a:lnTo>
                  <a:lnTo>
                    <a:pt x="23731" y="8772"/>
                  </a:lnTo>
                  <a:lnTo>
                    <a:pt x="23731" y="8781"/>
                  </a:lnTo>
                  <a:lnTo>
                    <a:pt x="23731" y="8789"/>
                  </a:lnTo>
                  <a:lnTo>
                    <a:pt x="23740" y="8798"/>
                  </a:lnTo>
                  <a:lnTo>
                    <a:pt x="23749" y="8798"/>
                  </a:lnTo>
                  <a:lnTo>
                    <a:pt x="23749" y="8807"/>
                  </a:lnTo>
                  <a:lnTo>
                    <a:pt x="23758" y="8807"/>
                  </a:lnTo>
                  <a:lnTo>
                    <a:pt x="23766" y="8816"/>
                  </a:lnTo>
                  <a:lnTo>
                    <a:pt x="23766" y="8825"/>
                  </a:lnTo>
                  <a:lnTo>
                    <a:pt x="23766" y="8833"/>
                  </a:lnTo>
                  <a:lnTo>
                    <a:pt x="23775" y="8842"/>
                  </a:lnTo>
                  <a:lnTo>
                    <a:pt x="23784" y="8851"/>
                  </a:lnTo>
                  <a:lnTo>
                    <a:pt x="23793" y="8851"/>
                  </a:lnTo>
                  <a:lnTo>
                    <a:pt x="23802" y="8851"/>
                  </a:lnTo>
                  <a:lnTo>
                    <a:pt x="23811" y="8851"/>
                  </a:lnTo>
                  <a:lnTo>
                    <a:pt x="23819" y="8842"/>
                  </a:lnTo>
                  <a:lnTo>
                    <a:pt x="23819" y="8851"/>
                  </a:lnTo>
                  <a:lnTo>
                    <a:pt x="23819" y="8842"/>
                  </a:lnTo>
                  <a:lnTo>
                    <a:pt x="23819" y="8833"/>
                  </a:lnTo>
                  <a:close/>
                  <a:moveTo>
                    <a:pt x="23740" y="4386"/>
                  </a:moveTo>
                  <a:lnTo>
                    <a:pt x="23722" y="4413"/>
                  </a:lnTo>
                  <a:lnTo>
                    <a:pt x="23722" y="4422"/>
                  </a:lnTo>
                  <a:lnTo>
                    <a:pt x="23731" y="4422"/>
                  </a:lnTo>
                  <a:lnTo>
                    <a:pt x="23740" y="4422"/>
                  </a:lnTo>
                  <a:lnTo>
                    <a:pt x="23740" y="4413"/>
                  </a:lnTo>
                  <a:lnTo>
                    <a:pt x="23740" y="4404"/>
                  </a:lnTo>
                  <a:lnTo>
                    <a:pt x="23740" y="4395"/>
                  </a:lnTo>
                  <a:close/>
                  <a:moveTo>
                    <a:pt x="23652" y="8648"/>
                  </a:moveTo>
                  <a:lnTo>
                    <a:pt x="23643" y="8648"/>
                  </a:lnTo>
                  <a:close/>
                  <a:moveTo>
                    <a:pt x="23793" y="4272"/>
                  </a:moveTo>
                  <a:lnTo>
                    <a:pt x="23802" y="4272"/>
                  </a:lnTo>
                  <a:lnTo>
                    <a:pt x="23802" y="4263"/>
                  </a:lnTo>
                  <a:lnTo>
                    <a:pt x="23793" y="4263"/>
                  </a:lnTo>
                  <a:lnTo>
                    <a:pt x="23784" y="4263"/>
                  </a:lnTo>
                  <a:lnTo>
                    <a:pt x="23784" y="4272"/>
                  </a:lnTo>
                  <a:close/>
                  <a:moveTo>
                    <a:pt x="23731" y="8728"/>
                  </a:moveTo>
                  <a:lnTo>
                    <a:pt x="23731" y="8719"/>
                  </a:lnTo>
                  <a:lnTo>
                    <a:pt x="23722" y="8719"/>
                  </a:lnTo>
                  <a:lnTo>
                    <a:pt x="23714" y="8728"/>
                  </a:lnTo>
                  <a:lnTo>
                    <a:pt x="23722" y="8728"/>
                  </a:lnTo>
                  <a:lnTo>
                    <a:pt x="23722" y="8736"/>
                  </a:lnTo>
                  <a:lnTo>
                    <a:pt x="23722" y="8745"/>
                  </a:lnTo>
                  <a:lnTo>
                    <a:pt x="23731" y="8745"/>
                  </a:lnTo>
                  <a:lnTo>
                    <a:pt x="23731" y="8736"/>
                  </a:lnTo>
                  <a:close/>
                  <a:moveTo>
                    <a:pt x="23687" y="4466"/>
                  </a:moveTo>
                  <a:lnTo>
                    <a:pt x="23696" y="4457"/>
                  </a:lnTo>
                  <a:lnTo>
                    <a:pt x="23687" y="4457"/>
                  </a:lnTo>
                  <a:lnTo>
                    <a:pt x="23687" y="4466"/>
                  </a:lnTo>
                  <a:lnTo>
                    <a:pt x="23678" y="4466"/>
                  </a:lnTo>
                  <a:lnTo>
                    <a:pt x="23678" y="4475"/>
                  </a:lnTo>
                  <a:close/>
                  <a:moveTo>
                    <a:pt x="23687" y="9178"/>
                  </a:moveTo>
                  <a:lnTo>
                    <a:pt x="23687" y="9187"/>
                  </a:lnTo>
                  <a:lnTo>
                    <a:pt x="23678" y="9187"/>
                  </a:lnTo>
                  <a:lnTo>
                    <a:pt x="23687" y="9187"/>
                  </a:lnTo>
                  <a:lnTo>
                    <a:pt x="23696" y="9187"/>
                  </a:lnTo>
                  <a:close/>
                  <a:moveTo>
                    <a:pt x="23828" y="4280"/>
                  </a:moveTo>
                  <a:lnTo>
                    <a:pt x="23819" y="4289"/>
                  </a:lnTo>
                  <a:lnTo>
                    <a:pt x="23811" y="4307"/>
                  </a:lnTo>
                  <a:lnTo>
                    <a:pt x="23802" y="4316"/>
                  </a:lnTo>
                  <a:lnTo>
                    <a:pt x="23784" y="4316"/>
                  </a:lnTo>
                  <a:lnTo>
                    <a:pt x="23775" y="4325"/>
                  </a:lnTo>
                  <a:lnTo>
                    <a:pt x="23766" y="4325"/>
                  </a:lnTo>
                  <a:lnTo>
                    <a:pt x="23766" y="4333"/>
                  </a:lnTo>
                  <a:lnTo>
                    <a:pt x="23766" y="4342"/>
                  </a:lnTo>
                  <a:lnTo>
                    <a:pt x="23775" y="4342"/>
                  </a:lnTo>
                  <a:lnTo>
                    <a:pt x="23784" y="4351"/>
                  </a:lnTo>
                  <a:lnTo>
                    <a:pt x="23784" y="4342"/>
                  </a:lnTo>
                  <a:lnTo>
                    <a:pt x="23793" y="4342"/>
                  </a:lnTo>
                  <a:lnTo>
                    <a:pt x="23793" y="4333"/>
                  </a:lnTo>
                  <a:lnTo>
                    <a:pt x="23811" y="4333"/>
                  </a:lnTo>
                  <a:lnTo>
                    <a:pt x="23819" y="4325"/>
                  </a:lnTo>
                  <a:lnTo>
                    <a:pt x="23828" y="4307"/>
                  </a:lnTo>
                  <a:lnTo>
                    <a:pt x="23828" y="4298"/>
                  </a:lnTo>
                  <a:lnTo>
                    <a:pt x="23837" y="4289"/>
                  </a:lnTo>
                  <a:close/>
                  <a:moveTo>
                    <a:pt x="20361" y="8136"/>
                  </a:moveTo>
                  <a:lnTo>
                    <a:pt x="20352" y="8136"/>
                  </a:lnTo>
                  <a:lnTo>
                    <a:pt x="20361" y="8145"/>
                  </a:lnTo>
                  <a:close/>
                  <a:moveTo>
                    <a:pt x="20670" y="8878"/>
                  </a:moveTo>
                  <a:lnTo>
                    <a:pt x="20679" y="8878"/>
                  </a:lnTo>
                  <a:lnTo>
                    <a:pt x="20696" y="8878"/>
                  </a:lnTo>
                  <a:lnTo>
                    <a:pt x="20705" y="8878"/>
                  </a:lnTo>
                  <a:lnTo>
                    <a:pt x="20714" y="8869"/>
                  </a:lnTo>
                  <a:lnTo>
                    <a:pt x="20723" y="8869"/>
                  </a:lnTo>
                  <a:lnTo>
                    <a:pt x="20732" y="8869"/>
                  </a:lnTo>
                  <a:lnTo>
                    <a:pt x="20740" y="8860"/>
                  </a:lnTo>
                  <a:lnTo>
                    <a:pt x="20732" y="8851"/>
                  </a:lnTo>
                  <a:lnTo>
                    <a:pt x="20670" y="8851"/>
                  </a:lnTo>
                  <a:lnTo>
                    <a:pt x="20652" y="8860"/>
                  </a:lnTo>
                  <a:lnTo>
                    <a:pt x="20643" y="8860"/>
                  </a:lnTo>
                  <a:lnTo>
                    <a:pt x="20643" y="8869"/>
                  </a:lnTo>
                  <a:lnTo>
                    <a:pt x="20643" y="8878"/>
                  </a:lnTo>
                  <a:close/>
                  <a:moveTo>
                    <a:pt x="20635" y="8772"/>
                  </a:moveTo>
                  <a:lnTo>
                    <a:pt x="20635" y="8781"/>
                  </a:lnTo>
                  <a:lnTo>
                    <a:pt x="20643" y="8781"/>
                  </a:lnTo>
                  <a:lnTo>
                    <a:pt x="20643" y="8772"/>
                  </a:lnTo>
                  <a:close/>
                  <a:moveTo>
                    <a:pt x="23025" y="11313"/>
                  </a:moveTo>
                  <a:lnTo>
                    <a:pt x="23034" y="11313"/>
                  </a:lnTo>
                  <a:lnTo>
                    <a:pt x="23043" y="11322"/>
                  </a:lnTo>
                  <a:lnTo>
                    <a:pt x="23043" y="11313"/>
                  </a:lnTo>
                  <a:lnTo>
                    <a:pt x="23034" y="11313"/>
                  </a:lnTo>
                  <a:close/>
                  <a:moveTo>
                    <a:pt x="20414" y="8419"/>
                  </a:moveTo>
                  <a:lnTo>
                    <a:pt x="20405" y="8427"/>
                  </a:lnTo>
                  <a:lnTo>
                    <a:pt x="20405" y="8445"/>
                  </a:lnTo>
                  <a:lnTo>
                    <a:pt x="20423" y="8436"/>
                  </a:lnTo>
                  <a:lnTo>
                    <a:pt x="20423" y="8427"/>
                  </a:lnTo>
                  <a:close/>
                  <a:moveTo>
                    <a:pt x="20837" y="9893"/>
                  </a:moveTo>
                  <a:lnTo>
                    <a:pt x="20837" y="9901"/>
                  </a:lnTo>
                  <a:lnTo>
                    <a:pt x="20846" y="9893"/>
                  </a:lnTo>
                  <a:lnTo>
                    <a:pt x="20846" y="9884"/>
                  </a:lnTo>
                  <a:close/>
                  <a:moveTo>
                    <a:pt x="20767" y="8869"/>
                  </a:moveTo>
                  <a:lnTo>
                    <a:pt x="20758" y="8869"/>
                  </a:lnTo>
                  <a:lnTo>
                    <a:pt x="20758" y="8878"/>
                  </a:lnTo>
                  <a:lnTo>
                    <a:pt x="20767" y="8878"/>
                  </a:lnTo>
                  <a:close/>
                  <a:moveTo>
                    <a:pt x="24737" y="9663"/>
                  </a:moveTo>
                  <a:lnTo>
                    <a:pt x="24746" y="9663"/>
                  </a:lnTo>
                  <a:lnTo>
                    <a:pt x="24746" y="9654"/>
                  </a:lnTo>
                  <a:lnTo>
                    <a:pt x="24737" y="9645"/>
                  </a:lnTo>
                  <a:lnTo>
                    <a:pt x="24728" y="9645"/>
                  </a:lnTo>
                  <a:lnTo>
                    <a:pt x="24719" y="9654"/>
                  </a:lnTo>
                  <a:lnTo>
                    <a:pt x="24719" y="9663"/>
                  </a:lnTo>
                  <a:lnTo>
                    <a:pt x="24719" y="9654"/>
                  </a:lnTo>
                  <a:lnTo>
                    <a:pt x="24728" y="9654"/>
                  </a:lnTo>
                  <a:lnTo>
                    <a:pt x="24728" y="9663"/>
                  </a:lnTo>
                  <a:close/>
                  <a:moveTo>
                    <a:pt x="20352" y="8463"/>
                  </a:moveTo>
                  <a:lnTo>
                    <a:pt x="20361" y="8472"/>
                  </a:lnTo>
                  <a:lnTo>
                    <a:pt x="20370" y="8472"/>
                  </a:lnTo>
                  <a:lnTo>
                    <a:pt x="20370" y="8463"/>
                  </a:lnTo>
                  <a:lnTo>
                    <a:pt x="20361" y="8463"/>
                  </a:lnTo>
                  <a:close/>
                  <a:moveTo>
                    <a:pt x="23264" y="11622"/>
                  </a:moveTo>
                  <a:lnTo>
                    <a:pt x="23255" y="11622"/>
                  </a:lnTo>
                  <a:lnTo>
                    <a:pt x="23255" y="11614"/>
                  </a:lnTo>
                  <a:lnTo>
                    <a:pt x="23264" y="11614"/>
                  </a:lnTo>
                  <a:lnTo>
                    <a:pt x="23255" y="11605"/>
                  </a:lnTo>
                  <a:lnTo>
                    <a:pt x="23255" y="11587"/>
                  </a:lnTo>
                  <a:lnTo>
                    <a:pt x="23255" y="11578"/>
                  </a:lnTo>
                  <a:lnTo>
                    <a:pt x="23255" y="11569"/>
                  </a:lnTo>
                  <a:lnTo>
                    <a:pt x="23255" y="11561"/>
                  </a:lnTo>
                  <a:lnTo>
                    <a:pt x="23255" y="11552"/>
                  </a:lnTo>
                  <a:lnTo>
                    <a:pt x="23255" y="11543"/>
                  </a:lnTo>
                  <a:lnTo>
                    <a:pt x="23255" y="11525"/>
                  </a:lnTo>
                  <a:lnTo>
                    <a:pt x="23255" y="11516"/>
                  </a:lnTo>
                  <a:lnTo>
                    <a:pt x="23237" y="11508"/>
                  </a:lnTo>
                  <a:lnTo>
                    <a:pt x="23228" y="11516"/>
                  </a:lnTo>
                  <a:lnTo>
                    <a:pt x="23219" y="11516"/>
                  </a:lnTo>
                  <a:lnTo>
                    <a:pt x="23211" y="11516"/>
                  </a:lnTo>
                  <a:lnTo>
                    <a:pt x="23202" y="11516"/>
                  </a:lnTo>
                  <a:lnTo>
                    <a:pt x="23202" y="11525"/>
                  </a:lnTo>
                  <a:lnTo>
                    <a:pt x="23193" y="11525"/>
                  </a:lnTo>
                  <a:lnTo>
                    <a:pt x="23184" y="11525"/>
                  </a:lnTo>
                  <a:lnTo>
                    <a:pt x="23175" y="11525"/>
                  </a:lnTo>
                  <a:lnTo>
                    <a:pt x="23167" y="11525"/>
                  </a:lnTo>
                  <a:lnTo>
                    <a:pt x="23158" y="11525"/>
                  </a:lnTo>
                  <a:lnTo>
                    <a:pt x="23158" y="11534"/>
                  </a:lnTo>
                  <a:lnTo>
                    <a:pt x="23149" y="11534"/>
                  </a:lnTo>
                  <a:lnTo>
                    <a:pt x="23149" y="11543"/>
                  </a:lnTo>
                  <a:lnTo>
                    <a:pt x="23140" y="11534"/>
                  </a:lnTo>
                  <a:lnTo>
                    <a:pt x="23140" y="11543"/>
                  </a:lnTo>
                  <a:lnTo>
                    <a:pt x="23131" y="11543"/>
                  </a:lnTo>
                  <a:lnTo>
                    <a:pt x="23114" y="11543"/>
                  </a:lnTo>
                  <a:lnTo>
                    <a:pt x="23096" y="11543"/>
                  </a:lnTo>
                  <a:lnTo>
                    <a:pt x="23078" y="11534"/>
                  </a:lnTo>
                  <a:lnTo>
                    <a:pt x="23069" y="11525"/>
                  </a:lnTo>
                  <a:lnTo>
                    <a:pt x="23061" y="11516"/>
                  </a:lnTo>
                  <a:lnTo>
                    <a:pt x="23052" y="11516"/>
                  </a:lnTo>
                  <a:lnTo>
                    <a:pt x="23043" y="11516"/>
                  </a:lnTo>
                  <a:lnTo>
                    <a:pt x="23034" y="11508"/>
                  </a:lnTo>
                  <a:lnTo>
                    <a:pt x="23025" y="11508"/>
                  </a:lnTo>
                  <a:lnTo>
                    <a:pt x="23017" y="11508"/>
                  </a:lnTo>
                  <a:lnTo>
                    <a:pt x="22999" y="11508"/>
                  </a:lnTo>
                  <a:lnTo>
                    <a:pt x="22999" y="11499"/>
                  </a:lnTo>
                  <a:lnTo>
                    <a:pt x="22990" y="11508"/>
                  </a:lnTo>
                  <a:lnTo>
                    <a:pt x="22990" y="11525"/>
                  </a:lnTo>
                  <a:lnTo>
                    <a:pt x="22990" y="11534"/>
                  </a:lnTo>
                  <a:lnTo>
                    <a:pt x="22990" y="11543"/>
                  </a:lnTo>
                  <a:lnTo>
                    <a:pt x="22999" y="11561"/>
                  </a:lnTo>
                  <a:lnTo>
                    <a:pt x="22999" y="11569"/>
                  </a:lnTo>
                  <a:lnTo>
                    <a:pt x="23008" y="11587"/>
                  </a:lnTo>
                  <a:lnTo>
                    <a:pt x="23017" y="11605"/>
                  </a:lnTo>
                  <a:lnTo>
                    <a:pt x="23034" y="11622"/>
                  </a:lnTo>
                  <a:lnTo>
                    <a:pt x="23034" y="11631"/>
                  </a:lnTo>
                  <a:lnTo>
                    <a:pt x="23043" y="11631"/>
                  </a:lnTo>
                  <a:lnTo>
                    <a:pt x="23043" y="11640"/>
                  </a:lnTo>
                  <a:lnTo>
                    <a:pt x="23052" y="11649"/>
                  </a:lnTo>
                  <a:lnTo>
                    <a:pt x="23052" y="11658"/>
                  </a:lnTo>
                  <a:lnTo>
                    <a:pt x="23052" y="11649"/>
                  </a:lnTo>
                  <a:lnTo>
                    <a:pt x="23043" y="11649"/>
                  </a:lnTo>
                  <a:lnTo>
                    <a:pt x="23034" y="11640"/>
                  </a:lnTo>
                  <a:lnTo>
                    <a:pt x="23034" y="11658"/>
                  </a:lnTo>
                  <a:lnTo>
                    <a:pt x="23034" y="11667"/>
                  </a:lnTo>
                  <a:lnTo>
                    <a:pt x="23052" y="11702"/>
                  </a:lnTo>
                  <a:lnTo>
                    <a:pt x="23061" y="11702"/>
                  </a:lnTo>
                  <a:lnTo>
                    <a:pt x="23069" y="11711"/>
                  </a:lnTo>
                  <a:lnTo>
                    <a:pt x="23078" y="11728"/>
                  </a:lnTo>
                  <a:lnTo>
                    <a:pt x="23087" y="11728"/>
                  </a:lnTo>
                  <a:lnTo>
                    <a:pt x="23096" y="11737"/>
                  </a:lnTo>
                  <a:lnTo>
                    <a:pt x="23105" y="11728"/>
                  </a:lnTo>
                  <a:lnTo>
                    <a:pt x="23105" y="11737"/>
                  </a:lnTo>
                  <a:lnTo>
                    <a:pt x="23096" y="11737"/>
                  </a:lnTo>
                  <a:lnTo>
                    <a:pt x="23087" y="11737"/>
                  </a:lnTo>
                  <a:lnTo>
                    <a:pt x="23087" y="11746"/>
                  </a:lnTo>
                  <a:lnTo>
                    <a:pt x="23096" y="11755"/>
                  </a:lnTo>
                  <a:lnTo>
                    <a:pt x="23105" y="11755"/>
                  </a:lnTo>
                  <a:lnTo>
                    <a:pt x="23122" y="11755"/>
                  </a:lnTo>
                  <a:lnTo>
                    <a:pt x="23131" y="11755"/>
                  </a:lnTo>
                  <a:lnTo>
                    <a:pt x="23140" y="11755"/>
                  </a:lnTo>
                  <a:lnTo>
                    <a:pt x="23149" y="11764"/>
                  </a:lnTo>
                  <a:lnTo>
                    <a:pt x="23158" y="11764"/>
                  </a:lnTo>
                  <a:lnTo>
                    <a:pt x="23158" y="11746"/>
                  </a:lnTo>
                  <a:lnTo>
                    <a:pt x="23167" y="11737"/>
                  </a:lnTo>
                  <a:lnTo>
                    <a:pt x="23167" y="11728"/>
                  </a:lnTo>
                  <a:lnTo>
                    <a:pt x="23158" y="11728"/>
                  </a:lnTo>
                  <a:lnTo>
                    <a:pt x="23158" y="11719"/>
                  </a:lnTo>
                  <a:lnTo>
                    <a:pt x="23167" y="11719"/>
                  </a:lnTo>
                  <a:lnTo>
                    <a:pt x="23175" y="11728"/>
                  </a:lnTo>
                  <a:lnTo>
                    <a:pt x="23184" y="11728"/>
                  </a:lnTo>
                  <a:lnTo>
                    <a:pt x="23184" y="11719"/>
                  </a:lnTo>
                  <a:lnTo>
                    <a:pt x="23184" y="11711"/>
                  </a:lnTo>
                  <a:lnTo>
                    <a:pt x="23184" y="11702"/>
                  </a:lnTo>
                  <a:lnTo>
                    <a:pt x="23184" y="11693"/>
                  </a:lnTo>
                  <a:lnTo>
                    <a:pt x="23184" y="11684"/>
                  </a:lnTo>
                  <a:lnTo>
                    <a:pt x="23193" y="11693"/>
                  </a:lnTo>
                  <a:lnTo>
                    <a:pt x="23193" y="11711"/>
                  </a:lnTo>
                  <a:lnTo>
                    <a:pt x="23202" y="11702"/>
                  </a:lnTo>
                  <a:lnTo>
                    <a:pt x="23202" y="11693"/>
                  </a:lnTo>
                  <a:lnTo>
                    <a:pt x="23211" y="11693"/>
                  </a:lnTo>
                  <a:lnTo>
                    <a:pt x="23219" y="11702"/>
                  </a:lnTo>
                  <a:lnTo>
                    <a:pt x="23211" y="11702"/>
                  </a:lnTo>
                  <a:lnTo>
                    <a:pt x="23211" y="11711"/>
                  </a:lnTo>
                  <a:lnTo>
                    <a:pt x="23211" y="11719"/>
                  </a:lnTo>
                  <a:lnTo>
                    <a:pt x="23219" y="11728"/>
                  </a:lnTo>
                  <a:lnTo>
                    <a:pt x="23228" y="11719"/>
                  </a:lnTo>
                  <a:lnTo>
                    <a:pt x="23237" y="11719"/>
                  </a:lnTo>
                  <a:lnTo>
                    <a:pt x="23237" y="11702"/>
                  </a:lnTo>
                  <a:lnTo>
                    <a:pt x="23228" y="11693"/>
                  </a:lnTo>
                  <a:lnTo>
                    <a:pt x="23228" y="11675"/>
                  </a:lnTo>
                  <a:lnTo>
                    <a:pt x="23228" y="11667"/>
                  </a:lnTo>
                  <a:lnTo>
                    <a:pt x="23237" y="11658"/>
                  </a:lnTo>
                  <a:lnTo>
                    <a:pt x="23237" y="11649"/>
                  </a:lnTo>
                  <a:lnTo>
                    <a:pt x="23237" y="11640"/>
                  </a:lnTo>
                  <a:lnTo>
                    <a:pt x="23237" y="11631"/>
                  </a:lnTo>
                  <a:lnTo>
                    <a:pt x="23246" y="11622"/>
                  </a:lnTo>
                  <a:lnTo>
                    <a:pt x="23246" y="11614"/>
                  </a:lnTo>
                  <a:lnTo>
                    <a:pt x="23255" y="11614"/>
                  </a:lnTo>
                  <a:lnTo>
                    <a:pt x="23255" y="11622"/>
                  </a:lnTo>
                  <a:lnTo>
                    <a:pt x="23246" y="11622"/>
                  </a:lnTo>
                  <a:lnTo>
                    <a:pt x="23255" y="11622"/>
                  </a:lnTo>
                  <a:lnTo>
                    <a:pt x="23255" y="11631"/>
                  </a:lnTo>
                  <a:lnTo>
                    <a:pt x="23255" y="11640"/>
                  </a:lnTo>
                  <a:lnTo>
                    <a:pt x="23264" y="11640"/>
                  </a:lnTo>
                  <a:lnTo>
                    <a:pt x="23264" y="11631"/>
                  </a:lnTo>
                  <a:close/>
                  <a:moveTo>
                    <a:pt x="23246" y="11675"/>
                  </a:moveTo>
                  <a:lnTo>
                    <a:pt x="23246" y="11667"/>
                  </a:lnTo>
                  <a:lnTo>
                    <a:pt x="23237" y="11675"/>
                  </a:lnTo>
                  <a:lnTo>
                    <a:pt x="23237" y="11684"/>
                  </a:lnTo>
                  <a:close/>
                  <a:moveTo>
                    <a:pt x="23193" y="11711"/>
                  </a:moveTo>
                  <a:lnTo>
                    <a:pt x="23184" y="11719"/>
                  </a:lnTo>
                  <a:lnTo>
                    <a:pt x="23184" y="11728"/>
                  </a:lnTo>
                  <a:lnTo>
                    <a:pt x="23193" y="11728"/>
                  </a:lnTo>
                  <a:lnTo>
                    <a:pt x="23193" y="11719"/>
                  </a:lnTo>
                  <a:close/>
                  <a:moveTo>
                    <a:pt x="22999" y="11490"/>
                  </a:moveTo>
                  <a:lnTo>
                    <a:pt x="22999" y="11481"/>
                  </a:lnTo>
                  <a:lnTo>
                    <a:pt x="22990" y="11481"/>
                  </a:lnTo>
                  <a:close/>
                  <a:moveTo>
                    <a:pt x="20670" y="10290"/>
                  </a:moveTo>
                  <a:lnTo>
                    <a:pt x="20670" y="10281"/>
                  </a:lnTo>
                  <a:lnTo>
                    <a:pt x="20661" y="10254"/>
                  </a:lnTo>
                  <a:lnTo>
                    <a:pt x="20661" y="10263"/>
                  </a:lnTo>
                  <a:lnTo>
                    <a:pt x="20661" y="10281"/>
                  </a:lnTo>
                  <a:lnTo>
                    <a:pt x="20679" y="10299"/>
                  </a:lnTo>
                  <a:lnTo>
                    <a:pt x="20679" y="10290"/>
                  </a:lnTo>
                  <a:close/>
                  <a:moveTo>
                    <a:pt x="23184" y="11728"/>
                  </a:moveTo>
                  <a:lnTo>
                    <a:pt x="23184" y="11737"/>
                  </a:lnTo>
                  <a:lnTo>
                    <a:pt x="23175" y="11737"/>
                  </a:lnTo>
                  <a:lnTo>
                    <a:pt x="23175" y="11746"/>
                  </a:lnTo>
                  <a:lnTo>
                    <a:pt x="23167" y="11746"/>
                  </a:lnTo>
                  <a:lnTo>
                    <a:pt x="23175" y="11746"/>
                  </a:lnTo>
                  <a:lnTo>
                    <a:pt x="23184" y="11746"/>
                  </a:lnTo>
                  <a:lnTo>
                    <a:pt x="23193" y="11737"/>
                  </a:lnTo>
                  <a:lnTo>
                    <a:pt x="23184" y="11737"/>
                  </a:lnTo>
                  <a:close/>
                  <a:moveTo>
                    <a:pt x="22496" y="11075"/>
                  </a:moveTo>
                  <a:lnTo>
                    <a:pt x="22487" y="11084"/>
                  </a:lnTo>
                  <a:lnTo>
                    <a:pt x="22470" y="11084"/>
                  </a:lnTo>
                  <a:lnTo>
                    <a:pt x="22470" y="11075"/>
                  </a:lnTo>
                  <a:lnTo>
                    <a:pt x="22478" y="11075"/>
                  </a:lnTo>
                  <a:lnTo>
                    <a:pt x="22470" y="11066"/>
                  </a:lnTo>
                  <a:lnTo>
                    <a:pt x="22452" y="11066"/>
                  </a:lnTo>
                  <a:lnTo>
                    <a:pt x="22434" y="11075"/>
                  </a:lnTo>
                  <a:lnTo>
                    <a:pt x="22399" y="11084"/>
                  </a:lnTo>
                  <a:lnTo>
                    <a:pt x="22390" y="11093"/>
                  </a:lnTo>
                  <a:lnTo>
                    <a:pt x="22399" y="11093"/>
                  </a:lnTo>
                  <a:lnTo>
                    <a:pt x="22408" y="11102"/>
                  </a:lnTo>
                  <a:lnTo>
                    <a:pt x="22425" y="11110"/>
                  </a:lnTo>
                  <a:lnTo>
                    <a:pt x="22425" y="11102"/>
                  </a:lnTo>
                  <a:lnTo>
                    <a:pt x="22434" y="11102"/>
                  </a:lnTo>
                  <a:lnTo>
                    <a:pt x="22443" y="11102"/>
                  </a:lnTo>
                  <a:lnTo>
                    <a:pt x="22452" y="11102"/>
                  </a:lnTo>
                  <a:lnTo>
                    <a:pt x="22461" y="11110"/>
                  </a:lnTo>
                  <a:lnTo>
                    <a:pt x="22470" y="11102"/>
                  </a:lnTo>
                  <a:lnTo>
                    <a:pt x="22470" y="11093"/>
                  </a:lnTo>
                  <a:lnTo>
                    <a:pt x="22478" y="11093"/>
                  </a:lnTo>
                  <a:lnTo>
                    <a:pt x="22487" y="11093"/>
                  </a:lnTo>
                  <a:lnTo>
                    <a:pt x="22505" y="11093"/>
                  </a:lnTo>
                  <a:lnTo>
                    <a:pt x="22514" y="11093"/>
                  </a:lnTo>
                  <a:lnTo>
                    <a:pt x="22505" y="11084"/>
                  </a:lnTo>
                  <a:close/>
                  <a:moveTo>
                    <a:pt x="22955" y="11419"/>
                  </a:moveTo>
                  <a:lnTo>
                    <a:pt x="22946" y="11411"/>
                  </a:lnTo>
                  <a:lnTo>
                    <a:pt x="22946" y="11402"/>
                  </a:lnTo>
                  <a:lnTo>
                    <a:pt x="22937" y="11411"/>
                  </a:lnTo>
                  <a:lnTo>
                    <a:pt x="22937" y="11419"/>
                  </a:lnTo>
                  <a:lnTo>
                    <a:pt x="22928" y="11419"/>
                  </a:lnTo>
                  <a:lnTo>
                    <a:pt x="22928" y="11428"/>
                  </a:lnTo>
                  <a:lnTo>
                    <a:pt x="22928" y="11437"/>
                  </a:lnTo>
                  <a:lnTo>
                    <a:pt x="22937" y="11437"/>
                  </a:lnTo>
                  <a:lnTo>
                    <a:pt x="22937" y="11446"/>
                  </a:lnTo>
                  <a:lnTo>
                    <a:pt x="22937" y="11455"/>
                  </a:lnTo>
                  <a:lnTo>
                    <a:pt x="22946" y="11446"/>
                  </a:lnTo>
                  <a:lnTo>
                    <a:pt x="22955" y="11446"/>
                  </a:lnTo>
                  <a:lnTo>
                    <a:pt x="22955" y="11437"/>
                  </a:lnTo>
                  <a:lnTo>
                    <a:pt x="22946" y="11428"/>
                  </a:lnTo>
                  <a:close/>
                  <a:moveTo>
                    <a:pt x="20837" y="8860"/>
                  </a:moveTo>
                  <a:lnTo>
                    <a:pt x="20846" y="8860"/>
                  </a:lnTo>
                  <a:lnTo>
                    <a:pt x="20846" y="8851"/>
                  </a:lnTo>
                  <a:lnTo>
                    <a:pt x="20837" y="8851"/>
                  </a:lnTo>
                  <a:lnTo>
                    <a:pt x="20829" y="8851"/>
                  </a:lnTo>
                  <a:lnTo>
                    <a:pt x="20829" y="8860"/>
                  </a:lnTo>
                  <a:close/>
                  <a:moveTo>
                    <a:pt x="24455" y="3451"/>
                  </a:moveTo>
                  <a:lnTo>
                    <a:pt x="24463" y="3442"/>
                  </a:lnTo>
                  <a:lnTo>
                    <a:pt x="24455" y="3424"/>
                  </a:lnTo>
                  <a:lnTo>
                    <a:pt x="24455" y="3416"/>
                  </a:lnTo>
                  <a:lnTo>
                    <a:pt x="24428" y="3424"/>
                  </a:lnTo>
                  <a:lnTo>
                    <a:pt x="24393" y="3433"/>
                  </a:lnTo>
                  <a:lnTo>
                    <a:pt x="24393" y="3442"/>
                  </a:lnTo>
                  <a:lnTo>
                    <a:pt x="24393" y="3460"/>
                  </a:lnTo>
                  <a:lnTo>
                    <a:pt x="24384" y="3477"/>
                  </a:lnTo>
                  <a:lnTo>
                    <a:pt x="24366" y="3486"/>
                  </a:lnTo>
                  <a:lnTo>
                    <a:pt x="24375" y="3486"/>
                  </a:lnTo>
                  <a:lnTo>
                    <a:pt x="24384" y="3477"/>
                  </a:lnTo>
                  <a:lnTo>
                    <a:pt x="24410" y="3468"/>
                  </a:lnTo>
                  <a:lnTo>
                    <a:pt x="24437" y="3451"/>
                  </a:lnTo>
                  <a:close/>
                  <a:moveTo>
                    <a:pt x="24287" y="9134"/>
                  </a:moveTo>
                  <a:lnTo>
                    <a:pt x="24278" y="9125"/>
                  </a:lnTo>
                  <a:lnTo>
                    <a:pt x="24269" y="9116"/>
                  </a:lnTo>
                  <a:lnTo>
                    <a:pt x="24261" y="9116"/>
                  </a:lnTo>
                  <a:lnTo>
                    <a:pt x="24252" y="9116"/>
                  </a:lnTo>
                  <a:lnTo>
                    <a:pt x="24243" y="9116"/>
                  </a:lnTo>
                  <a:lnTo>
                    <a:pt x="24243" y="9107"/>
                  </a:lnTo>
                  <a:lnTo>
                    <a:pt x="24225" y="9098"/>
                  </a:lnTo>
                  <a:lnTo>
                    <a:pt x="24216" y="9098"/>
                  </a:lnTo>
                  <a:lnTo>
                    <a:pt x="24216" y="9107"/>
                  </a:lnTo>
                  <a:lnTo>
                    <a:pt x="24225" y="9107"/>
                  </a:lnTo>
                  <a:lnTo>
                    <a:pt x="24225" y="9116"/>
                  </a:lnTo>
                  <a:lnTo>
                    <a:pt x="24234" y="9125"/>
                  </a:lnTo>
                  <a:lnTo>
                    <a:pt x="24252" y="9134"/>
                  </a:lnTo>
                  <a:lnTo>
                    <a:pt x="24261" y="9142"/>
                  </a:lnTo>
                  <a:lnTo>
                    <a:pt x="24269" y="9142"/>
                  </a:lnTo>
                  <a:lnTo>
                    <a:pt x="24278" y="9142"/>
                  </a:lnTo>
                  <a:lnTo>
                    <a:pt x="24287" y="9142"/>
                  </a:lnTo>
                  <a:lnTo>
                    <a:pt x="24296" y="9142"/>
                  </a:lnTo>
                  <a:lnTo>
                    <a:pt x="24287" y="9142"/>
                  </a:lnTo>
                  <a:close/>
                  <a:moveTo>
                    <a:pt x="24340" y="7960"/>
                  </a:moveTo>
                  <a:lnTo>
                    <a:pt x="24331" y="7960"/>
                  </a:lnTo>
                  <a:lnTo>
                    <a:pt x="24340" y="7969"/>
                  </a:lnTo>
                  <a:close/>
                  <a:moveTo>
                    <a:pt x="24172" y="9063"/>
                  </a:moveTo>
                  <a:lnTo>
                    <a:pt x="24163" y="9054"/>
                  </a:lnTo>
                  <a:lnTo>
                    <a:pt x="24155" y="9054"/>
                  </a:lnTo>
                  <a:lnTo>
                    <a:pt x="24146" y="9045"/>
                  </a:lnTo>
                  <a:lnTo>
                    <a:pt x="24119" y="9045"/>
                  </a:lnTo>
                  <a:lnTo>
                    <a:pt x="24102" y="9028"/>
                  </a:lnTo>
                  <a:lnTo>
                    <a:pt x="24093" y="9028"/>
                  </a:lnTo>
                  <a:lnTo>
                    <a:pt x="24093" y="9036"/>
                  </a:lnTo>
                  <a:lnTo>
                    <a:pt x="24093" y="9045"/>
                  </a:lnTo>
                  <a:lnTo>
                    <a:pt x="24093" y="9054"/>
                  </a:lnTo>
                  <a:lnTo>
                    <a:pt x="24102" y="9063"/>
                  </a:lnTo>
                  <a:lnTo>
                    <a:pt x="24111" y="9072"/>
                  </a:lnTo>
                  <a:lnTo>
                    <a:pt x="24119" y="9072"/>
                  </a:lnTo>
                  <a:lnTo>
                    <a:pt x="24146" y="9072"/>
                  </a:lnTo>
                  <a:lnTo>
                    <a:pt x="24155" y="9081"/>
                  </a:lnTo>
                  <a:lnTo>
                    <a:pt x="24163" y="9081"/>
                  </a:lnTo>
                  <a:lnTo>
                    <a:pt x="24172" y="9081"/>
                  </a:lnTo>
                  <a:lnTo>
                    <a:pt x="24181" y="9072"/>
                  </a:lnTo>
                  <a:lnTo>
                    <a:pt x="24181" y="9063"/>
                  </a:lnTo>
                  <a:close/>
                  <a:moveTo>
                    <a:pt x="24137" y="9019"/>
                  </a:moveTo>
                  <a:lnTo>
                    <a:pt x="24146" y="9028"/>
                  </a:lnTo>
                  <a:lnTo>
                    <a:pt x="24146" y="9019"/>
                  </a:lnTo>
                  <a:lnTo>
                    <a:pt x="24137" y="9010"/>
                  </a:lnTo>
                  <a:lnTo>
                    <a:pt x="24128" y="9010"/>
                  </a:lnTo>
                  <a:lnTo>
                    <a:pt x="24128" y="9019"/>
                  </a:lnTo>
                  <a:close/>
                  <a:moveTo>
                    <a:pt x="24605" y="10007"/>
                  </a:moveTo>
                  <a:lnTo>
                    <a:pt x="24613" y="10016"/>
                  </a:lnTo>
                  <a:lnTo>
                    <a:pt x="24622" y="10016"/>
                  </a:lnTo>
                  <a:lnTo>
                    <a:pt x="24631" y="10007"/>
                  </a:lnTo>
                  <a:lnTo>
                    <a:pt x="24631" y="9990"/>
                  </a:lnTo>
                  <a:lnTo>
                    <a:pt x="24622" y="9990"/>
                  </a:lnTo>
                  <a:lnTo>
                    <a:pt x="24613" y="9981"/>
                  </a:lnTo>
                  <a:lnTo>
                    <a:pt x="24605" y="9972"/>
                  </a:lnTo>
                  <a:lnTo>
                    <a:pt x="24596" y="9972"/>
                  </a:lnTo>
                  <a:lnTo>
                    <a:pt x="24578" y="9954"/>
                  </a:lnTo>
                  <a:lnTo>
                    <a:pt x="24560" y="9946"/>
                  </a:lnTo>
                  <a:lnTo>
                    <a:pt x="24552" y="9946"/>
                  </a:lnTo>
                  <a:lnTo>
                    <a:pt x="24552" y="9937"/>
                  </a:lnTo>
                  <a:lnTo>
                    <a:pt x="24543" y="9937"/>
                  </a:lnTo>
                  <a:lnTo>
                    <a:pt x="24543" y="9928"/>
                  </a:lnTo>
                  <a:lnTo>
                    <a:pt x="24534" y="9928"/>
                  </a:lnTo>
                  <a:lnTo>
                    <a:pt x="24525" y="9919"/>
                  </a:lnTo>
                  <a:lnTo>
                    <a:pt x="24516" y="9910"/>
                  </a:lnTo>
                  <a:lnTo>
                    <a:pt x="24516" y="9901"/>
                  </a:lnTo>
                  <a:lnTo>
                    <a:pt x="24508" y="9901"/>
                  </a:lnTo>
                  <a:lnTo>
                    <a:pt x="24508" y="9893"/>
                  </a:lnTo>
                  <a:lnTo>
                    <a:pt x="24499" y="9893"/>
                  </a:lnTo>
                  <a:lnTo>
                    <a:pt x="24490" y="9893"/>
                  </a:lnTo>
                  <a:lnTo>
                    <a:pt x="24481" y="9884"/>
                  </a:lnTo>
                  <a:lnTo>
                    <a:pt x="24455" y="9857"/>
                  </a:lnTo>
                  <a:lnTo>
                    <a:pt x="24446" y="9857"/>
                  </a:lnTo>
                  <a:lnTo>
                    <a:pt x="24437" y="9857"/>
                  </a:lnTo>
                  <a:lnTo>
                    <a:pt x="24428" y="9848"/>
                  </a:lnTo>
                  <a:lnTo>
                    <a:pt x="24419" y="9840"/>
                  </a:lnTo>
                  <a:lnTo>
                    <a:pt x="24419" y="9848"/>
                  </a:lnTo>
                  <a:lnTo>
                    <a:pt x="24419" y="9857"/>
                  </a:lnTo>
                  <a:lnTo>
                    <a:pt x="24428" y="9857"/>
                  </a:lnTo>
                  <a:lnTo>
                    <a:pt x="24419" y="9866"/>
                  </a:lnTo>
                  <a:lnTo>
                    <a:pt x="24428" y="9866"/>
                  </a:lnTo>
                  <a:lnTo>
                    <a:pt x="24437" y="9884"/>
                  </a:lnTo>
                  <a:lnTo>
                    <a:pt x="24437" y="9893"/>
                  </a:lnTo>
                  <a:lnTo>
                    <a:pt x="24446" y="9893"/>
                  </a:lnTo>
                  <a:lnTo>
                    <a:pt x="24455" y="9901"/>
                  </a:lnTo>
                  <a:lnTo>
                    <a:pt x="24463" y="9910"/>
                  </a:lnTo>
                  <a:lnTo>
                    <a:pt x="24472" y="9928"/>
                  </a:lnTo>
                  <a:lnTo>
                    <a:pt x="24481" y="9928"/>
                  </a:lnTo>
                  <a:lnTo>
                    <a:pt x="24490" y="9937"/>
                  </a:lnTo>
                  <a:lnTo>
                    <a:pt x="24508" y="9946"/>
                  </a:lnTo>
                  <a:lnTo>
                    <a:pt x="24508" y="9954"/>
                  </a:lnTo>
                  <a:lnTo>
                    <a:pt x="24516" y="9954"/>
                  </a:lnTo>
                  <a:lnTo>
                    <a:pt x="24534" y="9963"/>
                  </a:lnTo>
                  <a:lnTo>
                    <a:pt x="24543" y="9972"/>
                  </a:lnTo>
                  <a:lnTo>
                    <a:pt x="24552" y="9981"/>
                  </a:lnTo>
                  <a:lnTo>
                    <a:pt x="24569" y="9981"/>
                  </a:lnTo>
                  <a:lnTo>
                    <a:pt x="24569" y="9990"/>
                  </a:lnTo>
                  <a:lnTo>
                    <a:pt x="24578" y="9998"/>
                  </a:lnTo>
                  <a:lnTo>
                    <a:pt x="24587" y="9998"/>
                  </a:lnTo>
                  <a:lnTo>
                    <a:pt x="24596" y="9998"/>
                  </a:lnTo>
                  <a:lnTo>
                    <a:pt x="24596" y="10007"/>
                  </a:lnTo>
                  <a:close/>
                  <a:moveTo>
                    <a:pt x="24225" y="9063"/>
                  </a:moveTo>
                  <a:lnTo>
                    <a:pt x="24234" y="9063"/>
                  </a:lnTo>
                  <a:lnTo>
                    <a:pt x="24234" y="9054"/>
                  </a:lnTo>
                  <a:lnTo>
                    <a:pt x="24225" y="9036"/>
                  </a:lnTo>
                  <a:lnTo>
                    <a:pt x="24216" y="9036"/>
                  </a:lnTo>
                  <a:lnTo>
                    <a:pt x="24225" y="9045"/>
                  </a:lnTo>
                  <a:lnTo>
                    <a:pt x="24225" y="9054"/>
                  </a:lnTo>
                  <a:close/>
                  <a:moveTo>
                    <a:pt x="24216" y="9054"/>
                  </a:moveTo>
                  <a:lnTo>
                    <a:pt x="24216" y="9045"/>
                  </a:lnTo>
                  <a:lnTo>
                    <a:pt x="24208" y="9036"/>
                  </a:lnTo>
                  <a:lnTo>
                    <a:pt x="24208" y="9028"/>
                  </a:lnTo>
                  <a:lnTo>
                    <a:pt x="24208" y="9019"/>
                  </a:lnTo>
                  <a:lnTo>
                    <a:pt x="24208" y="9010"/>
                  </a:lnTo>
                  <a:lnTo>
                    <a:pt x="24199" y="9001"/>
                  </a:lnTo>
                  <a:lnTo>
                    <a:pt x="24190" y="9001"/>
                  </a:lnTo>
                  <a:lnTo>
                    <a:pt x="24190" y="8992"/>
                  </a:lnTo>
                  <a:lnTo>
                    <a:pt x="24190" y="8984"/>
                  </a:lnTo>
                  <a:lnTo>
                    <a:pt x="24172" y="8957"/>
                  </a:lnTo>
                  <a:lnTo>
                    <a:pt x="24172" y="8966"/>
                  </a:lnTo>
                  <a:lnTo>
                    <a:pt x="24163" y="8966"/>
                  </a:lnTo>
                  <a:lnTo>
                    <a:pt x="24163" y="8957"/>
                  </a:lnTo>
                  <a:lnTo>
                    <a:pt x="24163" y="8966"/>
                  </a:lnTo>
                  <a:lnTo>
                    <a:pt x="24172" y="8975"/>
                  </a:lnTo>
                  <a:lnTo>
                    <a:pt x="24163" y="8984"/>
                  </a:lnTo>
                  <a:lnTo>
                    <a:pt x="24172" y="9010"/>
                  </a:lnTo>
                  <a:lnTo>
                    <a:pt x="24181" y="9019"/>
                  </a:lnTo>
                  <a:lnTo>
                    <a:pt x="24190" y="9028"/>
                  </a:lnTo>
                  <a:lnTo>
                    <a:pt x="24199" y="9036"/>
                  </a:lnTo>
                  <a:lnTo>
                    <a:pt x="24208" y="9036"/>
                  </a:lnTo>
                  <a:close/>
                  <a:moveTo>
                    <a:pt x="23864" y="4272"/>
                  </a:moveTo>
                  <a:lnTo>
                    <a:pt x="23855" y="4272"/>
                  </a:lnTo>
                  <a:lnTo>
                    <a:pt x="23837" y="4280"/>
                  </a:lnTo>
                  <a:lnTo>
                    <a:pt x="23846" y="4289"/>
                  </a:lnTo>
                  <a:lnTo>
                    <a:pt x="23855" y="4289"/>
                  </a:lnTo>
                  <a:lnTo>
                    <a:pt x="23864" y="4280"/>
                  </a:lnTo>
                  <a:close/>
                  <a:moveTo>
                    <a:pt x="24719" y="9504"/>
                  </a:moveTo>
                  <a:lnTo>
                    <a:pt x="24719" y="9522"/>
                  </a:lnTo>
                  <a:lnTo>
                    <a:pt x="24719" y="9531"/>
                  </a:lnTo>
                  <a:lnTo>
                    <a:pt x="24728" y="9531"/>
                  </a:lnTo>
                  <a:lnTo>
                    <a:pt x="24728" y="9522"/>
                  </a:lnTo>
                  <a:lnTo>
                    <a:pt x="24719" y="9495"/>
                  </a:lnTo>
                  <a:lnTo>
                    <a:pt x="24719" y="9487"/>
                  </a:lnTo>
                  <a:close/>
                  <a:moveTo>
                    <a:pt x="24719" y="9451"/>
                  </a:moveTo>
                  <a:lnTo>
                    <a:pt x="24710" y="9451"/>
                  </a:lnTo>
                  <a:lnTo>
                    <a:pt x="24710" y="9460"/>
                  </a:lnTo>
                  <a:lnTo>
                    <a:pt x="24719" y="9478"/>
                  </a:lnTo>
                  <a:lnTo>
                    <a:pt x="24719" y="9487"/>
                  </a:lnTo>
                  <a:lnTo>
                    <a:pt x="24719" y="9478"/>
                  </a:lnTo>
                  <a:lnTo>
                    <a:pt x="24719" y="9469"/>
                  </a:lnTo>
                  <a:close/>
                  <a:moveTo>
                    <a:pt x="24605" y="9434"/>
                  </a:moveTo>
                  <a:lnTo>
                    <a:pt x="24605" y="9425"/>
                  </a:lnTo>
                  <a:lnTo>
                    <a:pt x="24596" y="9434"/>
                  </a:lnTo>
                  <a:lnTo>
                    <a:pt x="24596" y="9442"/>
                  </a:lnTo>
                  <a:lnTo>
                    <a:pt x="24605" y="9469"/>
                  </a:lnTo>
                  <a:lnTo>
                    <a:pt x="24605" y="9487"/>
                  </a:lnTo>
                  <a:lnTo>
                    <a:pt x="24613" y="9495"/>
                  </a:lnTo>
                  <a:lnTo>
                    <a:pt x="24613" y="9504"/>
                  </a:lnTo>
                  <a:lnTo>
                    <a:pt x="24622" y="9504"/>
                  </a:lnTo>
                  <a:lnTo>
                    <a:pt x="24631" y="9495"/>
                  </a:lnTo>
                  <a:lnTo>
                    <a:pt x="24640" y="9495"/>
                  </a:lnTo>
                  <a:lnTo>
                    <a:pt x="24649" y="9495"/>
                  </a:lnTo>
                  <a:lnTo>
                    <a:pt x="24649" y="9487"/>
                  </a:lnTo>
                  <a:lnTo>
                    <a:pt x="24640" y="9469"/>
                  </a:lnTo>
                  <a:lnTo>
                    <a:pt x="24640" y="9460"/>
                  </a:lnTo>
                  <a:lnTo>
                    <a:pt x="24640" y="9451"/>
                  </a:lnTo>
                  <a:lnTo>
                    <a:pt x="24631" y="9451"/>
                  </a:lnTo>
                  <a:lnTo>
                    <a:pt x="24631" y="9460"/>
                  </a:lnTo>
                  <a:lnTo>
                    <a:pt x="24631" y="9469"/>
                  </a:lnTo>
                  <a:lnTo>
                    <a:pt x="24622" y="9469"/>
                  </a:lnTo>
                  <a:lnTo>
                    <a:pt x="24613" y="9442"/>
                  </a:lnTo>
                  <a:close/>
                  <a:moveTo>
                    <a:pt x="24702" y="9548"/>
                  </a:moveTo>
                  <a:lnTo>
                    <a:pt x="24710" y="9557"/>
                  </a:lnTo>
                  <a:lnTo>
                    <a:pt x="24719" y="9557"/>
                  </a:lnTo>
                  <a:lnTo>
                    <a:pt x="24728" y="9557"/>
                  </a:lnTo>
                  <a:lnTo>
                    <a:pt x="24728" y="9548"/>
                  </a:lnTo>
                  <a:lnTo>
                    <a:pt x="24719" y="9540"/>
                  </a:lnTo>
                  <a:lnTo>
                    <a:pt x="24710" y="9540"/>
                  </a:lnTo>
                  <a:close/>
                  <a:moveTo>
                    <a:pt x="24578" y="3822"/>
                  </a:moveTo>
                  <a:lnTo>
                    <a:pt x="24552" y="3822"/>
                  </a:lnTo>
                  <a:lnTo>
                    <a:pt x="24543" y="3830"/>
                  </a:lnTo>
                  <a:lnTo>
                    <a:pt x="24560" y="3839"/>
                  </a:lnTo>
                  <a:lnTo>
                    <a:pt x="24560" y="3848"/>
                  </a:lnTo>
                  <a:lnTo>
                    <a:pt x="24569" y="3848"/>
                  </a:lnTo>
                  <a:lnTo>
                    <a:pt x="24569" y="3857"/>
                  </a:lnTo>
                  <a:lnTo>
                    <a:pt x="24578" y="3866"/>
                  </a:lnTo>
                  <a:lnTo>
                    <a:pt x="24587" y="3874"/>
                  </a:lnTo>
                  <a:lnTo>
                    <a:pt x="24596" y="3874"/>
                  </a:lnTo>
                  <a:lnTo>
                    <a:pt x="24596" y="3883"/>
                  </a:lnTo>
                  <a:lnTo>
                    <a:pt x="24605" y="3892"/>
                  </a:lnTo>
                  <a:lnTo>
                    <a:pt x="24605" y="3874"/>
                  </a:lnTo>
                  <a:lnTo>
                    <a:pt x="24605" y="3866"/>
                  </a:lnTo>
                  <a:lnTo>
                    <a:pt x="24596" y="3866"/>
                  </a:lnTo>
                  <a:lnTo>
                    <a:pt x="24587" y="3857"/>
                  </a:lnTo>
                  <a:lnTo>
                    <a:pt x="24578" y="3839"/>
                  </a:lnTo>
                  <a:lnTo>
                    <a:pt x="24578" y="3830"/>
                  </a:lnTo>
                  <a:close/>
                  <a:moveTo>
                    <a:pt x="24613" y="9204"/>
                  </a:moveTo>
                  <a:lnTo>
                    <a:pt x="24622" y="9204"/>
                  </a:lnTo>
                  <a:lnTo>
                    <a:pt x="24631" y="9204"/>
                  </a:lnTo>
                  <a:lnTo>
                    <a:pt x="24622" y="9204"/>
                  </a:lnTo>
                  <a:close/>
                  <a:moveTo>
                    <a:pt x="24622" y="7536"/>
                  </a:moveTo>
                  <a:close/>
                  <a:moveTo>
                    <a:pt x="24631" y="8392"/>
                  </a:moveTo>
                  <a:lnTo>
                    <a:pt x="24631" y="8383"/>
                  </a:lnTo>
                  <a:lnTo>
                    <a:pt x="24622" y="8383"/>
                  </a:lnTo>
                  <a:lnTo>
                    <a:pt x="24622" y="8392"/>
                  </a:lnTo>
                  <a:close/>
                  <a:moveTo>
                    <a:pt x="24578" y="12399"/>
                  </a:moveTo>
                  <a:lnTo>
                    <a:pt x="24569" y="12399"/>
                  </a:lnTo>
                  <a:lnTo>
                    <a:pt x="24569" y="12408"/>
                  </a:lnTo>
                  <a:lnTo>
                    <a:pt x="24560" y="12417"/>
                  </a:lnTo>
                  <a:lnTo>
                    <a:pt x="24552" y="12426"/>
                  </a:lnTo>
                  <a:lnTo>
                    <a:pt x="24552" y="12434"/>
                  </a:lnTo>
                  <a:lnTo>
                    <a:pt x="24560" y="12434"/>
                  </a:lnTo>
                  <a:lnTo>
                    <a:pt x="24560" y="12426"/>
                  </a:lnTo>
                  <a:lnTo>
                    <a:pt x="24560" y="12434"/>
                  </a:lnTo>
                  <a:lnTo>
                    <a:pt x="24569" y="12434"/>
                  </a:lnTo>
                  <a:lnTo>
                    <a:pt x="24578" y="12434"/>
                  </a:lnTo>
                  <a:lnTo>
                    <a:pt x="24578" y="12426"/>
                  </a:lnTo>
                  <a:lnTo>
                    <a:pt x="24569" y="12417"/>
                  </a:lnTo>
                  <a:lnTo>
                    <a:pt x="24578" y="12417"/>
                  </a:lnTo>
                  <a:lnTo>
                    <a:pt x="24578" y="12408"/>
                  </a:lnTo>
                  <a:close/>
                  <a:moveTo>
                    <a:pt x="23978" y="8975"/>
                  </a:moveTo>
                  <a:lnTo>
                    <a:pt x="23969" y="8975"/>
                  </a:lnTo>
                  <a:lnTo>
                    <a:pt x="23961" y="8975"/>
                  </a:lnTo>
                  <a:lnTo>
                    <a:pt x="23961" y="8984"/>
                  </a:lnTo>
                  <a:lnTo>
                    <a:pt x="23969" y="8992"/>
                  </a:lnTo>
                  <a:lnTo>
                    <a:pt x="23978" y="8984"/>
                  </a:lnTo>
                  <a:close/>
                  <a:moveTo>
                    <a:pt x="23943" y="8992"/>
                  </a:moveTo>
                  <a:lnTo>
                    <a:pt x="23934" y="8992"/>
                  </a:lnTo>
                  <a:close/>
                  <a:moveTo>
                    <a:pt x="24155" y="9213"/>
                  </a:moveTo>
                  <a:lnTo>
                    <a:pt x="24128" y="9195"/>
                  </a:lnTo>
                  <a:lnTo>
                    <a:pt x="24119" y="9195"/>
                  </a:lnTo>
                  <a:lnTo>
                    <a:pt x="24119" y="9204"/>
                  </a:lnTo>
                  <a:lnTo>
                    <a:pt x="24128" y="9204"/>
                  </a:lnTo>
                  <a:lnTo>
                    <a:pt x="24137" y="9204"/>
                  </a:lnTo>
                  <a:lnTo>
                    <a:pt x="24146" y="9213"/>
                  </a:lnTo>
                  <a:lnTo>
                    <a:pt x="24155" y="9222"/>
                  </a:lnTo>
                  <a:lnTo>
                    <a:pt x="24163" y="9213"/>
                  </a:lnTo>
                  <a:close/>
                  <a:moveTo>
                    <a:pt x="23961" y="8975"/>
                  </a:moveTo>
                  <a:lnTo>
                    <a:pt x="23961" y="8957"/>
                  </a:lnTo>
                  <a:lnTo>
                    <a:pt x="23952" y="8957"/>
                  </a:lnTo>
                  <a:lnTo>
                    <a:pt x="23943" y="8957"/>
                  </a:lnTo>
                  <a:lnTo>
                    <a:pt x="23943" y="8948"/>
                  </a:lnTo>
                  <a:lnTo>
                    <a:pt x="23943" y="8939"/>
                  </a:lnTo>
                  <a:lnTo>
                    <a:pt x="23934" y="8931"/>
                  </a:lnTo>
                  <a:lnTo>
                    <a:pt x="23925" y="8939"/>
                  </a:lnTo>
                  <a:lnTo>
                    <a:pt x="23925" y="8948"/>
                  </a:lnTo>
                  <a:lnTo>
                    <a:pt x="23916" y="8948"/>
                  </a:lnTo>
                  <a:lnTo>
                    <a:pt x="23916" y="8957"/>
                  </a:lnTo>
                  <a:lnTo>
                    <a:pt x="23925" y="8957"/>
                  </a:lnTo>
                  <a:lnTo>
                    <a:pt x="23934" y="8957"/>
                  </a:lnTo>
                  <a:lnTo>
                    <a:pt x="23943" y="8957"/>
                  </a:lnTo>
                  <a:lnTo>
                    <a:pt x="23943" y="8966"/>
                  </a:lnTo>
                  <a:lnTo>
                    <a:pt x="23943" y="8975"/>
                  </a:lnTo>
                  <a:lnTo>
                    <a:pt x="23952" y="8975"/>
                  </a:lnTo>
                  <a:lnTo>
                    <a:pt x="23961" y="8984"/>
                  </a:lnTo>
                  <a:close/>
                  <a:moveTo>
                    <a:pt x="23908" y="8931"/>
                  </a:moveTo>
                  <a:lnTo>
                    <a:pt x="23899" y="8931"/>
                  </a:lnTo>
                  <a:lnTo>
                    <a:pt x="23899" y="8939"/>
                  </a:lnTo>
                  <a:lnTo>
                    <a:pt x="23899" y="8948"/>
                  </a:lnTo>
                  <a:lnTo>
                    <a:pt x="23908" y="8948"/>
                  </a:lnTo>
                  <a:lnTo>
                    <a:pt x="23908" y="8939"/>
                  </a:lnTo>
                  <a:lnTo>
                    <a:pt x="23916" y="8939"/>
                  </a:lnTo>
                  <a:close/>
                  <a:moveTo>
                    <a:pt x="23864" y="8931"/>
                  </a:moveTo>
                  <a:lnTo>
                    <a:pt x="23864" y="8939"/>
                  </a:lnTo>
                  <a:lnTo>
                    <a:pt x="23864" y="8948"/>
                  </a:lnTo>
                  <a:lnTo>
                    <a:pt x="23872" y="8948"/>
                  </a:lnTo>
                  <a:close/>
                  <a:moveTo>
                    <a:pt x="23872" y="8904"/>
                  </a:moveTo>
                  <a:lnTo>
                    <a:pt x="23864" y="8904"/>
                  </a:lnTo>
                  <a:lnTo>
                    <a:pt x="23864" y="8913"/>
                  </a:lnTo>
                  <a:lnTo>
                    <a:pt x="23872" y="8922"/>
                  </a:lnTo>
                  <a:lnTo>
                    <a:pt x="23872" y="8931"/>
                  </a:lnTo>
                  <a:lnTo>
                    <a:pt x="23881" y="8922"/>
                  </a:lnTo>
                  <a:lnTo>
                    <a:pt x="23881" y="8913"/>
                  </a:lnTo>
                  <a:close/>
                  <a:moveTo>
                    <a:pt x="23916" y="8886"/>
                  </a:moveTo>
                  <a:lnTo>
                    <a:pt x="23925" y="8886"/>
                  </a:lnTo>
                  <a:lnTo>
                    <a:pt x="23925" y="8895"/>
                  </a:lnTo>
                  <a:lnTo>
                    <a:pt x="23934" y="8895"/>
                  </a:lnTo>
                  <a:lnTo>
                    <a:pt x="23934" y="8886"/>
                  </a:lnTo>
                  <a:lnTo>
                    <a:pt x="23925" y="8886"/>
                  </a:lnTo>
                  <a:lnTo>
                    <a:pt x="23908" y="8878"/>
                  </a:lnTo>
                  <a:lnTo>
                    <a:pt x="23908" y="8869"/>
                  </a:lnTo>
                  <a:lnTo>
                    <a:pt x="23908" y="8860"/>
                  </a:lnTo>
                  <a:lnTo>
                    <a:pt x="23899" y="8851"/>
                  </a:lnTo>
                  <a:lnTo>
                    <a:pt x="23881" y="8842"/>
                  </a:lnTo>
                  <a:lnTo>
                    <a:pt x="23872" y="8833"/>
                  </a:lnTo>
                  <a:lnTo>
                    <a:pt x="23864" y="8833"/>
                  </a:lnTo>
                  <a:lnTo>
                    <a:pt x="23855" y="8833"/>
                  </a:lnTo>
                  <a:lnTo>
                    <a:pt x="23855" y="8842"/>
                  </a:lnTo>
                  <a:lnTo>
                    <a:pt x="23864" y="8842"/>
                  </a:lnTo>
                  <a:lnTo>
                    <a:pt x="23872" y="8860"/>
                  </a:lnTo>
                  <a:lnTo>
                    <a:pt x="23890" y="8878"/>
                  </a:lnTo>
                  <a:lnTo>
                    <a:pt x="23908" y="8886"/>
                  </a:lnTo>
                  <a:close/>
                  <a:moveTo>
                    <a:pt x="23925" y="8975"/>
                  </a:moveTo>
                  <a:lnTo>
                    <a:pt x="23925" y="8966"/>
                  </a:lnTo>
                  <a:lnTo>
                    <a:pt x="23916" y="8975"/>
                  </a:lnTo>
                  <a:lnTo>
                    <a:pt x="23925" y="8992"/>
                  </a:lnTo>
                  <a:lnTo>
                    <a:pt x="23925" y="8984"/>
                  </a:lnTo>
                  <a:close/>
                  <a:moveTo>
                    <a:pt x="23987" y="8984"/>
                  </a:moveTo>
                  <a:lnTo>
                    <a:pt x="23987" y="8992"/>
                  </a:lnTo>
                  <a:lnTo>
                    <a:pt x="23987" y="9001"/>
                  </a:lnTo>
                  <a:lnTo>
                    <a:pt x="23987" y="8992"/>
                  </a:lnTo>
                  <a:close/>
                  <a:moveTo>
                    <a:pt x="24111" y="9769"/>
                  </a:moveTo>
                  <a:lnTo>
                    <a:pt x="24111" y="9778"/>
                  </a:lnTo>
                  <a:lnTo>
                    <a:pt x="24119" y="9778"/>
                  </a:lnTo>
                  <a:lnTo>
                    <a:pt x="24119" y="9769"/>
                  </a:lnTo>
                  <a:close/>
                  <a:moveTo>
                    <a:pt x="24102" y="8975"/>
                  </a:moveTo>
                  <a:lnTo>
                    <a:pt x="24111" y="8975"/>
                  </a:lnTo>
                  <a:lnTo>
                    <a:pt x="24102" y="8966"/>
                  </a:lnTo>
                  <a:lnTo>
                    <a:pt x="24111" y="8957"/>
                  </a:lnTo>
                  <a:lnTo>
                    <a:pt x="24075" y="8939"/>
                  </a:lnTo>
                  <a:lnTo>
                    <a:pt x="24066" y="8939"/>
                  </a:lnTo>
                  <a:lnTo>
                    <a:pt x="24058" y="8931"/>
                  </a:lnTo>
                  <a:lnTo>
                    <a:pt x="24049" y="8931"/>
                  </a:lnTo>
                  <a:lnTo>
                    <a:pt x="24049" y="8922"/>
                  </a:lnTo>
                  <a:lnTo>
                    <a:pt x="24040" y="8922"/>
                  </a:lnTo>
                  <a:lnTo>
                    <a:pt x="24031" y="8913"/>
                  </a:lnTo>
                  <a:lnTo>
                    <a:pt x="24022" y="8904"/>
                  </a:lnTo>
                  <a:lnTo>
                    <a:pt x="24005" y="8904"/>
                  </a:lnTo>
                  <a:lnTo>
                    <a:pt x="24013" y="8913"/>
                  </a:lnTo>
                  <a:lnTo>
                    <a:pt x="24013" y="8922"/>
                  </a:lnTo>
                  <a:lnTo>
                    <a:pt x="24022" y="8922"/>
                  </a:lnTo>
                  <a:lnTo>
                    <a:pt x="24031" y="8931"/>
                  </a:lnTo>
                  <a:lnTo>
                    <a:pt x="24040" y="8939"/>
                  </a:lnTo>
                  <a:lnTo>
                    <a:pt x="24049" y="8948"/>
                  </a:lnTo>
                  <a:lnTo>
                    <a:pt x="24066" y="8948"/>
                  </a:lnTo>
                  <a:lnTo>
                    <a:pt x="24075" y="8957"/>
                  </a:lnTo>
                  <a:lnTo>
                    <a:pt x="24093" y="8966"/>
                  </a:lnTo>
                  <a:close/>
                  <a:moveTo>
                    <a:pt x="19249" y="6918"/>
                  </a:moveTo>
                  <a:lnTo>
                    <a:pt x="19249" y="6927"/>
                  </a:lnTo>
                  <a:lnTo>
                    <a:pt x="19258" y="6918"/>
                  </a:lnTo>
                  <a:lnTo>
                    <a:pt x="19267" y="6918"/>
                  </a:lnTo>
                  <a:lnTo>
                    <a:pt x="19267" y="6909"/>
                  </a:lnTo>
                  <a:lnTo>
                    <a:pt x="19258" y="6909"/>
                  </a:lnTo>
                  <a:lnTo>
                    <a:pt x="19249" y="6901"/>
                  </a:lnTo>
                  <a:lnTo>
                    <a:pt x="19241" y="6901"/>
                  </a:lnTo>
                  <a:lnTo>
                    <a:pt x="19241" y="6909"/>
                  </a:lnTo>
                  <a:close/>
                  <a:moveTo>
                    <a:pt x="23996" y="7845"/>
                  </a:moveTo>
                  <a:lnTo>
                    <a:pt x="23987" y="7845"/>
                  </a:lnTo>
                  <a:lnTo>
                    <a:pt x="23978" y="7845"/>
                  </a:lnTo>
                  <a:lnTo>
                    <a:pt x="23987" y="7845"/>
                  </a:lnTo>
                  <a:lnTo>
                    <a:pt x="23987" y="7854"/>
                  </a:lnTo>
                  <a:lnTo>
                    <a:pt x="23996" y="7854"/>
                  </a:lnTo>
                  <a:close/>
                  <a:moveTo>
                    <a:pt x="24031" y="12814"/>
                  </a:moveTo>
                  <a:lnTo>
                    <a:pt x="24031" y="12823"/>
                  </a:lnTo>
                  <a:lnTo>
                    <a:pt x="24040" y="12814"/>
                  </a:lnTo>
                  <a:lnTo>
                    <a:pt x="24040" y="12805"/>
                  </a:lnTo>
                  <a:lnTo>
                    <a:pt x="24040" y="12796"/>
                  </a:lnTo>
                  <a:close/>
                  <a:moveTo>
                    <a:pt x="24058" y="9010"/>
                  </a:moveTo>
                  <a:lnTo>
                    <a:pt x="24049" y="9010"/>
                  </a:lnTo>
                  <a:lnTo>
                    <a:pt x="24049" y="9019"/>
                  </a:lnTo>
                  <a:lnTo>
                    <a:pt x="24058" y="9019"/>
                  </a:lnTo>
                  <a:lnTo>
                    <a:pt x="24066" y="9019"/>
                  </a:lnTo>
                  <a:close/>
                  <a:moveTo>
                    <a:pt x="13921" y="2957"/>
                  </a:moveTo>
                  <a:lnTo>
                    <a:pt x="13903" y="2957"/>
                  </a:lnTo>
                  <a:lnTo>
                    <a:pt x="13912" y="2965"/>
                  </a:lnTo>
                  <a:lnTo>
                    <a:pt x="13921" y="2974"/>
                  </a:lnTo>
                  <a:lnTo>
                    <a:pt x="13921" y="2965"/>
                  </a:lnTo>
                  <a:lnTo>
                    <a:pt x="13930" y="2965"/>
                  </a:lnTo>
                  <a:lnTo>
                    <a:pt x="13930" y="2957"/>
                  </a:lnTo>
                  <a:lnTo>
                    <a:pt x="13921" y="2965"/>
                  </a:lnTo>
                  <a:close/>
                  <a:moveTo>
                    <a:pt x="14344" y="5525"/>
                  </a:moveTo>
                  <a:lnTo>
                    <a:pt x="14344" y="5516"/>
                  </a:lnTo>
                  <a:lnTo>
                    <a:pt x="14335" y="5516"/>
                  </a:lnTo>
                  <a:lnTo>
                    <a:pt x="14335" y="5507"/>
                  </a:lnTo>
                  <a:lnTo>
                    <a:pt x="14335" y="5516"/>
                  </a:lnTo>
                  <a:lnTo>
                    <a:pt x="14335" y="5525"/>
                  </a:lnTo>
                  <a:close/>
                  <a:moveTo>
                    <a:pt x="13189" y="3786"/>
                  </a:moveTo>
                  <a:lnTo>
                    <a:pt x="13181" y="3786"/>
                  </a:lnTo>
                  <a:lnTo>
                    <a:pt x="13172" y="3777"/>
                  </a:lnTo>
                  <a:lnTo>
                    <a:pt x="13163" y="3786"/>
                  </a:lnTo>
                  <a:lnTo>
                    <a:pt x="13163" y="3795"/>
                  </a:lnTo>
                  <a:lnTo>
                    <a:pt x="13172" y="3795"/>
                  </a:lnTo>
                  <a:lnTo>
                    <a:pt x="13172" y="3804"/>
                  </a:lnTo>
                  <a:lnTo>
                    <a:pt x="13181" y="3813"/>
                  </a:lnTo>
                  <a:lnTo>
                    <a:pt x="13181" y="3822"/>
                  </a:lnTo>
                  <a:lnTo>
                    <a:pt x="13189" y="3839"/>
                  </a:lnTo>
                  <a:lnTo>
                    <a:pt x="13198" y="3839"/>
                  </a:lnTo>
                  <a:lnTo>
                    <a:pt x="13215" y="3839"/>
                  </a:lnTo>
                  <a:lnTo>
                    <a:pt x="13215" y="3848"/>
                  </a:lnTo>
                  <a:lnTo>
                    <a:pt x="13215" y="3857"/>
                  </a:lnTo>
                  <a:lnTo>
                    <a:pt x="13224" y="3857"/>
                  </a:lnTo>
                  <a:lnTo>
                    <a:pt x="13224" y="3866"/>
                  </a:lnTo>
                  <a:lnTo>
                    <a:pt x="13233" y="3883"/>
                  </a:lnTo>
                  <a:lnTo>
                    <a:pt x="13241" y="3874"/>
                  </a:lnTo>
                  <a:lnTo>
                    <a:pt x="13241" y="3866"/>
                  </a:lnTo>
                  <a:lnTo>
                    <a:pt x="13241" y="3857"/>
                  </a:lnTo>
                  <a:lnTo>
                    <a:pt x="13241" y="3848"/>
                  </a:lnTo>
                  <a:lnTo>
                    <a:pt x="13241" y="3839"/>
                  </a:lnTo>
                  <a:lnTo>
                    <a:pt x="13259" y="3830"/>
                  </a:lnTo>
                  <a:lnTo>
                    <a:pt x="13268" y="3830"/>
                  </a:lnTo>
                  <a:lnTo>
                    <a:pt x="13268" y="3822"/>
                  </a:lnTo>
                  <a:lnTo>
                    <a:pt x="13259" y="3813"/>
                  </a:lnTo>
                  <a:lnTo>
                    <a:pt x="13259" y="3804"/>
                  </a:lnTo>
                  <a:lnTo>
                    <a:pt x="13259" y="3795"/>
                  </a:lnTo>
                  <a:lnTo>
                    <a:pt x="13268" y="3795"/>
                  </a:lnTo>
                  <a:lnTo>
                    <a:pt x="13277" y="3795"/>
                  </a:lnTo>
                  <a:lnTo>
                    <a:pt x="13277" y="3786"/>
                  </a:lnTo>
                  <a:lnTo>
                    <a:pt x="13277" y="3777"/>
                  </a:lnTo>
                  <a:lnTo>
                    <a:pt x="13277" y="3760"/>
                  </a:lnTo>
                  <a:lnTo>
                    <a:pt x="13285" y="3751"/>
                  </a:lnTo>
                  <a:lnTo>
                    <a:pt x="13277" y="3742"/>
                  </a:lnTo>
                  <a:lnTo>
                    <a:pt x="13268" y="3742"/>
                  </a:lnTo>
                  <a:lnTo>
                    <a:pt x="13259" y="3742"/>
                  </a:lnTo>
                  <a:lnTo>
                    <a:pt x="13241" y="3751"/>
                  </a:lnTo>
                  <a:lnTo>
                    <a:pt x="13233" y="3760"/>
                  </a:lnTo>
                  <a:lnTo>
                    <a:pt x="13233" y="3769"/>
                  </a:lnTo>
                  <a:lnTo>
                    <a:pt x="13233" y="3777"/>
                  </a:lnTo>
                  <a:lnTo>
                    <a:pt x="13224" y="3786"/>
                  </a:lnTo>
                  <a:lnTo>
                    <a:pt x="13215" y="3786"/>
                  </a:lnTo>
                  <a:lnTo>
                    <a:pt x="13215" y="3769"/>
                  </a:lnTo>
                  <a:lnTo>
                    <a:pt x="13215" y="3760"/>
                  </a:lnTo>
                  <a:lnTo>
                    <a:pt x="13198" y="3760"/>
                  </a:lnTo>
                  <a:lnTo>
                    <a:pt x="13198" y="3769"/>
                  </a:lnTo>
                  <a:lnTo>
                    <a:pt x="13189" y="3777"/>
                  </a:lnTo>
                  <a:close/>
                  <a:moveTo>
                    <a:pt x="13277" y="3804"/>
                  </a:moveTo>
                  <a:lnTo>
                    <a:pt x="13285" y="3795"/>
                  </a:lnTo>
                  <a:lnTo>
                    <a:pt x="13285" y="3786"/>
                  </a:lnTo>
                  <a:lnTo>
                    <a:pt x="13277" y="3795"/>
                  </a:lnTo>
                  <a:close/>
                  <a:moveTo>
                    <a:pt x="12978" y="3857"/>
                  </a:moveTo>
                  <a:lnTo>
                    <a:pt x="12978" y="3848"/>
                  </a:lnTo>
                  <a:lnTo>
                    <a:pt x="12969" y="3866"/>
                  </a:lnTo>
                  <a:lnTo>
                    <a:pt x="12969" y="3883"/>
                  </a:lnTo>
                  <a:lnTo>
                    <a:pt x="12969" y="3874"/>
                  </a:lnTo>
                  <a:lnTo>
                    <a:pt x="12987" y="3874"/>
                  </a:lnTo>
                  <a:lnTo>
                    <a:pt x="12995" y="3866"/>
                  </a:lnTo>
                  <a:lnTo>
                    <a:pt x="12978" y="3866"/>
                  </a:lnTo>
                  <a:lnTo>
                    <a:pt x="12969" y="3866"/>
                  </a:lnTo>
                  <a:close/>
                  <a:moveTo>
                    <a:pt x="12819" y="4007"/>
                  </a:moveTo>
                  <a:lnTo>
                    <a:pt x="12810" y="4007"/>
                  </a:lnTo>
                  <a:lnTo>
                    <a:pt x="12810" y="4016"/>
                  </a:lnTo>
                  <a:lnTo>
                    <a:pt x="12828" y="4007"/>
                  </a:lnTo>
                  <a:close/>
                  <a:moveTo>
                    <a:pt x="12792" y="4016"/>
                  </a:moveTo>
                  <a:lnTo>
                    <a:pt x="12775" y="4016"/>
                  </a:lnTo>
                  <a:close/>
                  <a:moveTo>
                    <a:pt x="12854" y="3998"/>
                  </a:moveTo>
                  <a:lnTo>
                    <a:pt x="12845" y="3998"/>
                  </a:lnTo>
                  <a:close/>
                  <a:moveTo>
                    <a:pt x="13277" y="3857"/>
                  </a:moveTo>
                  <a:lnTo>
                    <a:pt x="13268" y="3857"/>
                  </a:lnTo>
                  <a:lnTo>
                    <a:pt x="13259" y="3857"/>
                  </a:lnTo>
                  <a:lnTo>
                    <a:pt x="13259" y="3848"/>
                  </a:lnTo>
                  <a:lnTo>
                    <a:pt x="13259" y="3857"/>
                  </a:lnTo>
                  <a:lnTo>
                    <a:pt x="13250" y="3857"/>
                  </a:lnTo>
                  <a:lnTo>
                    <a:pt x="13250" y="3866"/>
                  </a:lnTo>
                  <a:lnTo>
                    <a:pt x="13268" y="3866"/>
                  </a:lnTo>
                  <a:lnTo>
                    <a:pt x="13277" y="3866"/>
                  </a:lnTo>
                  <a:close/>
                  <a:moveTo>
                    <a:pt x="13084" y="3848"/>
                  </a:moveTo>
                  <a:lnTo>
                    <a:pt x="13075" y="3848"/>
                  </a:lnTo>
                  <a:lnTo>
                    <a:pt x="13075" y="3866"/>
                  </a:lnTo>
                  <a:lnTo>
                    <a:pt x="13084" y="3866"/>
                  </a:lnTo>
                  <a:lnTo>
                    <a:pt x="13092" y="3874"/>
                  </a:lnTo>
                  <a:lnTo>
                    <a:pt x="13101" y="3866"/>
                  </a:lnTo>
                  <a:lnTo>
                    <a:pt x="13092" y="3857"/>
                  </a:lnTo>
                  <a:close/>
                  <a:moveTo>
                    <a:pt x="12766" y="4016"/>
                  </a:moveTo>
                  <a:lnTo>
                    <a:pt x="12757" y="4016"/>
                  </a:lnTo>
                  <a:lnTo>
                    <a:pt x="12740" y="4024"/>
                  </a:lnTo>
                  <a:lnTo>
                    <a:pt x="12748" y="4024"/>
                  </a:lnTo>
                  <a:close/>
                  <a:moveTo>
                    <a:pt x="13119" y="3866"/>
                  </a:moveTo>
                  <a:lnTo>
                    <a:pt x="13110" y="3866"/>
                  </a:lnTo>
                  <a:lnTo>
                    <a:pt x="13119" y="3874"/>
                  </a:lnTo>
                  <a:lnTo>
                    <a:pt x="13128" y="3874"/>
                  </a:lnTo>
                  <a:lnTo>
                    <a:pt x="13128" y="3866"/>
                  </a:lnTo>
                  <a:close/>
                  <a:moveTo>
                    <a:pt x="13128" y="3777"/>
                  </a:moveTo>
                  <a:lnTo>
                    <a:pt x="13137" y="3777"/>
                  </a:lnTo>
                  <a:lnTo>
                    <a:pt x="13137" y="3769"/>
                  </a:lnTo>
                  <a:lnTo>
                    <a:pt x="13145" y="3769"/>
                  </a:lnTo>
                  <a:lnTo>
                    <a:pt x="13137" y="3760"/>
                  </a:lnTo>
                  <a:lnTo>
                    <a:pt x="13128" y="3760"/>
                  </a:lnTo>
                  <a:lnTo>
                    <a:pt x="13137" y="3769"/>
                  </a:lnTo>
                  <a:lnTo>
                    <a:pt x="13128" y="3769"/>
                  </a:lnTo>
                  <a:close/>
                  <a:moveTo>
                    <a:pt x="13145" y="3883"/>
                  </a:moveTo>
                  <a:lnTo>
                    <a:pt x="13145" y="3874"/>
                  </a:lnTo>
                  <a:lnTo>
                    <a:pt x="13163" y="3848"/>
                  </a:lnTo>
                  <a:lnTo>
                    <a:pt x="13163" y="3839"/>
                  </a:lnTo>
                  <a:lnTo>
                    <a:pt x="13154" y="3848"/>
                  </a:lnTo>
                  <a:lnTo>
                    <a:pt x="13145" y="3866"/>
                  </a:lnTo>
                  <a:lnTo>
                    <a:pt x="13137" y="3874"/>
                  </a:lnTo>
                  <a:close/>
                  <a:moveTo>
                    <a:pt x="13321" y="3919"/>
                  </a:moveTo>
                  <a:lnTo>
                    <a:pt x="13330" y="3927"/>
                  </a:lnTo>
                  <a:lnTo>
                    <a:pt x="13338" y="3936"/>
                  </a:lnTo>
                  <a:lnTo>
                    <a:pt x="13347" y="3936"/>
                  </a:lnTo>
                  <a:lnTo>
                    <a:pt x="13347" y="3927"/>
                  </a:lnTo>
                  <a:lnTo>
                    <a:pt x="13356" y="3927"/>
                  </a:lnTo>
                  <a:lnTo>
                    <a:pt x="13365" y="3927"/>
                  </a:lnTo>
                  <a:lnTo>
                    <a:pt x="13365" y="3919"/>
                  </a:lnTo>
                  <a:lnTo>
                    <a:pt x="13356" y="3919"/>
                  </a:lnTo>
                  <a:lnTo>
                    <a:pt x="13356" y="3910"/>
                  </a:lnTo>
                  <a:lnTo>
                    <a:pt x="13365" y="3901"/>
                  </a:lnTo>
                  <a:lnTo>
                    <a:pt x="13356" y="3901"/>
                  </a:lnTo>
                  <a:lnTo>
                    <a:pt x="13347" y="3901"/>
                  </a:lnTo>
                  <a:lnTo>
                    <a:pt x="13347" y="3892"/>
                  </a:lnTo>
                  <a:lnTo>
                    <a:pt x="13338" y="3892"/>
                  </a:lnTo>
                  <a:lnTo>
                    <a:pt x="13330" y="3892"/>
                  </a:lnTo>
                  <a:lnTo>
                    <a:pt x="13330" y="3901"/>
                  </a:lnTo>
                  <a:lnTo>
                    <a:pt x="13330" y="3910"/>
                  </a:lnTo>
                  <a:close/>
                  <a:moveTo>
                    <a:pt x="13207" y="3892"/>
                  </a:moveTo>
                  <a:lnTo>
                    <a:pt x="13215" y="3892"/>
                  </a:lnTo>
                  <a:lnTo>
                    <a:pt x="13224" y="3892"/>
                  </a:lnTo>
                  <a:lnTo>
                    <a:pt x="13224" y="3883"/>
                  </a:lnTo>
                  <a:lnTo>
                    <a:pt x="13224" y="3874"/>
                  </a:lnTo>
                  <a:lnTo>
                    <a:pt x="13215" y="3874"/>
                  </a:lnTo>
                  <a:lnTo>
                    <a:pt x="13207" y="3874"/>
                  </a:lnTo>
                  <a:lnTo>
                    <a:pt x="13189" y="3866"/>
                  </a:lnTo>
                  <a:lnTo>
                    <a:pt x="13172" y="3866"/>
                  </a:lnTo>
                  <a:lnTo>
                    <a:pt x="13172" y="3883"/>
                  </a:lnTo>
                  <a:lnTo>
                    <a:pt x="13198" y="3892"/>
                  </a:lnTo>
                  <a:close/>
                  <a:moveTo>
                    <a:pt x="13172" y="3901"/>
                  </a:moveTo>
                  <a:lnTo>
                    <a:pt x="13172" y="3910"/>
                  </a:lnTo>
                  <a:lnTo>
                    <a:pt x="13163" y="3910"/>
                  </a:lnTo>
                  <a:lnTo>
                    <a:pt x="13172" y="3910"/>
                  </a:lnTo>
                  <a:lnTo>
                    <a:pt x="13172" y="3919"/>
                  </a:lnTo>
                  <a:lnTo>
                    <a:pt x="13189" y="3919"/>
                  </a:lnTo>
                  <a:lnTo>
                    <a:pt x="13181" y="3910"/>
                  </a:lnTo>
                  <a:close/>
                  <a:moveTo>
                    <a:pt x="13163" y="3619"/>
                  </a:moveTo>
                  <a:lnTo>
                    <a:pt x="13154" y="3619"/>
                  </a:lnTo>
                  <a:lnTo>
                    <a:pt x="13163" y="3627"/>
                  </a:lnTo>
                  <a:lnTo>
                    <a:pt x="13172" y="3627"/>
                  </a:lnTo>
                  <a:lnTo>
                    <a:pt x="13172" y="3619"/>
                  </a:lnTo>
                  <a:lnTo>
                    <a:pt x="13181" y="3619"/>
                  </a:lnTo>
                  <a:lnTo>
                    <a:pt x="13172" y="3619"/>
                  </a:lnTo>
                  <a:close/>
                  <a:moveTo>
                    <a:pt x="13154" y="3848"/>
                  </a:moveTo>
                  <a:lnTo>
                    <a:pt x="13154" y="3839"/>
                  </a:lnTo>
                  <a:lnTo>
                    <a:pt x="13154" y="3830"/>
                  </a:lnTo>
                  <a:lnTo>
                    <a:pt x="13154" y="3822"/>
                  </a:lnTo>
                  <a:lnTo>
                    <a:pt x="13145" y="3813"/>
                  </a:lnTo>
                  <a:lnTo>
                    <a:pt x="13145" y="3804"/>
                  </a:lnTo>
                  <a:lnTo>
                    <a:pt x="13137" y="3795"/>
                  </a:lnTo>
                  <a:lnTo>
                    <a:pt x="13128" y="3804"/>
                  </a:lnTo>
                  <a:lnTo>
                    <a:pt x="13119" y="3795"/>
                  </a:lnTo>
                  <a:lnTo>
                    <a:pt x="13110" y="3795"/>
                  </a:lnTo>
                  <a:lnTo>
                    <a:pt x="13092" y="3804"/>
                  </a:lnTo>
                  <a:lnTo>
                    <a:pt x="13084" y="3804"/>
                  </a:lnTo>
                  <a:lnTo>
                    <a:pt x="13084" y="3822"/>
                  </a:lnTo>
                  <a:lnTo>
                    <a:pt x="13084" y="3830"/>
                  </a:lnTo>
                  <a:lnTo>
                    <a:pt x="13092" y="3839"/>
                  </a:lnTo>
                  <a:lnTo>
                    <a:pt x="13110" y="3848"/>
                  </a:lnTo>
                  <a:lnTo>
                    <a:pt x="13128" y="3857"/>
                  </a:lnTo>
                  <a:lnTo>
                    <a:pt x="13137" y="3848"/>
                  </a:lnTo>
                  <a:close/>
                  <a:moveTo>
                    <a:pt x="13638" y="5013"/>
                  </a:moveTo>
                  <a:lnTo>
                    <a:pt x="13630" y="5013"/>
                  </a:lnTo>
                  <a:lnTo>
                    <a:pt x="13665" y="5022"/>
                  </a:lnTo>
                  <a:lnTo>
                    <a:pt x="13647" y="5022"/>
                  </a:lnTo>
                  <a:close/>
                  <a:moveTo>
                    <a:pt x="14891" y="5631"/>
                  </a:moveTo>
                  <a:lnTo>
                    <a:pt x="14900" y="5631"/>
                  </a:lnTo>
                  <a:lnTo>
                    <a:pt x="14882" y="5631"/>
                  </a:lnTo>
                  <a:lnTo>
                    <a:pt x="14874" y="5640"/>
                  </a:lnTo>
                  <a:lnTo>
                    <a:pt x="14865" y="5648"/>
                  </a:lnTo>
                  <a:lnTo>
                    <a:pt x="14829" y="5657"/>
                  </a:lnTo>
                  <a:lnTo>
                    <a:pt x="14821" y="5657"/>
                  </a:lnTo>
                  <a:lnTo>
                    <a:pt x="14803" y="5657"/>
                  </a:lnTo>
                  <a:lnTo>
                    <a:pt x="14794" y="5657"/>
                  </a:lnTo>
                  <a:lnTo>
                    <a:pt x="14776" y="5648"/>
                  </a:lnTo>
                  <a:lnTo>
                    <a:pt x="14776" y="5657"/>
                  </a:lnTo>
                  <a:lnTo>
                    <a:pt x="14776" y="5666"/>
                  </a:lnTo>
                  <a:lnTo>
                    <a:pt x="14768" y="5675"/>
                  </a:lnTo>
                  <a:lnTo>
                    <a:pt x="14759" y="5666"/>
                  </a:lnTo>
                  <a:lnTo>
                    <a:pt x="14750" y="5675"/>
                  </a:lnTo>
                  <a:lnTo>
                    <a:pt x="14741" y="5675"/>
                  </a:lnTo>
                  <a:lnTo>
                    <a:pt x="14741" y="5684"/>
                  </a:lnTo>
                  <a:lnTo>
                    <a:pt x="14732" y="5675"/>
                  </a:lnTo>
                  <a:lnTo>
                    <a:pt x="14732" y="5693"/>
                  </a:lnTo>
                  <a:lnTo>
                    <a:pt x="14741" y="5701"/>
                  </a:lnTo>
                  <a:lnTo>
                    <a:pt x="14741" y="5710"/>
                  </a:lnTo>
                  <a:lnTo>
                    <a:pt x="14750" y="5710"/>
                  </a:lnTo>
                  <a:lnTo>
                    <a:pt x="14759" y="5710"/>
                  </a:lnTo>
                  <a:lnTo>
                    <a:pt x="14768" y="5710"/>
                  </a:lnTo>
                  <a:lnTo>
                    <a:pt x="14776" y="5710"/>
                  </a:lnTo>
                  <a:lnTo>
                    <a:pt x="14776" y="5719"/>
                  </a:lnTo>
                  <a:lnTo>
                    <a:pt x="14785" y="5719"/>
                  </a:lnTo>
                  <a:lnTo>
                    <a:pt x="14785" y="5710"/>
                  </a:lnTo>
                  <a:lnTo>
                    <a:pt x="14794" y="5710"/>
                  </a:lnTo>
                  <a:lnTo>
                    <a:pt x="14803" y="5710"/>
                  </a:lnTo>
                  <a:lnTo>
                    <a:pt x="14812" y="5701"/>
                  </a:lnTo>
                  <a:lnTo>
                    <a:pt x="14821" y="5701"/>
                  </a:lnTo>
                  <a:lnTo>
                    <a:pt x="14838" y="5684"/>
                  </a:lnTo>
                  <a:lnTo>
                    <a:pt x="14847" y="5684"/>
                  </a:lnTo>
                  <a:lnTo>
                    <a:pt x="14856" y="5684"/>
                  </a:lnTo>
                  <a:lnTo>
                    <a:pt x="14856" y="5675"/>
                  </a:lnTo>
                  <a:lnTo>
                    <a:pt x="14847" y="5675"/>
                  </a:lnTo>
                  <a:lnTo>
                    <a:pt x="14847" y="5666"/>
                  </a:lnTo>
                  <a:lnTo>
                    <a:pt x="14856" y="5657"/>
                  </a:lnTo>
                  <a:close/>
                  <a:moveTo>
                    <a:pt x="14688" y="4704"/>
                  </a:moveTo>
                  <a:lnTo>
                    <a:pt x="14706" y="4713"/>
                  </a:lnTo>
                  <a:lnTo>
                    <a:pt x="14724" y="4713"/>
                  </a:lnTo>
                  <a:lnTo>
                    <a:pt x="14706" y="4713"/>
                  </a:lnTo>
                  <a:lnTo>
                    <a:pt x="14679" y="4704"/>
                  </a:lnTo>
                  <a:lnTo>
                    <a:pt x="14679" y="4695"/>
                  </a:lnTo>
                  <a:lnTo>
                    <a:pt x="14671" y="4695"/>
                  </a:lnTo>
                  <a:lnTo>
                    <a:pt x="14679" y="4704"/>
                  </a:lnTo>
                  <a:close/>
                  <a:moveTo>
                    <a:pt x="12272" y="4748"/>
                  </a:moveTo>
                  <a:lnTo>
                    <a:pt x="12272" y="4739"/>
                  </a:lnTo>
                  <a:lnTo>
                    <a:pt x="12263" y="4731"/>
                  </a:lnTo>
                  <a:lnTo>
                    <a:pt x="12254" y="4722"/>
                  </a:lnTo>
                  <a:lnTo>
                    <a:pt x="12254" y="4731"/>
                  </a:lnTo>
                  <a:lnTo>
                    <a:pt x="12263" y="4739"/>
                  </a:lnTo>
                  <a:close/>
                  <a:moveTo>
                    <a:pt x="14406" y="5551"/>
                  </a:moveTo>
                  <a:lnTo>
                    <a:pt x="14397" y="5551"/>
                  </a:lnTo>
                  <a:lnTo>
                    <a:pt x="14406" y="5560"/>
                  </a:lnTo>
                  <a:close/>
                  <a:moveTo>
                    <a:pt x="14344" y="5454"/>
                  </a:moveTo>
                  <a:lnTo>
                    <a:pt x="14335" y="5454"/>
                  </a:lnTo>
                  <a:lnTo>
                    <a:pt x="14327" y="5445"/>
                  </a:lnTo>
                  <a:lnTo>
                    <a:pt x="14318" y="5454"/>
                  </a:lnTo>
                  <a:lnTo>
                    <a:pt x="14309" y="5454"/>
                  </a:lnTo>
                  <a:lnTo>
                    <a:pt x="14318" y="5454"/>
                  </a:lnTo>
                  <a:lnTo>
                    <a:pt x="14327" y="5463"/>
                  </a:lnTo>
                  <a:close/>
                  <a:moveTo>
                    <a:pt x="13594" y="4978"/>
                  </a:moveTo>
                  <a:lnTo>
                    <a:pt x="13594" y="4969"/>
                  </a:lnTo>
                  <a:lnTo>
                    <a:pt x="13577" y="4960"/>
                  </a:lnTo>
                  <a:lnTo>
                    <a:pt x="13568" y="4960"/>
                  </a:lnTo>
                  <a:lnTo>
                    <a:pt x="13568" y="4969"/>
                  </a:lnTo>
                  <a:lnTo>
                    <a:pt x="13577" y="4978"/>
                  </a:lnTo>
                  <a:close/>
                  <a:moveTo>
                    <a:pt x="14397" y="5604"/>
                  </a:moveTo>
                  <a:lnTo>
                    <a:pt x="14397" y="5613"/>
                  </a:lnTo>
                  <a:lnTo>
                    <a:pt x="14406" y="5604"/>
                  </a:lnTo>
                  <a:lnTo>
                    <a:pt x="14415" y="5595"/>
                  </a:lnTo>
                  <a:lnTo>
                    <a:pt x="14424" y="5595"/>
                  </a:lnTo>
                  <a:lnTo>
                    <a:pt x="14424" y="5587"/>
                  </a:lnTo>
                  <a:lnTo>
                    <a:pt x="14432" y="5569"/>
                  </a:lnTo>
                  <a:lnTo>
                    <a:pt x="14424" y="5569"/>
                  </a:lnTo>
                  <a:lnTo>
                    <a:pt x="14406" y="5569"/>
                  </a:lnTo>
                  <a:lnTo>
                    <a:pt x="14397" y="5578"/>
                  </a:lnTo>
                  <a:lnTo>
                    <a:pt x="14397" y="5587"/>
                  </a:lnTo>
                  <a:lnTo>
                    <a:pt x="14397" y="5595"/>
                  </a:lnTo>
                  <a:close/>
                  <a:moveTo>
                    <a:pt x="13559" y="4978"/>
                  </a:moveTo>
                  <a:lnTo>
                    <a:pt x="13577" y="4986"/>
                  </a:lnTo>
                  <a:lnTo>
                    <a:pt x="13585" y="4986"/>
                  </a:lnTo>
                  <a:lnTo>
                    <a:pt x="13612" y="4986"/>
                  </a:lnTo>
                  <a:lnTo>
                    <a:pt x="13621" y="4986"/>
                  </a:lnTo>
                  <a:lnTo>
                    <a:pt x="13612" y="4986"/>
                  </a:lnTo>
                  <a:lnTo>
                    <a:pt x="13585" y="4986"/>
                  </a:lnTo>
                  <a:lnTo>
                    <a:pt x="13585" y="4978"/>
                  </a:lnTo>
                  <a:lnTo>
                    <a:pt x="13568" y="4978"/>
                  </a:lnTo>
                  <a:close/>
                  <a:moveTo>
                    <a:pt x="13471" y="4916"/>
                  </a:moveTo>
                  <a:lnTo>
                    <a:pt x="13453" y="4898"/>
                  </a:lnTo>
                  <a:lnTo>
                    <a:pt x="13453" y="4889"/>
                  </a:lnTo>
                  <a:lnTo>
                    <a:pt x="13453" y="4898"/>
                  </a:lnTo>
                  <a:close/>
                  <a:moveTo>
                    <a:pt x="13453" y="4863"/>
                  </a:moveTo>
                  <a:lnTo>
                    <a:pt x="13462" y="4872"/>
                  </a:lnTo>
                  <a:lnTo>
                    <a:pt x="13471" y="4881"/>
                  </a:lnTo>
                  <a:lnTo>
                    <a:pt x="13480" y="4881"/>
                  </a:lnTo>
                  <a:lnTo>
                    <a:pt x="13471" y="4872"/>
                  </a:lnTo>
                  <a:lnTo>
                    <a:pt x="13462" y="4863"/>
                  </a:lnTo>
                  <a:lnTo>
                    <a:pt x="13453" y="4854"/>
                  </a:lnTo>
                  <a:lnTo>
                    <a:pt x="13444" y="4854"/>
                  </a:lnTo>
                  <a:lnTo>
                    <a:pt x="13444" y="4845"/>
                  </a:lnTo>
                  <a:close/>
                  <a:moveTo>
                    <a:pt x="13480" y="4907"/>
                  </a:moveTo>
                  <a:lnTo>
                    <a:pt x="13462" y="4898"/>
                  </a:lnTo>
                  <a:lnTo>
                    <a:pt x="13471" y="4898"/>
                  </a:lnTo>
                  <a:close/>
                  <a:moveTo>
                    <a:pt x="13585" y="5004"/>
                  </a:moveTo>
                  <a:lnTo>
                    <a:pt x="13594" y="5004"/>
                  </a:lnTo>
                  <a:lnTo>
                    <a:pt x="13603" y="5004"/>
                  </a:lnTo>
                  <a:lnTo>
                    <a:pt x="13612" y="5004"/>
                  </a:lnTo>
                  <a:lnTo>
                    <a:pt x="13621" y="5004"/>
                  </a:lnTo>
                  <a:lnTo>
                    <a:pt x="13612" y="5004"/>
                  </a:lnTo>
                  <a:lnTo>
                    <a:pt x="13603" y="4995"/>
                  </a:lnTo>
                  <a:lnTo>
                    <a:pt x="13594" y="5004"/>
                  </a:lnTo>
                  <a:lnTo>
                    <a:pt x="13577" y="4995"/>
                  </a:lnTo>
                  <a:close/>
                  <a:moveTo>
                    <a:pt x="13444" y="4836"/>
                  </a:moveTo>
                  <a:lnTo>
                    <a:pt x="13453" y="4845"/>
                  </a:lnTo>
                  <a:lnTo>
                    <a:pt x="13444" y="4836"/>
                  </a:lnTo>
                  <a:lnTo>
                    <a:pt x="13435" y="4836"/>
                  </a:lnTo>
                  <a:close/>
                  <a:moveTo>
                    <a:pt x="13427" y="4819"/>
                  </a:moveTo>
                  <a:lnTo>
                    <a:pt x="13435" y="4819"/>
                  </a:lnTo>
                  <a:lnTo>
                    <a:pt x="13444" y="4819"/>
                  </a:lnTo>
                  <a:lnTo>
                    <a:pt x="13444" y="4810"/>
                  </a:lnTo>
                  <a:lnTo>
                    <a:pt x="13435" y="4810"/>
                  </a:lnTo>
                  <a:lnTo>
                    <a:pt x="13435" y="4801"/>
                  </a:lnTo>
                  <a:lnTo>
                    <a:pt x="13427" y="4801"/>
                  </a:lnTo>
                  <a:lnTo>
                    <a:pt x="13418" y="4810"/>
                  </a:lnTo>
                  <a:close/>
                  <a:moveTo>
                    <a:pt x="13480" y="4916"/>
                  </a:moveTo>
                  <a:lnTo>
                    <a:pt x="13488" y="4916"/>
                  </a:lnTo>
                  <a:lnTo>
                    <a:pt x="13488" y="4907"/>
                  </a:lnTo>
                  <a:lnTo>
                    <a:pt x="13480" y="4907"/>
                  </a:lnTo>
                  <a:close/>
                  <a:moveTo>
                    <a:pt x="13409" y="4828"/>
                  </a:moveTo>
                  <a:lnTo>
                    <a:pt x="13418" y="4836"/>
                  </a:lnTo>
                  <a:lnTo>
                    <a:pt x="13418" y="4845"/>
                  </a:lnTo>
                  <a:lnTo>
                    <a:pt x="13418" y="4854"/>
                  </a:lnTo>
                  <a:lnTo>
                    <a:pt x="13418" y="4845"/>
                  </a:lnTo>
                  <a:lnTo>
                    <a:pt x="13418" y="4828"/>
                  </a:lnTo>
                  <a:lnTo>
                    <a:pt x="13418" y="4819"/>
                  </a:lnTo>
                  <a:lnTo>
                    <a:pt x="13409" y="4810"/>
                  </a:lnTo>
                  <a:lnTo>
                    <a:pt x="13409" y="4801"/>
                  </a:lnTo>
                  <a:lnTo>
                    <a:pt x="13409" y="4819"/>
                  </a:lnTo>
                  <a:close/>
                  <a:moveTo>
                    <a:pt x="12978" y="3883"/>
                  </a:moveTo>
                  <a:lnTo>
                    <a:pt x="12978" y="3892"/>
                  </a:lnTo>
                  <a:lnTo>
                    <a:pt x="12987" y="3892"/>
                  </a:lnTo>
                  <a:lnTo>
                    <a:pt x="12987" y="3883"/>
                  </a:lnTo>
                  <a:close/>
                  <a:moveTo>
                    <a:pt x="17511" y="2551"/>
                  </a:moveTo>
                  <a:lnTo>
                    <a:pt x="17494" y="2551"/>
                  </a:lnTo>
                  <a:lnTo>
                    <a:pt x="17485" y="2542"/>
                  </a:lnTo>
                  <a:lnTo>
                    <a:pt x="17476" y="2542"/>
                  </a:lnTo>
                  <a:lnTo>
                    <a:pt x="17467" y="2542"/>
                  </a:lnTo>
                  <a:lnTo>
                    <a:pt x="17476" y="2568"/>
                  </a:lnTo>
                  <a:lnTo>
                    <a:pt x="17494" y="2577"/>
                  </a:lnTo>
                  <a:lnTo>
                    <a:pt x="17503" y="2568"/>
                  </a:lnTo>
                  <a:lnTo>
                    <a:pt x="17511" y="2568"/>
                  </a:lnTo>
                  <a:lnTo>
                    <a:pt x="17503" y="2559"/>
                  </a:lnTo>
                  <a:close/>
                  <a:moveTo>
                    <a:pt x="26210" y="9381"/>
                  </a:moveTo>
                  <a:lnTo>
                    <a:pt x="26201" y="9372"/>
                  </a:lnTo>
                  <a:lnTo>
                    <a:pt x="26184" y="9363"/>
                  </a:lnTo>
                  <a:lnTo>
                    <a:pt x="26175" y="9372"/>
                  </a:lnTo>
                  <a:lnTo>
                    <a:pt x="26184" y="9381"/>
                  </a:lnTo>
                  <a:lnTo>
                    <a:pt x="26193" y="9381"/>
                  </a:lnTo>
                  <a:lnTo>
                    <a:pt x="26219" y="9381"/>
                  </a:lnTo>
                  <a:close/>
                  <a:moveTo>
                    <a:pt x="26237" y="9036"/>
                  </a:moveTo>
                  <a:close/>
                  <a:moveTo>
                    <a:pt x="13956" y="3310"/>
                  </a:moveTo>
                  <a:lnTo>
                    <a:pt x="13956" y="3318"/>
                  </a:lnTo>
                  <a:lnTo>
                    <a:pt x="13965" y="3310"/>
                  </a:lnTo>
                  <a:close/>
                  <a:moveTo>
                    <a:pt x="26201" y="8560"/>
                  </a:moveTo>
                  <a:lnTo>
                    <a:pt x="26201" y="8551"/>
                  </a:lnTo>
                  <a:lnTo>
                    <a:pt x="26193" y="8551"/>
                  </a:lnTo>
                  <a:lnTo>
                    <a:pt x="26201" y="8551"/>
                  </a:lnTo>
                  <a:close/>
                  <a:moveTo>
                    <a:pt x="14185" y="2754"/>
                  </a:moveTo>
                  <a:lnTo>
                    <a:pt x="14194" y="2754"/>
                  </a:lnTo>
                  <a:lnTo>
                    <a:pt x="14194" y="2745"/>
                  </a:lnTo>
                  <a:lnTo>
                    <a:pt x="14177" y="2745"/>
                  </a:lnTo>
                  <a:lnTo>
                    <a:pt x="14168" y="2745"/>
                  </a:lnTo>
                  <a:lnTo>
                    <a:pt x="14168" y="2754"/>
                  </a:lnTo>
                  <a:lnTo>
                    <a:pt x="14177" y="2762"/>
                  </a:lnTo>
                  <a:close/>
                  <a:moveTo>
                    <a:pt x="14988" y="2736"/>
                  </a:moveTo>
                  <a:lnTo>
                    <a:pt x="14979" y="2727"/>
                  </a:lnTo>
                  <a:lnTo>
                    <a:pt x="14971" y="2736"/>
                  </a:lnTo>
                  <a:lnTo>
                    <a:pt x="14971" y="2745"/>
                  </a:lnTo>
                  <a:lnTo>
                    <a:pt x="14979" y="2745"/>
                  </a:lnTo>
                  <a:lnTo>
                    <a:pt x="14988" y="2754"/>
                  </a:lnTo>
                  <a:lnTo>
                    <a:pt x="14997" y="2745"/>
                  </a:lnTo>
                  <a:close/>
                  <a:moveTo>
                    <a:pt x="17300" y="2198"/>
                  </a:moveTo>
                  <a:lnTo>
                    <a:pt x="17308" y="2189"/>
                  </a:lnTo>
                  <a:lnTo>
                    <a:pt x="17308" y="2180"/>
                  </a:lnTo>
                  <a:lnTo>
                    <a:pt x="17300" y="2180"/>
                  </a:lnTo>
                  <a:lnTo>
                    <a:pt x="17282" y="2198"/>
                  </a:lnTo>
                  <a:lnTo>
                    <a:pt x="17291" y="2198"/>
                  </a:lnTo>
                  <a:close/>
                  <a:moveTo>
                    <a:pt x="26228" y="8675"/>
                  </a:moveTo>
                  <a:lnTo>
                    <a:pt x="26237" y="8675"/>
                  </a:lnTo>
                  <a:close/>
                  <a:moveTo>
                    <a:pt x="26246" y="8578"/>
                  </a:moveTo>
                  <a:close/>
                  <a:moveTo>
                    <a:pt x="26360" y="3689"/>
                  </a:moveTo>
                  <a:lnTo>
                    <a:pt x="26351" y="3689"/>
                  </a:lnTo>
                  <a:lnTo>
                    <a:pt x="26343" y="3689"/>
                  </a:lnTo>
                  <a:lnTo>
                    <a:pt x="26351" y="3698"/>
                  </a:lnTo>
                  <a:close/>
                  <a:moveTo>
                    <a:pt x="26396" y="2948"/>
                  </a:moveTo>
                  <a:lnTo>
                    <a:pt x="26378" y="2948"/>
                  </a:lnTo>
                  <a:lnTo>
                    <a:pt x="26369" y="2948"/>
                  </a:lnTo>
                  <a:lnTo>
                    <a:pt x="26360" y="2948"/>
                  </a:lnTo>
                  <a:lnTo>
                    <a:pt x="26351" y="2939"/>
                  </a:lnTo>
                  <a:lnTo>
                    <a:pt x="26343" y="2939"/>
                  </a:lnTo>
                  <a:lnTo>
                    <a:pt x="26325" y="2930"/>
                  </a:lnTo>
                  <a:lnTo>
                    <a:pt x="26316" y="2930"/>
                  </a:lnTo>
                  <a:lnTo>
                    <a:pt x="26316" y="2921"/>
                  </a:lnTo>
                  <a:lnTo>
                    <a:pt x="26307" y="2912"/>
                  </a:lnTo>
                  <a:lnTo>
                    <a:pt x="26298" y="2912"/>
                  </a:lnTo>
                  <a:lnTo>
                    <a:pt x="26290" y="2912"/>
                  </a:lnTo>
                  <a:lnTo>
                    <a:pt x="26281" y="2912"/>
                  </a:lnTo>
                  <a:lnTo>
                    <a:pt x="26272" y="2912"/>
                  </a:lnTo>
                  <a:lnTo>
                    <a:pt x="26263" y="2921"/>
                  </a:lnTo>
                  <a:lnTo>
                    <a:pt x="26246" y="2921"/>
                  </a:lnTo>
                  <a:lnTo>
                    <a:pt x="26237" y="2921"/>
                  </a:lnTo>
                  <a:lnTo>
                    <a:pt x="26228" y="2921"/>
                  </a:lnTo>
                  <a:lnTo>
                    <a:pt x="26219" y="2921"/>
                  </a:lnTo>
                  <a:lnTo>
                    <a:pt x="26219" y="2912"/>
                  </a:lnTo>
                  <a:lnTo>
                    <a:pt x="26201" y="2904"/>
                  </a:lnTo>
                  <a:lnTo>
                    <a:pt x="26193" y="2904"/>
                  </a:lnTo>
                  <a:lnTo>
                    <a:pt x="26193" y="2921"/>
                  </a:lnTo>
                  <a:lnTo>
                    <a:pt x="26193" y="2930"/>
                  </a:lnTo>
                  <a:lnTo>
                    <a:pt x="26193" y="2939"/>
                  </a:lnTo>
                  <a:lnTo>
                    <a:pt x="26193" y="2948"/>
                  </a:lnTo>
                  <a:lnTo>
                    <a:pt x="26201" y="2948"/>
                  </a:lnTo>
                  <a:lnTo>
                    <a:pt x="26210" y="2948"/>
                  </a:lnTo>
                  <a:lnTo>
                    <a:pt x="26219" y="2948"/>
                  </a:lnTo>
                  <a:lnTo>
                    <a:pt x="26228" y="2948"/>
                  </a:lnTo>
                  <a:lnTo>
                    <a:pt x="26237" y="2939"/>
                  </a:lnTo>
                  <a:lnTo>
                    <a:pt x="26246" y="2939"/>
                  </a:lnTo>
                  <a:lnTo>
                    <a:pt x="26254" y="2939"/>
                  </a:lnTo>
                  <a:lnTo>
                    <a:pt x="26263" y="2939"/>
                  </a:lnTo>
                  <a:lnTo>
                    <a:pt x="26281" y="2948"/>
                  </a:lnTo>
                  <a:lnTo>
                    <a:pt x="26290" y="2948"/>
                  </a:lnTo>
                  <a:lnTo>
                    <a:pt x="26298" y="2957"/>
                  </a:lnTo>
                  <a:lnTo>
                    <a:pt x="26307" y="2957"/>
                  </a:lnTo>
                  <a:lnTo>
                    <a:pt x="26307" y="2965"/>
                  </a:lnTo>
                  <a:lnTo>
                    <a:pt x="26316" y="2965"/>
                  </a:lnTo>
                  <a:lnTo>
                    <a:pt x="26325" y="2965"/>
                  </a:lnTo>
                  <a:lnTo>
                    <a:pt x="26334" y="2974"/>
                  </a:lnTo>
                  <a:lnTo>
                    <a:pt x="26343" y="2983"/>
                  </a:lnTo>
                  <a:lnTo>
                    <a:pt x="26343" y="2992"/>
                  </a:lnTo>
                  <a:lnTo>
                    <a:pt x="26351" y="2992"/>
                  </a:lnTo>
                  <a:lnTo>
                    <a:pt x="26360" y="2983"/>
                  </a:lnTo>
                  <a:lnTo>
                    <a:pt x="26360" y="2974"/>
                  </a:lnTo>
                  <a:lnTo>
                    <a:pt x="26369" y="2974"/>
                  </a:lnTo>
                  <a:lnTo>
                    <a:pt x="26387" y="2965"/>
                  </a:lnTo>
                  <a:lnTo>
                    <a:pt x="26404" y="2974"/>
                  </a:lnTo>
                  <a:lnTo>
                    <a:pt x="26413" y="2965"/>
                  </a:lnTo>
                  <a:lnTo>
                    <a:pt x="26422" y="2957"/>
                  </a:lnTo>
                  <a:close/>
                  <a:moveTo>
                    <a:pt x="26334" y="9751"/>
                  </a:moveTo>
                  <a:lnTo>
                    <a:pt x="26325" y="9760"/>
                  </a:lnTo>
                  <a:lnTo>
                    <a:pt x="26334" y="9769"/>
                  </a:lnTo>
                  <a:lnTo>
                    <a:pt x="26334" y="9760"/>
                  </a:lnTo>
                  <a:lnTo>
                    <a:pt x="26343" y="9760"/>
                  </a:lnTo>
                  <a:close/>
                  <a:moveTo>
                    <a:pt x="26343" y="4069"/>
                  </a:moveTo>
                  <a:lnTo>
                    <a:pt x="26334" y="4069"/>
                  </a:lnTo>
                  <a:lnTo>
                    <a:pt x="26325" y="4077"/>
                  </a:lnTo>
                  <a:lnTo>
                    <a:pt x="26334" y="4077"/>
                  </a:lnTo>
                  <a:lnTo>
                    <a:pt x="26343" y="4077"/>
                  </a:lnTo>
                  <a:close/>
                  <a:moveTo>
                    <a:pt x="26272" y="9398"/>
                  </a:moveTo>
                  <a:lnTo>
                    <a:pt x="26263" y="9407"/>
                  </a:lnTo>
                  <a:lnTo>
                    <a:pt x="26272" y="9407"/>
                  </a:lnTo>
                  <a:lnTo>
                    <a:pt x="26281" y="9398"/>
                  </a:lnTo>
                  <a:close/>
                  <a:moveTo>
                    <a:pt x="26263" y="4104"/>
                  </a:moveTo>
                  <a:lnTo>
                    <a:pt x="26272" y="4104"/>
                  </a:lnTo>
                  <a:lnTo>
                    <a:pt x="26281" y="4095"/>
                  </a:lnTo>
                  <a:lnTo>
                    <a:pt x="26281" y="4086"/>
                  </a:lnTo>
                  <a:lnTo>
                    <a:pt x="26272" y="4086"/>
                  </a:lnTo>
                  <a:lnTo>
                    <a:pt x="26263" y="4095"/>
                  </a:lnTo>
                  <a:close/>
                  <a:moveTo>
                    <a:pt x="26298" y="3627"/>
                  </a:moveTo>
                  <a:lnTo>
                    <a:pt x="26298" y="3636"/>
                  </a:lnTo>
                  <a:lnTo>
                    <a:pt x="26307" y="3636"/>
                  </a:lnTo>
                  <a:lnTo>
                    <a:pt x="26316" y="3627"/>
                  </a:lnTo>
                  <a:close/>
                  <a:moveTo>
                    <a:pt x="13727" y="3380"/>
                  </a:moveTo>
                  <a:lnTo>
                    <a:pt x="13718" y="3380"/>
                  </a:lnTo>
                  <a:lnTo>
                    <a:pt x="13718" y="3389"/>
                  </a:lnTo>
                  <a:lnTo>
                    <a:pt x="13727" y="3389"/>
                  </a:lnTo>
                  <a:lnTo>
                    <a:pt x="13727" y="3380"/>
                  </a:lnTo>
                  <a:lnTo>
                    <a:pt x="13735" y="3380"/>
                  </a:lnTo>
                  <a:close/>
                  <a:moveTo>
                    <a:pt x="13762" y="3557"/>
                  </a:moveTo>
                  <a:lnTo>
                    <a:pt x="13780" y="3548"/>
                  </a:lnTo>
                  <a:lnTo>
                    <a:pt x="13771" y="3548"/>
                  </a:lnTo>
                  <a:lnTo>
                    <a:pt x="13762" y="3548"/>
                  </a:lnTo>
                  <a:lnTo>
                    <a:pt x="13753" y="3557"/>
                  </a:lnTo>
                  <a:close/>
                  <a:moveTo>
                    <a:pt x="13797" y="3310"/>
                  </a:moveTo>
                  <a:lnTo>
                    <a:pt x="13806" y="3310"/>
                  </a:lnTo>
                  <a:lnTo>
                    <a:pt x="13797" y="3301"/>
                  </a:lnTo>
                  <a:lnTo>
                    <a:pt x="13788" y="3310"/>
                  </a:lnTo>
                  <a:close/>
                  <a:moveTo>
                    <a:pt x="13815" y="3301"/>
                  </a:moveTo>
                  <a:lnTo>
                    <a:pt x="13815" y="3292"/>
                  </a:lnTo>
                  <a:lnTo>
                    <a:pt x="13806" y="3301"/>
                  </a:lnTo>
                  <a:lnTo>
                    <a:pt x="13806" y="3318"/>
                  </a:lnTo>
                  <a:lnTo>
                    <a:pt x="13815" y="3318"/>
                  </a:lnTo>
                  <a:lnTo>
                    <a:pt x="13832" y="3318"/>
                  </a:lnTo>
                  <a:lnTo>
                    <a:pt x="13832" y="3310"/>
                  </a:lnTo>
                  <a:lnTo>
                    <a:pt x="13841" y="3310"/>
                  </a:lnTo>
                  <a:lnTo>
                    <a:pt x="13850" y="3301"/>
                  </a:lnTo>
                  <a:lnTo>
                    <a:pt x="13841" y="3301"/>
                  </a:lnTo>
                  <a:lnTo>
                    <a:pt x="13841" y="3292"/>
                  </a:lnTo>
                  <a:lnTo>
                    <a:pt x="13832" y="3292"/>
                  </a:lnTo>
                  <a:lnTo>
                    <a:pt x="13824" y="3292"/>
                  </a:lnTo>
                  <a:lnTo>
                    <a:pt x="13815" y="3283"/>
                  </a:lnTo>
                  <a:lnTo>
                    <a:pt x="13815" y="3292"/>
                  </a:lnTo>
                  <a:close/>
                  <a:moveTo>
                    <a:pt x="13462" y="3857"/>
                  </a:moveTo>
                  <a:lnTo>
                    <a:pt x="13471" y="3848"/>
                  </a:lnTo>
                  <a:lnTo>
                    <a:pt x="13471" y="3839"/>
                  </a:lnTo>
                  <a:lnTo>
                    <a:pt x="13444" y="3830"/>
                  </a:lnTo>
                  <a:lnTo>
                    <a:pt x="13435" y="3830"/>
                  </a:lnTo>
                  <a:lnTo>
                    <a:pt x="13435" y="3848"/>
                  </a:lnTo>
                  <a:lnTo>
                    <a:pt x="13453" y="3857"/>
                  </a:lnTo>
                  <a:close/>
                  <a:moveTo>
                    <a:pt x="13691" y="3627"/>
                  </a:moveTo>
                  <a:lnTo>
                    <a:pt x="13691" y="3636"/>
                  </a:lnTo>
                  <a:lnTo>
                    <a:pt x="13700" y="3645"/>
                  </a:lnTo>
                  <a:lnTo>
                    <a:pt x="13691" y="3645"/>
                  </a:lnTo>
                  <a:lnTo>
                    <a:pt x="13691" y="3663"/>
                  </a:lnTo>
                  <a:lnTo>
                    <a:pt x="13700" y="3654"/>
                  </a:lnTo>
                  <a:lnTo>
                    <a:pt x="13709" y="3654"/>
                  </a:lnTo>
                  <a:lnTo>
                    <a:pt x="13709" y="3645"/>
                  </a:lnTo>
                  <a:lnTo>
                    <a:pt x="13718" y="3636"/>
                  </a:lnTo>
                  <a:lnTo>
                    <a:pt x="13718" y="3627"/>
                  </a:lnTo>
                  <a:lnTo>
                    <a:pt x="13735" y="3627"/>
                  </a:lnTo>
                  <a:lnTo>
                    <a:pt x="13735" y="3619"/>
                  </a:lnTo>
                  <a:lnTo>
                    <a:pt x="13735" y="3610"/>
                  </a:lnTo>
                  <a:lnTo>
                    <a:pt x="13744" y="3610"/>
                  </a:lnTo>
                  <a:lnTo>
                    <a:pt x="13735" y="3601"/>
                  </a:lnTo>
                  <a:lnTo>
                    <a:pt x="13735" y="3574"/>
                  </a:lnTo>
                  <a:lnTo>
                    <a:pt x="13744" y="3574"/>
                  </a:lnTo>
                  <a:lnTo>
                    <a:pt x="13753" y="3574"/>
                  </a:lnTo>
                  <a:lnTo>
                    <a:pt x="13753" y="3566"/>
                  </a:lnTo>
                  <a:lnTo>
                    <a:pt x="13762" y="3566"/>
                  </a:lnTo>
                  <a:lnTo>
                    <a:pt x="13753" y="3557"/>
                  </a:lnTo>
                  <a:lnTo>
                    <a:pt x="13744" y="3557"/>
                  </a:lnTo>
                  <a:lnTo>
                    <a:pt x="13735" y="3566"/>
                  </a:lnTo>
                  <a:lnTo>
                    <a:pt x="13735" y="3557"/>
                  </a:lnTo>
                  <a:lnTo>
                    <a:pt x="13718" y="3566"/>
                  </a:lnTo>
                  <a:lnTo>
                    <a:pt x="13709" y="3574"/>
                  </a:lnTo>
                  <a:lnTo>
                    <a:pt x="13700" y="3583"/>
                  </a:lnTo>
                  <a:lnTo>
                    <a:pt x="13691" y="3583"/>
                  </a:lnTo>
                  <a:lnTo>
                    <a:pt x="13691" y="3592"/>
                  </a:lnTo>
                  <a:lnTo>
                    <a:pt x="13691" y="3601"/>
                  </a:lnTo>
                  <a:lnTo>
                    <a:pt x="13691" y="3619"/>
                  </a:lnTo>
                  <a:close/>
                  <a:moveTo>
                    <a:pt x="13612" y="3619"/>
                  </a:moveTo>
                  <a:lnTo>
                    <a:pt x="13612" y="3610"/>
                  </a:lnTo>
                  <a:lnTo>
                    <a:pt x="13603" y="3619"/>
                  </a:lnTo>
                  <a:lnTo>
                    <a:pt x="13603" y="3627"/>
                  </a:lnTo>
                  <a:lnTo>
                    <a:pt x="13603" y="3636"/>
                  </a:lnTo>
                  <a:lnTo>
                    <a:pt x="13594" y="3645"/>
                  </a:lnTo>
                  <a:lnTo>
                    <a:pt x="13585" y="3663"/>
                  </a:lnTo>
                  <a:lnTo>
                    <a:pt x="13577" y="3663"/>
                  </a:lnTo>
                  <a:lnTo>
                    <a:pt x="13559" y="3698"/>
                  </a:lnTo>
                  <a:lnTo>
                    <a:pt x="13559" y="3707"/>
                  </a:lnTo>
                  <a:lnTo>
                    <a:pt x="13559" y="3724"/>
                  </a:lnTo>
                  <a:lnTo>
                    <a:pt x="13568" y="3733"/>
                  </a:lnTo>
                  <a:lnTo>
                    <a:pt x="13568" y="3724"/>
                  </a:lnTo>
                  <a:lnTo>
                    <a:pt x="13594" y="3671"/>
                  </a:lnTo>
                  <a:lnTo>
                    <a:pt x="13594" y="3654"/>
                  </a:lnTo>
                  <a:lnTo>
                    <a:pt x="13612" y="3627"/>
                  </a:lnTo>
                  <a:close/>
                  <a:moveTo>
                    <a:pt x="13868" y="3327"/>
                  </a:moveTo>
                  <a:lnTo>
                    <a:pt x="13868" y="3318"/>
                  </a:lnTo>
                  <a:lnTo>
                    <a:pt x="13859" y="3318"/>
                  </a:lnTo>
                  <a:lnTo>
                    <a:pt x="13859" y="3327"/>
                  </a:lnTo>
                  <a:close/>
                  <a:moveTo>
                    <a:pt x="13718" y="3424"/>
                  </a:moveTo>
                  <a:lnTo>
                    <a:pt x="13709" y="3424"/>
                  </a:lnTo>
                  <a:lnTo>
                    <a:pt x="13709" y="3433"/>
                  </a:lnTo>
                  <a:close/>
                  <a:moveTo>
                    <a:pt x="13982" y="3451"/>
                  </a:moveTo>
                  <a:lnTo>
                    <a:pt x="14000" y="3451"/>
                  </a:lnTo>
                  <a:lnTo>
                    <a:pt x="14009" y="3460"/>
                  </a:lnTo>
                  <a:lnTo>
                    <a:pt x="14009" y="3468"/>
                  </a:lnTo>
                  <a:lnTo>
                    <a:pt x="14018" y="3468"/>
                  </a:lnTo>
                  <a:lnTo>
                    <a:pt x="14027" y="3468"/>
                  </a:lnTo>
                  <a:lnTo>
                    <a:pt x="14027" y="3460"/>
                  </a:lnTo>
                  <a:lnTo>
                    <a:pt x="14035" y="3460"/>
                  </a:lnTo>
                  <a:lnTo>
                    <a:pt x="14044" y="3460"/>
                  </a:lnTo>
                  <a:lnTo>
                    <a:pt x="14044" y="3451"/>
                  </a:lnTo>
                  <a:lnTo>
                    <a:pt x="14044" y="3442"/>
                  </a:lnTo>
                  <a:lnTo>
                    <a:pt x="14027" y="3433"/>
                  </a:lnTo>
                  <a:lnTo>
                    <a:pt x="14018" y="3424"/>
                  </a:lnTo>
                  <a:lnTo>
                    <a:pt x="14009" y="3433"/>
                  </a:lnTo>
                  <a:lnTo>
                    <a:pt x="14009" y="3442"/>
                  </a:lnTo>
                  <a:lnTo>
                    <a:pt x="13982" y="3442"/>
                  </a:lnTo>
                  <a:close/>
                  <a:moveTo>
                    <a:pt x="14009" y="3292"/>
                  </a:moveTo>
                  <a:lnTo>
                    <a:pt x="14000" y="3292"/>
                  </a:lnTo>
                  <a:lnTo>
                    <a:pt x="13991" y="3283"/>
                  </a:lnTo>
                  <a:lnTo>
                    <a:pt x="13982" y="3292"/>
                  </a:lnTo>
                  <a:lnTo>
                    <a:pt x="13982" y="3301"/>
                  </a:lnTo>
                  <a:lnTo>
                    <a:pt x="13991" y="3301"/>
                  </a:lnTo>
                  <a:lnTo>
                    <a:pt x="13991" y="3310"/>
                  </a:lnTo>
                  <a:lnTo>
                    <a:pt x="14000" y="3310"/>
                  </a:lnTo>
                  <a:lnTo>
                    <a:pt x="14000" y="3301"/>
                  </a:lnTo>
                  <a:close/>
                  <a:moveTo>
                    <a:pt x="14071" y="3486"/>
                  </a:moveTo>
                  <a:lnTo>
                    <a:pt x="14071" y="3477"/>
                  </a:lnTo>
                  <a:lnTo>
                    <a:pt x="14062" y="3468"/>
                  </a:lnTo>
                  <a:lnTo>
                    <a:pt x="14053" y="3477"/>
                  </a:lnTo>
                  <a:close/>
                  <a:moveTo>
                    <a:pt x="13965" y="3486"/>
                  </a:moveTo>
                  <a:lnTo>
                    <a:pt x="13965" y="3495"/>
                  </a:lnTo>
                  <a:lnTo>
                    <a:pt x="13974" y="3504"/>
                  </a:lnTo>
                  <a:lnTo>
                    <a:pt x="13965" y="3513"/>
                  </a:lnTo>
                  <a:lnTo>
                    <a:pt x="13974" y="3521"/>
                  </a:lnTo>
                  <a:lnTo>
                    <a:pt x="13982" y="3530"/>
                  </a:lnTo>
                  <a:lnTo>
                    <a:pt x="13991" y="3530"/>
                  </a:lnTo>
                  <a:lnTo>
                    <a:pt x="13982" y="3530"/>
                  </a:lnTo>
                  <a:lnTo>
                    <a:pt x="13974" y="3548"/>
                  </a:lnTo>
                  <a:lnTo>
                    <a:pt x="13982" y="3548"/>
                  </a:lnTo>
                  <a:lnTo>
                    <a:pt x="13991" y="3539"/>
                  </a:lnTo>
                  <a:lnTo>
                    <a:pt x="13991" y="3530"/>
                  </a:lnTo>
                  <a:lnTo>
                    <a:pt x="14000" y="3521"/>
                  </a:lnTo>
                  <a:lnTo>
                    <a:pt x="14009" y="3521"/>
                  </a:lnTo>
                  <a:lnTo>
                    <a:pt x="14027" y="3521"/>
                  </a:lnTo>
                  <a:lnTo>
                    <a:pt x="14027" y="3513"/>
                  </a:lnTo>
                  <a:lnTo>
                    <a:pt x="14035" y="3513"/>
                  </a:lnTo>
                  <a:lnTo>
                    <a:pt x="14044" y="3504"/>
                  </a:lnTo>
                  <a:lnTo>
                    <a:pt x="14053" y="3504"/>
                  </a:lnTo>
                  <a:lnTo>
                    <a:pt x="14053" y="3495"/>
                  </a:lnTo>
                  <a:lnTo>
                    <a:pt x="14071" y="3495"/>
                  </a:lnTo>
                  <a:lnTo>
                    <a:pt x="14044" y="3477"/>
                  </a:lnTo>
                  <a:lnTo>
                    <a:pt x="14035" y="3477"/>
                  </a:lnTo>
                  <a:lnTo>
                    <a:pt x="14027" y="3477"/>
                  </a:lnTo>
                  <a:lnTo>
                    <a:pt x="14018" y="3477"/>
                  </a:lnTo>
                  <a:lnTo>
                    <a:pt x="14009" y="3477"/>
                  </a:lnTo>
                  <a:lnTo>
                    <a:pt x="14000" y="3486"/>
                  </a:lnTo>
                  <a:lnTo>
                    <a:pt x="13991" y="3486"/>
                  </a:lnTo>
                  <a:lnTo>
                    <a:pt x="13982" y="3486"/>
                  </a:lnTo>
                  <a:lnTo>
                    <a:pt x="13982" y="3495"/>
                  </a:lnTo>
                  <a:lnTo>
                    <a:pt x="13974" y="3486"/>
                  </a:lnTo>
                  <a:close/>
                  <a:moveTo>
                    <a:pt x="20846" y="8992"/>
                  </a:moveTo>
                  <a:lnTo>
                    <a:pt x="20855" y="8992"/>
                  </a:lnTo>
                  <a:lnTo>
                    <a:pt x="20855" y="8984"/>
                  </a:lnTo>
                  <a:lnTo>
                    <a:pt x="20846" y="8984"/>
                  </a:lnTo>
                  <a:close/>
                  <a:moveTo>
                    <a:pt x="13930" y="3274"/>
                  </a:moveTo>
                  <a:lnTo>
                    <a:pt x="13930" y="3265"/>
                  </a:lnTo>
                  <a:lnTo>
                    <a:pt x="13921" y="3265"/>
                  </a:lnTo>
                  <a:lnTo>
                    <a:pt x="13921" y="3257"/>
                  </a:lnTo>
                  <a:lnTo>
                    <a:pt x="13912" y="3265"/>
                  </a:lnTo>
                  <a:lnTo>
                    <a:pt x="13921" y="3265"/>
                  </a:lnTo>
                  <a:lnTo>
                    <a:pt x="13921" y="3274"/>
                  </a:lnTo>
                  <a:close/>
                  <a:moveTo>
                    <a:pt x="13965" y="3283"/>
                  </a:moveTo>
                  <a:lnTo>
                    <a:pt x="13965" y="3292"/>
                  </a:lnTo>
                  <a:lnTo>
                    <a:pt x="13974" y="3292"/>
                  </a:lnTo>
                  <a:lnTo>
                    <a:pt x="13965" y="3283"/>
                  </a:lnTo>
                  <a:lnTo>
                    <a:pt x="13974" y="3283"/>
                  </a:lnTo>
                  <a:lnTo>
                    <a:pt x="13965" y="3283"/>
                  </a:lnTo>
                  <a:lnTo>
                    <a:pt x="13965" y="3274"/>
                  </a:lnTo>
                  <a:lnTo>
                    <a:pt x="13965" y="3283"/>
                  </a:lnTo>
                  <a:lnTo>
                    <a:pt x="13956" y="3283"/>
                  </a:lnTo>
                  <a:close/>
                  <a:moveTo>
                    <a:pt x="13947" y="3310"/>
                  </a:moveTo>
                  <a:lnTo>
                    <a:pt x="13938" y="3310"/>
                  </a:lnTo>
                  <a:lnTo>
                    <a:pt x="13938" y="3318"/>
                  </a:lnTo>
                  <a:lnTo>
                    <a:pt x="13947" y="3318"/>
                  </a:lnTo>
                  <a:close/>
                  <a:moveTo>
                    <a:pt x="13418" y="5604"/>
                  </a:moveTo>
                  <a:lnTo>
                    <a:pt x="13409" y="5604"/>
                  </a:lnTo>
                  <a:lnTo>
                    <a:pt x="13409" y="5613"/>
                  </a:lnTo>
                  <a:lnTo>
                    <a:pt x="13418" y="5613"/>
                  </a:lnTo>
                  <a:lnTo>
                    <a:pt x="13427" y="5613"/>
                  </a:lnTo>
                  <a:close/>
                  <a:moveTo>
                    <a:pt x="12969" y="5172"/>
                  </a:moveTo>
                  <a:lnTo>
                    <a:pt x="12969" y="5163"/>
                  </a:lnTo>
                  <a:lnTo>
                    <a:pt x="12960" y="5172"/>
                  </a:lnTo>
                  <a:close/>
                  <a:moveTo>
                    <a:pt x="12669" y="5278"/>
                  </a:moveTo>
                  <a:lnTo>
                    <a:pt x="12678" y="5278"/>
                  </a:lnTo>
                  <a:lnTo>
                    <a:pt x="12678" y="5269"/>
                  </a:lnTo>
                  <a:lnTo>
                    <a:pt x="12669" y="5260"/>
                  </a:lnTo>
                  <a:lnTo>
                    <a:pt x="12660" y="5251"/>
                  </a:lnTo>
                  <a:lnTo>
                    <a:pt x="12642" y="5251"/>
                  </a:lnTo>
                  <a:lnTo>
                    <a:pt x="12642" y="5260"/>
                  </a:lnTo>
                  <a:lnTo>
                    <a:pt x="12642" y="5269"/>
                  </a:lnTo>
                  <a:lnTo>
                    <a:pt x="12651" y="5269"/>
                  </a:lnTo>
                  <a:close/>
                  <a:moveTo>
                    <a:pt x="12960" y="5198"/>
                  </a:moveTo>
                  <a:lnTo>
                    <a:pt x="12960" y="5207"/>
                  </a:lnTo>
                  <a:lnTo>
                    <a:pt x="12969" y="5216"/>
                  </a:lnTo>
                  <a:lnTo>
                    <a:pt x="12978" y="5225"/>
                  </a:lnTo>
                  <a:lnTo>
                    <a:pt x="12978" y="5234"/>
                  </a:lnTo>
                  <a:lnTo>
                    <a:pt x="12978" y="5251"/>
                  </a:lnTo>
                  <a:lnTo>
                    <a:pt x="12978" y="5260"/>
                  </a:lnTo>
                  <a:lnTo>
                    <a:pt x="12978" y="5269"/>
                  </a:lnTo>
                  <a:lnTo>
                    <a:pt x="12987" y="5269"/>
                  </a:lnTo>
                  <a:lnTo>
                    <a:pt x="12987" y="5278"/>
                  </a:lnTo>
                  <a:lnTo>
                    <a:pt x="12987" y="5287"/>
                  </a:lnTo>
                  <a:lnTo>
                    <a:pt x="12978" y="5287"/>
                  </a:lnTo>
                  <a:lnTo>
                    <a:pt x="12978" y="5295"/>
                  </a:lnTo>
                  <a:lnTo>
                    <a:pt x="12978" y="5304"/>
                  </a:lnTo>
                  <a:lnTo>
                    <a:pt x="12978" y="5322"/>
                  </a:lnTo>
                  <a:lnTo>
                    <a:pt x="12978" y="5331"/>
                  </a:lnTo>
                  <a:lnTo>
                    <a:pt x="12978" y="5340"/>
                  </a:lnTo>
                  <a:lnTo>
                    <a:pt x="12987" y="5348"/>
                  </a:lnTo>
                  <a:lnTo>
                    <a:pt x="12995" y="5357"/>
                  </a:lnTo>
                  <a:lnTo>
                    <a:pt x="13004" y="5357"/>
                  </a:lnTo>
                  <a:lnTo>
                    <a:pt x="13013" y="5357"/>
                  </a:lnTo>
                  <a:lnTo>
                    <a:pt x="13013" y="5348"/>
                  </a:lnTo>
                  <a:lnTo>
                    <a:pt x="13022" y="5340"/>
                  </a:lnTo>
                  <a:lnTo>
                    <a:pt x="13022" y="5331"/>
                  </a:lnTo>
                  <a:lnTo>
                    <a:pt x="13031" y="5331"/>
                  </a:lnTo>
                  <a:lnTo>
                    <a:pt x="13039" y="5331"/>
                  </a:lnTo>
                  <a:lnTo>
                    <a:pt x="13048" y="5331"/>
                  </a:lnTo>
                  <a:lnTo>
                    <a:pt x="13057" y="5340"/>
                  </a:lnTo>
                  <a:lnTo>
                    <a:pt x="13057" y="5331"/>
                  </a:lnTo>
                  <a:lnTo>
                    <a:pt x="13066" y="5322"/>
                  </a:lnTo>
                  <a:lnTo>
                    <a:pt x="13066" y="5313"/>
                  </a:lnTo>
                  <a:lnTo>
                    <a:pt x="13066" y="5269"/>
                  </a:lnTo>
                  <a:lnTo>
                    <a:pt x="13075" y="5260"/>
                  </a:lnTo>
                  <a:lnTo>
                    <a:pt x="13075" y="5251"/>
                  </a:lnTo>
                  <a:lnTo>
                    <a:pt x="13066" y="5251"/>
                  </a:lnTo>
                  <a:lnTo>
                    <a:pt x="13066" y="5234"/>
                  </a:lnTo>
                  <a:lnTo>
                    <a:pt x="13075" y="5225"/>
                  </a:lnTo>
                  <a:lnTo>
                    <a:pt x="13075" y="5216"/>
                  </a:lnTo>
                  <a:lnTo>
                    <a:pt x="13066" y="5189"/>
                  </a:lnTo>
                  <a:lnTo>
                    <a:pt x="13066" y="5181"/>
                  </a:lnTo>
                  <a:lnTo>
                    <a:pt x="13057" y="5181"/>
                  </a:lnTo>
                  <a:lnTo>
                    <a:pt x="13066" y="5172"/>
                  </a:lnTo>
                  <a:lnTo>
                    <a:pt x="13057" y="5172"/>
                  </a:lnTo>
                  <a:lnTo>
                    <a:pt x="13057" y="5163"/>
                  </a:lnTo>
                  <a:lnTo>
                    <a:pt x="13048" y="5154"/>
                  </a:lnTo>
                  <a:lnTo>
                    <a:pt x="13039" y="5154"/>
                  </a:lnTo>
                  <a:lnTo>
                    <a:pt x="13031" y="5154"/>
                  </a:lnTo>
                  <a:lnTo>
                    <a:pt x="13031" y="5163"/>
                  </a:lnTo>
                  <a:lnTo>
                    <a:pt x="13022" y="5163"/>
                  </a:lnTo>
                  <a:lnTo>
                    <a:pt x="13004" y="5181"/>
                  </a:lnTo>
                  <a:lnTo>
                    <a:pt x="12995" y="5181"/>
                  </a:lnTo>
                  <a:lnTo>
                    <a:pt x="12987" y="5189"/>
                  </a:lnTo>
                  <a:lnTo>
                    <a:pt x="12978" y="5189"/>
                  </a:lnTo>
                  <a:lnTo>
                    <a:pt x="12969" y="5189"/>
                  </a:lnTo>
                  <a:lnTo>
                    <a:pt x="12960" y="5181"/>
                  </a:lnTo>
                  <a:lnTo>
                    <a:pt x="12960" y="5189"/>
                  </a:lnTo>
                  <a:close/>
                  <a:moveTo>
                    <a:pt x="13039" y="5022"/>
                  </a:moveTo>
                  <a:lnTo>
                    <a:pt x="13031" y="5022"/>
                  </a:lnTo>
                  <a:lnTo>
                    <a:pt x="13022" y="5022"/>
                  </a:lnTo>
                  <a:lnTo>
                    <a:pt x="13022" y="5031"/>
                  </a:lnTo>
                  <a:lnTo>
                    <a:pt x="13004" y="5031"/>
                  </a:lnTo>
                  <a:lnTo>
                    <a:pt x="12995" y="5039"/>
                  </a:lnTo>
                  <a:lnTo>
                    <a:pt x="12995" y="5048"/>
                  </a:lnTo>
                  <a:lnTo>
                    <a:pt x="12987" y="5048"/>
                  </a:lnTo>
                  <a:lnTo>
                    <a:pt x="12987" y="5057"/>
                  </a:lnTo>
                  <a:lnTo>
                    <a:pt x="12995" y="5057"/>
                  </a:lnTo>
                  <a:lnTo>
                    <a:pt x="12995" y="5066"/>
                  </a:lnTo>
                  <a:lnTo>
                    <a:pt x="12987" y="5066"/>
                  </a:lnTo>
                  <a:lnTo>
                    <a:pt x="12987" y="5075"/>
                  </a:lnTo>
                  <a:lnTo>
                    <a:pt x="12995" y="5075"/>
                  </a:lnTo>
                  <a:lnTo>
                    <a:pt x="12995" y="5084"/>
                  </a:lnTo>
                  <a:lnTo>
                    <a:pt x="12995" y="5092"/>
                  </a:lnTo>
                  <a:lnTo>
                    <a:pt x="13004" y="5092"/>
                  </a:lnTo>
                  <a:lnTo>
                    <a:pt x="13004" y="5101"/>
                  </a:lnTo>
                  <a:lnTo>
                    <a:pt x="12995" y="5101"/>
                  </a:lnTo>
                  <a:lnTo>
                    <a:pt x="12995" y="5110"/>
                  </a:lnTo>
                  <a:lnTo>
                    <a:pt x="13004" y="5110"/>
                  </a:lnTo>
                  <a:lnTo>
                    <a:pt x="13013" y="5110"/>
                  </a:lnTo>
                  <a:lnTo>
                    <a:pt x="13013" y="5119"/>
                  </a:lnTo>
                  <a:lnTo>
                    <a:pt x="13004" y="5119"/>
                  </a:lnTo>
                  <a:lnTo>
                    <a:pt x="13004" y="5128"/>
                  </a:lnTo>
                  <a:lnTo>
                    <a:pt x="13013" y="5128"/>
                  </a:lnTo>
                  <a:lnTo>
                    <a:pt x="13022" y="5137"/>
                  </a:lnTo>
                  <a:lnTo>
                    <a:pt x="13031" y="5137"/>
                  </a:lnTo>
                  <a:lnTo>
                    <a:pt x="13039" y="5137"/>
                  </a:lnTo>
                  <a:lnTo>
                    <a:pt x="13039" y="5119"/>
                  </a:lnTo>
                  <a:lnTo>
                    <a:pt x="13048" y="5119"/>
                  </a:lnTo>
                  <a:lnTo>
                    <a:pt x="13048" y="5110"/>
                  </a:lnTo>
                  <a:lnTo>
                    <a:pt x="13048" y="5092"/>
                  </a:lnTo>
                  <a:lnTo>
                    <a:pt x="13057" y="5075"/>
                  </a:lnTo>
                  <a:lnTo>
                    <a:pt x="13057" y="5039"/>
                  </a:lnTo>
                  <a:lnTo>
                    <a:pt x="13057" y="5031"/>
                  </a:lnTo>
                  <a:lnTo>
                    <a:pt x="13057" y="5013"/>
                  </a:lnTo>
                  <a:lnTo>
                    <a:pt x="13057" y="5004"/>
                  </a:lnTo>
                  <a:lnTo>
                    <a:pt x="13048" y="4995"/>
                  </a:lnTo>
                  <a:lnTo>
                    <a:pt x="13039" y="5004"/>
                  </a:lnTo>
                  <a:lnTo>
                    <a:pt x="13039" y="5013"/>
                  </a:lnTo>
                  <a:lnTo>
                    <a:pt x="13048" y="5022"/>
                  </a:lnTo>
                  <a:close/>
                  <a:moveTo>
                    <a:pt x="12475" y="5340"/>
                  </a:moveTo>
                  <a:lnTo>
                    <a:pt x="12457" y="5340"/>
                  </a:lnTo>
                  <a:lnTo>
                    <a:pt x="12457" y="5348"/>
                  </a:lnTo>
                  <a:lnTo>
                    <a:pt x="12448" y="5348"/>
                  </a:lnTo>
                  <a:lnTo>
                    <a:pt x="12448" y="5357"/>
                  </a:lnTo>
                  <a:lnTo>
                    <a:pt x="12457" y="5357"/>
                  </a:lnTo>
                  <a:lnTo>
                    <a:pt x="12466" y="5357"/>
                  </a:lnTo>
                  <a:close/>
                  <a:moveTo>
                    <a:pt x="12590" y="5260"/>
                  </a:moveTo>
                  <a:lnTo>
                    <a:pt x="12572" y="5269"/>
                  </a:lnTo>
                  <a:lnTo>
                    <a:pt x="12563" y="5278"/>
                  </a:lnTo>
                  <a:lnTo>
                    <a:pt x="12528" y="5295"/>
                  </a:lnTo>
                  <a:lnTo>
                    <a:pt x="12537" y="5304"/>
                  </a:lnTo>
                  <a:lnTo>
                    <a:pt x="12545" y="5304"/>
                  </a:lnTo>
                  <a:lnTo>
                    <a:pt x="12554" y="5295"/>
                  </a:lnTo>
                  <a:lnTo>
                    <a:pt x="12554" y="5304"/>
                  </a:lnTo>
                  <a:lnTo>
                    <a:pt x="12563" y="5304"/>
                  </a:lnTo>
                  <a:lnTo>
                    <a:pt x="12563" y="5313"/>
                  </a:lnTo>
                  <a:lnTo>
                    <a:pt x="12572" y="5313"/>
                  </a:lnTo>
                  <a:lnTo>
                    <a:pt x="12581" y="5322"/>
                  </a:lnTo>
                  <a:lnTo>
                    <a:pt x="12590" y="5322"/>
                  </a:lnTo>
                  <a:lnTo>
                    <a:pt x="12598" y="5313"/>
                  </a:lnTo>
                  <a:lnTo>
                    <a:pt x="12598" y="5304"/>
                  </a:lnTo>
                  <a:lnTo>
                    <a:pt x="12607" y="5295"/>
                  </a:lnTo>
                  <a:lnTo>
                    <a:pt x="12616" y="5287"/>
                  </a:lnTo>
                  <a:lnTo>
                    <a:pt x="12607" y="5278"/>
                  </a:lnTo>
                  <a:lnTo>
                    <a:pt x="12598" y="5278"/>
                  </a:lnTo>
                  <a:lnTo>
                    <a:pt x="12590" y="5278"/>
                  </a:lnTo>
                  <a:lnTo>
                    <a:pt x="12590" y="5269"/>
                  </a:lnTo>
                  <a:close/>
                  <a:moveTo>
                    <a:pt x="12969" y="5340"/>
                  </a:moveTo>
                  <a:lnTo>
                    <a:pt x="12978" y="5348"/>
                  </a:lnTo>
                  <a:lnTo>
                    <a:pt x="12978" y="5340"/>
                  </a:lnTo>
                  <a:close/>
                  <a:moveTo>
                    <a:pt x="12466" y="5366"/>
                  </a:moveTo>
                  <a:lnTo>
                    <a:pt x="12457" y="5375"/>
                  </a:lnTo>
                  <a:lnTo>
                    <a:pt x="12466" y="5375"/>
                  </a:lnTo>
                  <a:lnTo>
                    <a:pt x="12475" y="5375"/>
                  </a:lnTo>
                  <a:lnTo>
                    <a:pt x="12466" y="5375"/>
                  </a:lnTo>
                  <a:close/>
                  <a:moveTo>
                    <a:pt x="13241" y="5534"/>
                  </a:moveTo>
                  <a:lnTo>
                    <a:pt x="13233" y="5534"/>
                  </a:lnTo>
                  <a:lnTo>
                    <a:pt x="13241" y="5543"/>
                  </a:lnTo>
                  <a:close/>
                  <a:moveTo>
                    <a:pt x="16435" y="6354"/>
                  </a:moveTo>
                  <a:lnTo>
                    <a:pt x="16426" y="6354"/>
                  </a:lnTo>
                  <a:lnTo>
                    <a:pt x="16417" y="6354"/>
                  </a:lnTo>
                  <a:lnTo>
                    <a:pt x="16426" y="6363"/>
                  </a:lnTo>
                  <a:lnTo>
                    <a:pt x="16435" y="6363"/>
                  </a:lnTo>
                  <a:lnTo>
                    <a:pt x="16444" y="6363"/>
                  </a:lnTo>
                  <a:lnTo>
                    <a:pt x="16453" y="6354"/>
                  </a:lnTo>
                  <a:lnTo>
                    <a:pt x="16462" y="6354"/>
                  </a:lnTo>
                  <a:lnTo>
                    <a:pt x="16470" y="6354"/>
                  </a:lnTo>
                  <a:lnTo>
                    <a:pt x="16479" y="6346"/>
                  </a:lnTo>
                  <a:lnTo>
                    <a:pt x="16488" y="6337"/>
                  </a:lnTo>
                  <a:lnTo>
                    <a:pt x="16497" y="6337"/>
                  </a:lnTo>
                  <a:lnTo>
                    <a:pt x="16488" y="6328"/>
                  </a:lnTo>
                  <a:lnTo>
                    <a:pt x="16479" y="6328"/>
                  </a:lnTo>
                  <a:lnTo>
                    <a:pt x="16470" y="6337"/>
                  </a:lnTo>
                  <a:lnTo>
                    <a:pt x="16453" y="6337"/>
                  </a:lnTo>
                  <a:lnTo>
                    <a:pt x="16462" y="6346"/>
                  </a:lnTo>
                  <a:lnTo>
                    <a:pt x="16453" y="6346"/>
                  </a:lnTo>
                  <a:close/>
                  <a:moveTo>
                    <a:pt x="13365" y="5437"/>
                  </a:moveTo>
                  <a:lnTo>
                    <a:pt x="13347" y="5428"/>
                  </a:lnTo>
                  <a:lnTo>
                    <a:pt x="13347" y="5419"/>
                  </a:lnTo>
                  <a:lnTo>
                    <a:pt x="13338" y="5419"/>
                  </a:lnTo>
                  <a:lnTo>
                    <a:pt x="13330" y="5419"/>
                  </a:lnTo>
                  <a:lnTo>
                    <a:pt x="13321" y="5419"/>
                  </a:lnTo>
                  <a:lnTo>
                    <a:pt x="13312" y="5428"/>
                  </a:lnTo>
                  <a:lnTo>
                    <a:pt x="13303" y="5428"/>
                  </a:lnTo>
                  <a:lnTo>
                    <a:pt x="13294" y="5419"/>
                  </a:lnTo>
                  <a:lnTo>
                    <a:pt x="13285" y="5419"/>
                  </a:lnTo>
                  <a:lnTo>
                    <a:pt x="13285" y="5428"/>
                  </a:lnTo>
                  <a:lnTo>
                    <a:pt x="13277" y="5428"/>
                  </a:lnTo>
                  <a:lnTo>
                    <a:pt x="13277" y="5437"/>
                  </a:lnTo>
                  <a:lnTo>
                    <a:pt x="13268" y="5445"/>
                  </a:lnTo>
                  <a:lnTo>
                    <a:pt x="13277" y="5454"/>
                  </a:lnTo>
                  <a:lnTo>
                    <a:pt x="13277" y="5463"/>
                  </a:lnTo>
                  <a:lnTo>
                    <a:pt x="13285" y="5463"/>
                  </a:lnTo>
                  <a:lnTo>
                    <a:pt x="13294" y="5472"/>
                  </a:lnTo>
                  <a:lnTo>
                    <a:pt x="13303" y="5472"/>
                  </a:lnTo>
                  <a:lnTo>
                    <a:pt x="13312" y="5472"/>
                  </a:lnTo>
                  <a:lnTo>
                    <a:pt x="13321" y="5481"/>
                  </a:lnTo>
                  <a:lnTo>
                    <a:pt x="13330" y="5481"/>
                  </a:lnTo>
                  <a:lnTo>
                    <a:pt x="13338" y="5490"/>
                  </a:lnTo>
                  <a:lnTo>
                    <a:pt x="13356" y="5498"/>
                  </a:lnTo>
                  <a:lnTo>
                    <a:pt x="13374" y="5507"/>
                  </a:lnTo>
                  <a:lnTo>
                    <a:pt x="13383" y="5507"/>
                  </a:lnTo>
                  <a:lnTo>
                    <a:pt x="13391" y="5507"/>
                  </a:lnTo>
                  <a:lnTo>
                    <a:pt x="13400" y="5507"/>
                  </a:lnTo>
                  <a:lnTo>
                    <a:pt x="13409" y="5516"/>
                  </a:lnTo>
                  <a:lnTo>
                    <a:pt x="13427" y="5534"/>
                  </a:lnTo>
                  <a:lnTo>
                    <a:pt x="13435" y="5534"/>
                  </a:lnTo>
                  <a:lnTo>
                    <a:pt x="13444" y="5543"/>
                  </a:lnTo>
                  <a:lnTo>
                    <a:pt x="13453" y="5543"/>
                  </a:lnTo>
                  <a:lnTo>
                    <a:pt x="13462" y="5543"/>
                  </a:lnTo>
                  <a:lnTo>
                    <a:pt x="13471" y="5543"/>
                  </a:lnTo>
                  <a:lnTo>
                    <a:pt x="13471" y="5534"/>
                  </a:lnTo>
                  <a:lnTo>
                    <a:pt x="13471" y="5525"/>
                  </a:lnTo>
                  <a:lnTo>
                    <a:pt x="13480" y="5516"/>
                  </a:lnTo>
                  <a:lnTo>
                    <a:pt x="13480" y="5507"/>
                  </a:lnTo>
                  <a:lnTo>
                    <a:pt x="13471" y="5498"/>
                  </a:lnTo>
                  <a:lnTo>
                    <a:pt x="13480" y="5498"/>
                  </a:lnTo>
                  <a:lnTo>
                    <a:pt x="13471" y="5490"/>
                  </a:lnTo>
                  <a:lnTo>
                    <a:pt x="13471" y="5481"/>
                  </a:lnTo>
                  <a:lnTo>
                    <a:pt x="13471" y="5472"/>
                  </a:lnTo>
                  <a:lnTo>
                    <a:pt x="13471" y="5463"/>
                  </a:lnTo>
                  <a:lnTo>
                    <a:pt x="13471" y="5454"/>
                  </a:lnTo>
                  <a:lnTo>
                    <a:pt x="13480" y="5454"/>
                  </a:lnTo>
                  <a:lnTo>
                    <a:pt x="13497" y="5428"/>
                  </a:lnTo>
                  <a:lnTo>
                    <a:pt x="13506" y="5410"/>
                  </a:lnTo>
                  <a:lnTo>
                    <a:pt x="13497" y="5410"/>
                  </a:lnTo>
                  <a:lnTo>
                    <a:pt x="13488" y="5410"/>
                  </a:lnTo>
                  <a:lnTo>
                    <a:pt x="13480" y="5410"/>
                  </a:lnTo>
                  <a:lnTo>
                    <a:pt x="13480" y="5419"/>
                  </a:lnTo>
                  <a:lnTo>
                    <a:pt x="13471" y="5419"/>
                  </a:lnTo>
                  <a:lnTo>
                    <a:pt x="13462" y="5419"/>
                  </a:lnTo>
                  <a:lnTo>
                    <a:pt x="13444" y="5419"/>
                  </a:lnTo>
                  <a:lnTo>
                    <a:pt x="13435" y="5428"/>
                  </a:lnTo>
                  <a:lnTo>
                    <a:pt x="13427" y="5428"/>
                  </a:lnTo>
                  <a:lnTo>
                    <a:pt x="13418" y="5428"/>
                  </a:lnTo>
                  <a:lnTo>
                    <a:pt x="13409" y="5428"/>
                  </a:lnTo>
                  <a:lnTo>
                    <a:pt x="13391" y="5428"/>
                  </a:lnTo>
                  <a:lnTo>
                    <a:pt x="13383" y="5428"/>
                  </a:lnTo>
                  <a:lnTo>
                    <a:pt x="13374" y="5437"/>
                  </a:lnTo>
                  <a:close/>
                  <a:moveTo>
                    <a:pt x="13128" y="5013"/>
                  </a:moveTo>
                  <a:lnTo>
                    <a:pt x="13119" y="5013"/>
                  </a:lnTo>
                  <a:lnTo>
                    <a:pt x="13110" y="5013"/>
                  </a:lnTo>
                  <a:lnTo>
                    <a:pt x="13101" y="5013"/>
                  </a:lnTo>
                  <a:lnTo>
                    <a:pt x="13101" y="5022"/>
                  </a:lnTo>
                  <a:lnTo>
                    <a:pt x="13110" y="5022"/>
                  </a:lnTo>
                  <a:lnTo>
                    <a:pt x="13119" y="5022"/>
                  </a:lnTo>
                  <a:lnTo>
                    <a:pt x="13128" y="5022"/>
                  </a:lnTo>
                  <a:lnTo>
                    <a:pt x="13119" y="5022"/>
                  </a:lnTo>
                  <a:close/>
                  <a:moveTo>
                    <a:pt x="13824" y="5287"/>
                  </a:moveTo>
                  <a:lnTo>
                    <a:pt x="13824" y="5278"/>
                  </a:lnTo>
                  <a:lnTo>
                    <a:pt x="13815" y="5278"/>
                  </a:lnTo>
                  <a:lnTo>
                    <a:pt x="13806" y="5278"/>
                  </a:lnTo>
                  <a:lnTo>
                    <a:pt x="13797" y="5278"/>
                  </a:lnTo>
                  <a:lnTo>
                    <a:pt x="13797" y="5287"/>
                  </a:lnTo>
                  <a:lnTo>
                    <a:pt x="13815" y="5295"/>
                  </a:lnTo>
                  <a:lnTo>
                    <a:pt x="13815" y="5304"/>
                  </a:lnTo>
                  <a:lnTo>
                    <a:pt x="13824" y="5313"/>
                  </a:lnTo>
                  <a:lnTo>
                    <a:pt x="13832" y="5313"/>
                  </a:lnTo>
                  <a:lnTo>
                    <a:pt x="13824" y="5304"/>
                  </a:lnTo>
                  <a:lnTo>
                    <a:pt x="13824" y="5295"/>
                  </a:lnTo>
                  <a:lnTo>
                    <a:pt x="13815" y="5287"/>
                  </a:lnTo>
                  <a:close/>
                  <a:moveTo>
                    <a:pt x="13383" y="5198"/>
                  </a:moveTo>
                  <a:lnTo>
                    <a:pt x="13374" y="5198"/>
                  </a:lnTo>
                  <a:close/>
                  <a:moveTo>
                    <a:pt x="13189" y="5701"/>
                  </a:moveTo>
                  <a:lnTo>
                    <a:pt x="13181" y="5701"/>
                  </a:lnTo>
                  <a:lnTo>
                    <a:pt x="13172" y="5710"/>
                  </a:lnTo>
                  <a:close/>
                  <a:moveTo>
                    <a:pt x="13163" y="5772"/>
                  </a:moveTo>
                  <a:lnTo>
                    <a:pt x="13145" y="5772"/>
                  </a:lnTo>
                  <a:lnTo>
                    <a:pt x="13145" y="5781"/>
                  </a:lnTo>
                  <a:lnTo>
                    <a:pt x="13145" y="5790"/>
                  </a:lnTo>
                  <a:lnTo>
                    <a:pt x="13154" y="5790"/>
                  </a:lnTo>
                  <a:lnTo>
                    <a:pt x="13163" y="5790"/>
                  </a:lnTo>
                  <a:lnTo>
                    <a:pt x="13172" y="5781"/>
                  </a:lnTo>
                  <a:close/>
                  <a:moveTo>
                    <a:pt x="11151" y="6901"/>
                  </a:moveTo>
                  <a:lnTo>
                    <a:pt x="11151" y="6892"/>
                  </a:lnTo>
                  <a:lnTo>
                    <a:pt x="11160" y="6883"/>
                  </a:lnTo>
                  <a:lnTo>
                    <a:pt x="11151" y="6883"/>
                  </a:lnTo>
                  <a:lnTo>
                    <a:pt x="11143" y="6892"/>
                  </a:lnTo>
                  <a:close/>
                  <a:moveTo>
                    <a:pt x="13400" y="5595"/>
                  </a:moveTo>
                  <a:lnTo>
                    <a:pt x="13400" y="5604"/>
                  </a:lnTo>
                  <a:lnTo>
                    <a:pt x="13409" y="5595"/>
                  </a:lnTo>
                  <a:close/>
                  <a:moveTo>
                    <a:pt x="15897" y="6116"/>
                  </a:moveTo>
                  <a:lnTo>
                    <a:pt x="15897" y="6125"/>
                  </a:lnTo>
                  <a:lnTo>
                    <a:pt x="15906" y="6125"/>
                  </a:lnTo>
                  <a:lnTo>
                    <a:pt x="15915" y="6116"/>
                  </a:lnTo>
                  <a:lnTo>
                    <a:pt x="15915" y="6107"/>
                  </a:lnTo>
                  <a:lnTo>
                    <a:pt x="15906" y="6099"/>
                  </a:lnTo>
                  <a:lnTo>
                    <a:pt x="15897" y="6090"/>
                  </a:lnTo>
                  <a:lnTo>
                    <a:pt x="15897" y="6099"/>
                  </a:lnTo>
                  <a:lnTo>
                    <a:pt x="15897" y="6107"/>
                  </a:lnTo>
                  <a:lnTo>
                    <a:pt x="15888" y="6107"/>
                  </a:lnTo>
                  <a:close/>
                  <a:moveTo>
                    <a:pt x="16223" y="6540"/>
                  </a:moveTo>
                  <a:lnTo>
                    <a:pt x="16223" y="6531"/>
                  </a:lnTo>
                  <a:close/>
                  <a:moveTo>
                    <a:pt x="16073" y="6425"/>
                  </a:moveTo>
                  <a:lnTo>
                    <a:pt x="16073" y="6416"/>
                  </a:lnTo>
                  <a:lnTo>
                    <a:pt x="16073" y="6407"/>
                  </a:lnTo>
                  <a:lnTo>
                    <a:pt x="16073" y="6399"/>
                  </a:lnTo>
                  <a:lnTo>
                    <a:pt x="16073" y="6390"/>
                  </a:lnTo>
                  <a:lnTo>
                    <a:pt x="16065" y="6390"/>
                  </a:lnTo>
                  <a:lnTo>
                    <a:pt x="16065" y="6407"/>
                  </a:lnTo>
                  <a:close/>
                  <a:moveTo>
                    <a:pt x="15500" y="7315"/>
                  </a:moveTo>
                  <a:lnTo>
                    <a:pt x="15491" y="7324"/>
                  </a:lnTo>
                  <a:lnTo>
                    <a:pt x="15500" y="7324"/>
                  </a:lnTo>
                  <a:close/>
                  <a:moveTo>
                    <a:pt x="16356" y="6522"/>
                  </a:moveTo>
                  <a:lnTo>
                    <a:pt x="16347" y="6531"/>
                  </a:lnTo>
                  <a:lnTo>
                    <a:pt x="16356" y="6531"/>
                  </a:lnTo>
                  <a:lnTo>
                    <a:pt x="16364" y="6531"/>
                  </a:lnTo>
                  <a:lnTo>
                    <a:pt x="16356" y="6531"/>
                  </a:lnTo>
                  <a:close/>
                  <a:moveTo>
                    <a:pt x="15500" y="7342"/>
                  </a:moveTo>
                  <a:lnTo>
                    <a:pt x="15491" y="7342"/>
                  </a:lnTo>
                  <a:close/>
                  <a:moveTo>
                    <a:pt x="16276" y="6540"/>
                  </a:moveTo>
                  <a:lnTo>
                    <a:pt x="16267" y="6540"/>
                  </a:lnTo>
                  <a:lnTo>
                    <a:pt x="16267" y="6549"/>
                  </a:lnTo>
                  <a:lnTo>
                    <a:pt x="16276" y="6549"/>
                  </a:lnTo>
                  <a:lnTo>
                    <a:pt x="16285" y="6540"/>
                  </a:lnTo>
                  <a:lnTo>
                    <a:pt x="16285" y="6531"/>
                  </a:lnTo>
                  <a:close/>
                  <a:moveTo>
                    <a:pt x="16312" y="6549"/>
                  </a:moveTo>
                  <a:lnTo>
                    <a:pt x="16303" y="6549"/>
                  </a:lnTo>
                  <a:lnTo>
                    <a:pt x="16303" y="6557"/>
                  </a:lnTo>
                  <a:lnTo>
                    <a:pt x="16312" y="6557"/>
                  </a:lnTo>
                  <a:lnTo>
                    <a:pt x="16312" y="6549"/>
                  </a:lnTo>
                  <a:lnTo>
                    <a:pt x="16320" y="6557"/>
                  </a:lnTo>
                  <a:lnTo>
                    <a:pt x="16320" y="6549"/>
                  </a:lnTo>
                  <a:close/>
                  <a:moveTo>
                    <a:pt x="15041" y="6434"/>
                  </a:moveTo>
                  <a:lnTo>
                    <a:pt x="15041" y="6443"/>
                  </a:lnTo>
                  <a:lnTo>
                    <a:pt x="15059" y="6443"/>
                  </a:lnTo>
                  <a:lnTo>
                    <a:pt x="15059" y="6452"/>
                  </a:lnTo>
                  <a:lnTo>
                    <a:pt x="15068" y="6460"/>
                  </a:lnTo>
                  <a:lnTo>
                    <a:pt x="15076" y="6452"/>
                  </a:lnTo>
                  <a:lnTo>
                    <a:pt x="15068" y="6452"/>
                  </a:lnTo>
                  <a:lnTo>
                    <a:pt x="15059" y="6443"/>
                  </a:lnTo>
                  <a:lnTo>
                    <a:pt x="15050" y="6443"/>
                  </a:lnTo>
                  <a:close/>
                  <a:moveTo>
                    <a:pt x="15244" y="8807"/>
                  </a:moveTo>
                  <a:lnTo>
                    <a:pt x="15253" y="8816"/>
                  </a:lnTo>
                  <a:lnTo>
                    <a:pt x="15253" y="8825"/>
                  </a:lnTo>
                  <a:lnTo>
                    <a:pt x="15262" y="8825"/>
                  </a:lnTo>
                  <a:lnTo>
                    <a:pt x="15262" y="8816"/>
                  </a:lnTo>
                  <a:lnTo>
                    <a:pt x="15262" y="8807"/>
                  </a:lnTo>
                  <a:lnTo>
                    <a:pt x="15262" y="8798"/>
                  </a:lnTo>
                  <a:lnTo>
                    <a:pt x="15253" y="8798"/>
                  </a:lnTo>
                  <a:lnTo>
                    <a:pt x="15253" y="8789"/>
                  </a:lnTo>
                  <a:lnTo>
                    <a:pt x="15253" y="8781"/>
                  </a:lnTo>
                  <a:lnTo>
                    <a:pt x="15244" y="8772"/>
                  </a:lnTo>
                  <a:lnTo>
                    <a:pt x="15244" y="8781"/>
                  </a:lnTo>
                  <a:lnTo>
                    <a:pt x="15235" y="8781"/>
                  </a:lnTo>
                  <a:lnTo>
                    <a:pt x="15235" y="8798"/>
                  </a:lnTo>
                  <a:lnTo>
                    <a:pt x="15235" y="8807"/>
                  </a:lnTo>
                  <a:close/>
                  <a:moveTo>
                    <a:pt x="15271" y="8745"/>
                  </a:moveTo>
                  <a:lnTo>
                    <a:pt x="15279" y="8745"/>
                  </a:lnTo>
                  <a:lnTo>
                    <a:pt x="15288" y="8736"/>
                  </a:lnTo>
                  <a:lnTo>
                    <a:pt x="15288" y="8728"/>
                  </a:lnTo>
                  <a:lnTo>
                    <a:pt x="15288" y="8719"/>
                  </a:lnTo>
                  <a:lnTo>
                    <a:pt x="15288" y="8710"/>
                  </a:lnTo>
                  <a:lnTo>
                    <a:pt x="15279" y="8710"/>
                  </a:lnTo>
                  <a:lnTo>
                    <a:pt x="15271" y="8710"/>
                  </a:lnTo>
                  <a:lnTo>
                    <a:pt x="15279" y="8728"/>
                  </a:lnTo>
                  <a:close/>
                  <a:moveTo>
                    <a:pt x="15271" y="8939"/>
                  </a:moveTo>
                  <a:lnTo>
                    <a:pt x="15279" y="8939"/>
                  </a:lnTo>
                  <a:lnTo>
                    <a:pt x="15279" y="8931"/>
                  </a:lnTo>
                  <a:lnTo>
                    <a:pt x="15288" y="8931"/>
                  </a:lnTo>
                  <a:lnTo>
                    <a:pt x="15288" y="8913"/>
                  </a:lnTo>
                  <a:lnTo>
                    <a:pt x="15279" y="8922"/>
                  </a:lnTo>
                  <a:lnTo>
                    <a:pt x="15271" y="8931"/>
                  </a:lnTo>
                  <a:close/>
                  <a:moveTo>
                    <a:pt x="15041" y="6425"/>
                  </a:moveTo>
                  <a:lnTo>
                    <a:pt x="15050" y="6434"/>
                  </a:lnTo>
                  <a:lnTo>
                    <a:pt x="15050" y="6425"/>
                  </a:lnTo>
                  <a:lnTo>
                    <a:pt x="15050" y="6416"/>
                  </a:lnTo>
                  <a:close/>
                  <a:moveTo>
                    <a:pt x="15306" y="7165"/>
                  </a:moveTo>
                  <a:lnTo>
                    <a:pt x="15297" y="7165"/>
                  </a:lnTo>
                  <a:lnTo>
                    <a:pt x="15297" y="7174"/>
                  </a:lnTo>
                  <a:lnTo>
                    <a:pt x="15306" y="7174"/>
                  </a:lnTo>
                  <a:close/>
                  <a:moveTo>
                    <a:pt x="15429" y="7104"/>
                  </a:moveTo>
                  <a:lnTo>
                    <a:pt x="15429" y="7112"/>
                  </a:lnTo>
                  <a:lnTo>
                    <a:pt x="15438" y="7121"/>
                  </a:lnTo>
                  <a:lnTo>
                    <a:pt x="15447" y="7121"/>
                  </a:lnTo>
                  <a:lnTo>
                    <a:pt x="15456" y="7121"/>
                  </a:lnTo>
                  <a:lnTo>
                    <a:pt x="15456" y="7130"/>
                  </a:lnTo>
                  <a:lnTo>
                    <a:pt x="15456" y="7121"/>
                  </a:lnTo>
                  <a:lnTo>
                    <a:pt x="15447" y="7112"/>
                  </a:lnTo>
                  <a:lnTo>
                    <a:pt x="15447" y="7121"/>
                  </a:lnTo>
                  <a:lnTo>
                    <a:pt x="15438" y="7112"/>
                  </a:lnTo>
                  <a:lnTo>
                    <a:pt x="15438" y="7104"/>
                  </a:lnTo>
                  <a:lnTo>
                    <a:pt x="15438" y="7095"/>
                  </a:lnTo>
                  <a:lnTo>
                    <a:pt x="15438" y="7104"/>
                  </a:lnTo>
                  <a:close/>
                  <a:moveTo>
                    <a:pt x="15297" y="7201"/>
                  </a:moveTo>
                  <a:lnTo>
                    <a:pt x="15297" y="7192"/>
                  </a:lnTo>
                  <a:lnTo>
                    <a:pt x="15297" y="7201"/>
                  </a:lnTo>
                  <a:lnTo>
                    <a:pt x="15306" y="7201"/>
                  </a:lnTo>
                  <a:lnTo>
                    <a:pt x="15315" y="7201"/>
                  </a:lnTo>
                  <a:lnTo>
                    <a:pt x="15323" y="7201"/>
                  </a:lnTo>
                  <a:lnTo>
                    <a:pt x="15315" y="7192"/>
                  </a:lnTo>
                  <a:lnTo>
                    <a:pt x="15315" y="7201"/>
                  </a:lnTo>
                  <a:lnTo>
                    <a:pt x="15306" y="7192"/>
                  </a:lnTo>
                  <a:lnTo>
                    <a:pt x="15306" y="7183"/>
                  </a:lnTo>
                  <a:lnTo>
                    <a:pt x="15297" y="7183"/>
                  </a:lnTo>
                  <a:lnTo>
                    <a:pt x="15297" y="7192"/>
                  </a:lnTo>
                  <a:lnTo>
                    <a:pt x="15306" y="7201"/>
                  </a:lnTo>
                  <a:close/>
                  <a:moveTo>
                    <a:pt x="15482" y="7227"/>
                  </a:moveTo>
                  <a:lnTo>
                    <a:pt x="15491" y="7227"/>
                  </a:lnTo>
                  <a:lnTo>
                    <a:pt x="15491" y="7218"/>
                  </a:lnTo>
                  <a:lnTo>
                    <a:pt x="15482" y="7218"/>
                  </a:lnTo>
                  <a:close/>
                  <a:moveTo>
                    <a:pt x="14168" y="5516"/>
                  </a:moveTo>
                  <a:lnTo>
                    <a:pt x="14168" y="5525"/>
                  </a:lnTo>
                  <a:lnTo>
                    <a:pt x="14177" y="5525"/>
                  </a:lnTo>
                  <a:lnTo>
                    <a:pt x="14177" y="5516"/>
                  </a:lnTo>
                  <a:close/>
                  <a:moveTo>
                    <a:pt x="14256" y="5534"/>
                  </a:moveTo>
                  <a:lnTo>
                    <a:pt x="14247" y="5534"/>
                  </a:lnTo>
                  <a:lnTo>
                    <a:pt x="14256" y="5534"/>
                  </a:lnTo>
                  <a:lnTo>
                    <a:pt x="14265" y="5525"/>
                  </a:lnTo>
                  <a:lnTo>
                    <a:pt x="14274" y="5525"/>
                  </a:lnTo>
                  <a:lnTo>
                    <a:pt x="14265" y="5525"/>
                  </a:lnTo>
                  <a:close/>
                  <a:moveTo>
                    <a:pt x="14274" y="5384"/>
                  </a:moveTo>
                  <a:lnTo>
                    <a:pt x="14265" y="5384"/>
                  </a:lnTo>
                  <a:lnTo>
                    <a:pt x="14256" y="5384"/>
                  </a:lnTo>
                  <a:lnTo>
                    <a:pt x="14256" y="5392"/>
                  </a:lnTo>
                  <a:lnTo>
                    <a:pt x="14265" y="5401"/>
                  </a:lnTo>
                  <a:lnTo>
                    <a:pt x="14265" y="5410"/>
                  </a:lnTo>
                  <a:lnTo>
                    <a:pt x="14256" y="5410"/>
                  </a:lnTo>
                  <a:lnTo>
                    <a:pt x="14265" y="5419"/>
                  </a:lnTo>
                  <a:lnTo>
                    <a:pt x="14274" y="5410"/>
                  </a:lnTo>
                  <a:lnTo>
                    <a:pt x="14282" y="5410"/>
                  </a:lnTo>
                  <a:lnTo>
                    <a:pt x="14282" y="5392"/>
                  </a:lnTo>
                  <a:lnTo>
                    <a:pt x="14282" y="5384"/>
                  </a:lnTo>
                  <a:close/>
                  <a:moveTo>
                    <a:pt x="14256" y="5242"/>
                  </a:moveTo>
                  <a:lnTo>
                    <a:pt x="14247" y="5242"/>
                  </a:lnTo>
                  <a:lnTo>
                    <a:pt x="14247" y="5251"/>
                  </a:lnTo>
                  <a:lnTo>
                    <a:pt x="14265" y="5251"/>
                  </a:lnTo>
                  <a:lnTo>
                    <a:pt x="14265" y="5242"/>
                  </a:lnTo>
                  <a:close/>
                  <a:moveTo>
                    <a:pt x="14238" y="5216"/>
                  </a:moveTo>
                  <a:lnTo>
                    <a:pt x="14229" y="5216"/>
                  </a:lnTo>
                  <a:lnTo>
                    <a:pt x="14238" y="5225"/>
                  </a:lnTo>
                  <a:lnTo>
                    <a:pt x="14247" y="5225"/>
                  </a:lnTo>
                  <a:close/>
                  <a:moveTo>
                    <a:pt x="14282" y="5463"/>
                  </a:moveTo>
                  <a:lnTo>
                    <a:pt x="14274" y="5463"/>
                  </a:lnTo>
                  <a:lnTo>
                    <a:pt x="14265" y="5472"/>
                  </a:lnTo>
                  <a:lnTo>
                    <a:pt x="14274" y="5472"/>
                  </a:lnTo>
                  <a:lnTo>
                    <a:pt x="14282" y="5472"/>
                  </a:lnTo>
                  <a:lnTo>
                    <a:pt x="14291" y="5463"/>
                  </a:lnTo>
                  <a:close/>
                  <a:moveTo>
                    <a:pt x="14212" y="5507"/>
                  </a:moveTo>
                  <a:lnTo>
                    <a:pt x="14203" y="5507"/>
                  </a:lnTo>
                  <a:lnTo>
                    <a:pt x="14203" y="5516"/>
                  </a:lnTo>
                  <a:lnTo>
                    <a:pt x="14212" y="5516"/>
                  </a:lnTo>
                  <a:close/>
                  <a:moveTo>
                    <a:pt x="14291" y="5313"/>
                  </a:moveTo>
                  <a:lnTo>
                    <a:pt x="14282" y="5313"/>
                  </a:lnTo>
                  <a:lnTo>
                    <a:pt x="14282" y="5322"/>
                  </a:lnTo>
                  <a:lnTo>
                    <a:pt x="14274" y="5322"/>
                  </a:lnTo>
                  <a:lnTo>
                    <a:pt x="14265" y="5322"/>
                  </a:lnTo>
                  <a:lnTo>
                    <a:pt x="14256" y="5331"/>
                  </a:lnTo>
                  <a:lnTo>
                    <a:pt x="14265" y="5340"/>
                  </a:lnTo>
                  <a:lnTo>
                    <a:pt x="14274" y="5340"/>
                  </a:lnTo>
                  <a:lnTo>
                    <a:pt x="14282" y="5331"/>
                  </a:lnTo>
                  <a:lnTo>
                    <a:pt x="14291" y="5331"/>
                  </a:lnTo>
                  <a:lnTo>
                    <a:pt x="14282" y="5331"/>
                  </a:lnTo>
                  <a:lnTo>
                    <a:pt x="14274" y="5340"/>
                  </a:lnTo>
                  <a:lnTo>
                    <a:pt x="14282" y="5348"/>
                  </a:lnTo>
                  <a:lnTo>
                    <a:pt x="14300" y="5348"/>
                  </a:lnTo>
                  <a:lnTo>
                    <a:pt x="14309" y="5348"/>
                  </a:lnTo>
                  <a:lnTo>
                    <a:pt x="14300" y="5340"/>
                  </a:lnTo>
                  <a:lnTo>
                    <a:pt x="14309" y="5340"/>
                  </a:lnTo>
                  <a:lnTo>
                    <a:pt x="14309" y="5348"/>
                  </a:lnTo>
                  <a:lnTo>
                    <a:pt x="14309" y="5340"/>
                  </a:lnTo>
                  <a:lnTo>
                    <a:pt x="14309" y="5331"/>
                  </a:lnTo>
                  <a:lnTo>
                    <a:pt x="14300" y="5322"/>
                  </a:lnTo>
                  <a:close/>
                  <a:moveTo>
                    <a:pt x="14159" y="5543"/>
                  </a:moveTo>
                  <a:lnTo>
                    <a:pt x="14159" y="5534"/>
                  </a:lnTo>
                  <a:lnTo>
                    <a:pt x="14159" y="5543"/>
                  </a:lnTo>
                  <a:lnTo>
                    <a:pt x="14150" y="5543"/>
                  </a:lnTo>
                  <a:lnTo>
                    <a:pt x="14141" y="5543"/>
                  </a:lnTo>
                  <a:close/>
                  <a:moveTo>
                    <a:pt x="14291" y="5551"/>
                  </a:moveTo>
                  <a:lnTo>
                    <a:pt x="14291" y="5560"/>
                  </a:lnTo>
                  <a:lnTo>
                    <a:pt x="14300" y="5551"/>
                  </a:lnTo>
                  <a:lnTo>
                    <a:pt x="14291" y="5551"/>
                  </a:lnTo>
                  <a:lnTo>
                    <a:pt x="14300" y="5551"/>
                  </a:lnTo>
                  <a:close/>
                  <a:moveTo>
                    <a:pt x="14088" y="5437"/>
                  </a:moveTo>
                  <a:lnTo>
                    <a:pt x="14080" y="5437"/>
                  </a:lnTo>
                  <a:close/>
                  <a:moveTo>
                    <a:pt x="14194" y="5463"/>
                  </a:moveTo>
                  <a:lnTo>
                    <a:pt x="14203" y="5472"/>
                  </a:lnTo>
                  <a:lnTo>
                    <a:pt x="14212" y="5472"/>
                  </a:lnTo>
                  <a:lnTo>
                    <a:pt x="14212" y="5463"/>
                  </a:lnTo>
                  <a:lnTo>
                    <a:pt x="14203" y="5463"/>
                  </a:lnTo>
                  <a:close/>
                  <a:moveTo>
                    <a:pt x="14353" y="5648"/>
                  </a:moveTo>
                  <a:lnTo>
                    <a:pt x="14362" y="5648"/>
                  </a:lnTo>
                  <a:lnTo>
                    <a:pt x="14353" y="5640"/>
                  </a:lnTo>
                  <a:lnTo>
                    <a:pt x="14353" y="5631"/>
                  </a:lnTo>
                  <a:lnTo>
                    <a:pt x="14353" y="5622"/>
                  </a:lnTo>
                  <a:lnTo>
                    <a:pt x="14362" y="5613"/>
                  </a:lnTo>
                  <a:lnTo>
                    <a:pt x="14353" y="5622"/>
                  </a:lnTo>
                  <a:lnTo>
                    <a:pt x="14344" y="5631"/>
                  </a:lnTo>
                  <a:lnTo>
                    <a:pt x="14353" y="5640"/>
                  </a:lnTo>
                  <a:close/>
                  <a:moveTo>
                    <a:pt x="14221" y="5260"/>
                  </a:moveTo>
                  <a:lnTo>
                    <a:pt x="14212" y="5269"/>
                  </a:lnTo>
                  <a:lnTo>
                    <a:pt x="14212" y="5260"/>
                  </a:lnTo>
                  <a:lnTo>
                    <a:pt x="14203" y="5260"/>
                  </a:lnTo>
                  <a:lnTo>
                    <a:pt x="14194" y="5260"/>
                  </a:lnTo>
                  <a:lnTo>
                    <a:pt x="14203" y="5269"/>
                  </a:lnTo>
                  <a:lnTo>
                    <a:pt x="14203" y="5278"/>
                  </a:lnTo>
                  <a:lnTo>
                    <a:pt x="14212" y="5278"/>
                  </a:lnTo>
                  <a:lnTo>
                    <a:pt x="14212" y="5269"/>
                  </a:lnTo>
                  <a:lnTo>
                    <a:pt x="14212" y="5278"/>
                  </a:lnTo>
                  <a:lnTo>
                    <a:pt x="14221" y="5278"/>
                  </a:lnTo>
                  <a:lnTo>
                    <a:pt x="14221" y="5269"/>
                  </a:lnTo>
                  <a:lnTo>
                    <a:pt x="14229" y="5260"/>
                  </a:lnTo>
                  <a:close/>
                  <a:moveTo>
                    <a:pt x="20008" y="8286"/>
                  </a:moveTo>
                  <a:lnTo>
                    <a:pt x="20017" y="8295"/>
                  </a:lnTo>
                  <a:lnTo>
                    <a:pt x="20017" y="8286"/>
                  </a:lnTo>
                  <a:close/>
                  <a:moveTo>
                    <a:pt x="14221" y="5543"/>
                  </a:moveTo>
                  <a:lnTo>
                    <a:pt x="14221" y="5534"/>
                  </a:lnTo>
                  <a:lnTo>
                    <a:pt x="14212" y="5534"/>
                  </a:lnTo>
                  <a:lnTo>
                    <a:pt x="14212" y="5543"/>
                  </a:lnTo>
                  <a:close/>
                  <a:moveTo>
                    <a:pt x="14238" y="5516"/>
                  </a:moveTo>
                  <a:lnTo>
                    <a:pt x="14238" y="5507"/>
                  </a:lnTo>
                  <a:lnTo>
                    <a:pt x="14238" y="5498"/>
                  </a:lnTo>
                  <a:lnTo>
                    <a:pt x="14229" y="5498"/>
                  </a:lnTo>
                  <a:lnTo>
                    <a:pt x="14221" y="5507"/>
                  </a:lnTo>
                  <a:lnTo>
                    <a:pt x="14221" y="5516"/>
                  </a:lnTo>
                  <a:lnTo>
                    <a:pt x="14229" y="5525"/>
                  </a:lnTo>
                  <a:close/>
                  <a:moveTo>
                    <a:pt x="14229" y="5481"/>
                  </a:moveTo>
                  <a:lnTo>
                    <a:pt x="14221" y="5472"/>
                  </a:lnTo>
                  <a:lnTo>
                    <a:pt x="14221" y="5481"/>
                  </a:lnTo>
                  <a:close/>
                  <a:moveTo>
                    <a:pt x="14080" y="5357"/>
                  </a:moveTo>
                  <a:lnTo>
                    <a:pt x="14080" y="5348"/>
                  </a:lnTo>
                  <a:lnTo>
                    <a:pt x="14071" y="5348"/>
                  </a:lnTo>
                  <a:lnTo>
                    <a:pt x="14062" y="5348"/>
                  </a:lnTo>
                  <a:lnTo>
                    <a:pt x="14044" y="5357"/>
                  </a:lnTo>
                  <a:lnTo>
                    <a:pt x="14035" y="5357"/>
                  </a:lnTo>
                  <a:lnTo>
                    <a:pt x="14044" y="5357"/>
                  </a:lnTo>
                  <a:lnTo>
                    <a:pt x="14053" y="5357"/>
                  </a:lnTo>
                  <a:lnTo>
                    <a:pt x="14062" y="5357"/>
                  </a:lnTo>
                  <a:lnTo>
                    <a:pt x="14062" y="5366"/>
                  </a:lnTo>
                  <a:lnTo>
                    <a:pt x="14071" y="5366"/>
                  </a:lnTo>
                  <a:lnTo>
                    <a:pt x="14080" y="5375"/>
                  </a:lnTo>
                  <a:lnTo>
                    <a:pt x="14088" y="5384"/>
                  </a:lnTo>
                  <a:lnTo>
                    <a:pt x="14097" y="5384"/>
                  </a:lnTo>
                  <a:lnTo>
                    <a:pt x="14097" y="5392"/>
                  </a:lnTo>
                  <a:lnTo>
                    <a:pt x="14106" y="5401"/>
                  </a:lnTo>
                  <a:lnTo>
                    <a:pt x="14115" y="5401"/>
                  </a:lnTo>
                  <a:lnTo>
                    <a:pt x="14124" y="5401"/>
                  </a:lnTo>
                  <a:lnTo>
                    <a:pt x="14132" y="5401"/>
                  </a:lnTo>
                  <a:lnTo>
                    <a:pt x="14132" y="5410"/>
                  </a:lnTo>
                  <a:lnTo>
                    <a:pt x="14132" y="5419"/>
                  </a:lnTo>
                  <a:lnTo>
                    <a:pt x="14141" y="5428"/>
                  </a:lnTo>
                  <a:lnTo>
                    <a:pt x="14150" y="5428"/>
                  </a:lnTo>
                  <a:lnTo>
                    <a:pt x="14159" y="5437"/>
                  </a:lnTo>
                  <a:lnTo>
                    <a:pt x="14168" y="5428"/>
                  </a:lnTo>
                  <a:lnTo>
                    <a:pt x="14168" y="5419"/>
                  </a:lnTo>
                  <a:lnTo>
                    <a:pt x="14159" y="5419"/>
                  </a:lnTo>
                  <a:lnTo>
                    <a:pt x="14150" y="5419"/>
                  </a:lnTo>
                  <a:lnTo>
                    <a:pt x="14141" y="5410"/>
                  </a:lnTo>
                  <a:lnTo>
                    <a:pt x="14141" y="5401"/>
                  </a:lnTo>
                  <a:lnTo>
                    <a:pt x="14132" y="5392"/>
                  </a:lnTo>
                  <a:lnTo>
                    <a:pt x="14132" y="5384"/>
                  </a:lnTo>
                  <a:lnTo>
                    <a:pt x="14132" y="5375"/>
                  </a:lnTo>
                  <a:lnTo>
                    <a:pt x="14115" y="5375"/>
                  </a:lnTo>
                  <a:lnTo>
                    <a:pt x="14097" y="5366"/>
                  </a:lnTo>
                  <a:lnTo>
                    <a:pt x="14088" y="5366"/>
                  </a:lnTo>
                  <a:close/>
                  <a:moveTo>
                    <a:pt x="13877" y="5392"/>
                  </a:moveTo>
                  <a:lnTo>
                    <a:pt x="13877" y="5401"/>
                  </a:lnTo>
                  <a:lnTo>
                    <a:pt x="13885" y="5401"/>
                  </a:lnTo>
                  <a:lnTo>
                    <a:pt x="13877" y="5401"/>
                  </a:lnTo>
                  <a:close/>
                  <a:moveTo>
                    <a:pt x="14097" y="5640"/>
                  </a:moveTo>
                  <a:lnTo>
                    <a:pt x="14088" y="5640"/>
                  </a:lnTo>
                  <a:lnTo>
                    <a:pt x="14088" y="5648"/>
                  </a:lnTo>
                  <a:lnTo>
                    <a:pt x="14088" y="5657"/>
                  </a:lnTo>
                  <a:lnTo>
                    <a:pt x="14088" y="5666"/>
                  </a:lnTo>
                  <a:lnTo>
                    <a:pt x="14097" y="5666"/>
                  </a:lnTo>
                  <a:lnTo>
                    <a:pt x="14115" y="5666"/>
                  </a:lnTo>
                  <a:lnTo>
                    <a:pt x="14124" y="5666"/>
                  </a:lnTo>
                  <a:lnTo>
                    <a:pt x="14159" y="5675"/>
                  </a:lnTo>
                  <a:lnTo>
                    <a:pt x="14168" y="5675"/>
                  </a:lnTo>
                  <a:lnTo>
                    <a:pt x="14177" y="5675"/>
                  </a:lnTo>
                  <a:lnTo>
                    <a:pt x="14177" y="5684"/>
                  </a:lnTo>
                  <a:lnTo>
                    <a:pt x="14177" y="5693"/>
                  </a:lnTo>
                  <a:lnTo>
                    <a:pt x="14212" y="5684"/>
                  </a:lnTo>
                  <a:lnTo>
                    <a:pt x="14238" y="5684"/>
                  </a:lnTo>
                  <a:lnTo>
                    <a:pt x="14256" y="5684"/>
                  </a:lnTo>
                  <a:lnTo>
                    <a:pt x="14274" y="5684"/>
                  </a:lnTo>
                  <a:lnTo>
                    <a:pt x="14282" y="5684"/>
                  </a:lnTo>
                  <a:lnTo>
                    <a:pt x="14282" y="5675"/>
                  </a:lnTo>
                  <a:lnTo>
                    <a:pt x="14291" y="5675"/>
                  </a:lnTo>
                  <a:lnTo>
                    <a:pt x="14291" y="5666"/>
                  </a:lnTo>
                  <a:lnTo>
                    <a:pt x="14291" y="5657"/>
                  </a:lnTo>
                  <a:lnTo>
                    <a:pt x="14282" y="5666"/>
                  </a:lnTo>
                  <a:lnTo>
                    <a:pt x="14274" y="5666"/>
                  </a:lnTo>
                  <a:lnTo>
                    <a:pt x="14256" y="5666"/>
                  </a:lnTo>
                  <a:lnTo>
                    <a:pt x="14256" y="5675"/>
                  </a:lnTo>
                  <a:lnTo>
                    <a:pt x="14247" y="5675"/>
                  </a:lnTo>
                  <a:lnTo>
                    <a:pt x="14247" y="5666"/>
                  </a:lnTo>
                  <a:lnTo>
                    <a:pt x="14247" y="5657"/>
                  </a:lnTo>
                  <a:lnTo>
                    <a:pt x="14238" y="5657"/>
                  </a:lnTo>
                  <a:lnTo>
                    <a:pt x="14229" y="5657"/>
                  </a:lnTo>
                  <a:lnTo>
                    <a:pt x="14221" y="5657"/>
                  </a:lnTo>
                  <a:lnTo>
                    <a:pt x="14203" y="5657"/>
                  </a:lnTo>
                  <a:lnTo>
                    <a:pt x="14194" y="5648"/>
                  </a:lnTo>
                  <a:lnTo>
                    <a:pt x="14177" y="5648"/>
                  </a:lnTo>
                  <a:lnTo>
                    <a:pt x="14168" y="5648"/>
                  </a:lnTo>
                  <a:lnTo>
                    <a:pt x="14159" y="5648"/>
                  </a:lnTo>
                  <a:lnTo>
                    <a:pt x="14150" y="5657"/>
                  </a:lnTo>
                  <a:lnTo>
                    <a:pt x="14141" y="5657"/>
                  </a:lnTo>
                  <a:lnTo>
                    <a:pt x="14141" y="5648"/>
                  </a:lnTo>
                  <a:lnTo>
                    <a:pt x="14132" y="5648"/>
                  </a:lnTo>
                  <a:lnTo>
                    <a:pt x="14132" y="5640"/>
                  </a:lnTo>
                  <a:lnTo>
                    <a:pt x="14132" y="5631"/>
                  </a:lnTo>
                  <a:lnTo>
                    <a:pt x="14124" y="5631"/>
                  </a:lnTo>
                  <a:lnTo>
                    <a:pt x="14124" y="5640"/>
                  </a:lnTo>
                  <a:lnTo>
                    <a:pt x="14115" y="5640"/>
                  </a:lnTo>
                  <a:lnTo>
                    <a:pt x="14106" y="5640"/>
                  </a:lnTo>
                  <a:lnTo>
                    <a:pt x="14106" y="5631"/>
                  </a:lnTo>
                  <a:lnTo>
                    <a:pt x="14097" y="5631"/>
                  </a:lnTo>
                  <a:close/>
                  <a:moveTo>
                    <a:pt x="14097" y="5340"/>
                  </a:moveTo>
                  <a:lnTo>
                    <a:pt x="14106" y="5340"/>
                  </a:lnTo>
                  <a:lnTo>
                    <a:pt x="14088" y="5331"/>
                  </a:lnTo>
                  <a:close/>
                  <a:moveTo>
                    <a:pt x="14115" y="5331"/>
                  </a:moveTo>
                  <a:lnTo>
                    <a:pt x="14115" y="5322"/>
                  </a:lnTo>
                  <a:lnTo>
                    <a:pt x="14115" y="5331"/>
                  </a:lnTo>
                  <a:lnTo>
                    <a:pt x="14106" y="5331"/>
                  </a:lnTo>
                  <a:close/>
                  <a:moveTo>
                    <a:pt x="14053" y="5587"/>
                  </a:moveTo>
                  <a:lnTo>
                    <a:pt x="14053" y="5578"/>
                  </a:lnTo>
                  <a:lnTo>
                    <a:pt x="14044" y="5578"/>
                  </a:lnTo>
                  <a:lnTo>
                    <a:pt x="14044" y="5569"/>
                  </a:lnTo>
                  <a:lnTo>
                    <a:pt x="14044" y="5578"/>
                  </a:lnTo>
                  <a:lnTo>
                    <a:pt x="14044" y="5587"/>
                  </a:lnTo>
                  <a:close/>
                  <a:moveTo>
                    <a:pt x="13877" y="5366"/>
                  </a:moveTo>
                  <a:lnTo>
                    <a:pt x="13868" y="5366"/>
                  </a:lnTo>
                  <a:lnTo>
                    <a:pt x="13868" y="5375"/>
                  </a:lnTo>
                  <a:lnTo>
                    <a:pt x="13868" y="5384"/>
                  </a:lnTo>
                  <a:lnTo>
                    <a:pt x="13877" y="5384"/>
                  </a:lnTo>
                  <a:lnTo>
                    <a:pt x="13877" y="5375"/>
                  </a:lnTo>
                  <a:lnTo>
                    <a:pt x="13877" y="5366"/>
                  </a:lnTo>
                  <a:lnTo>
                    <a:pt x="13877" y="5357"/>
                  </a:lnTo>
                  <a:close/>
                  <a:moveTo>
                    <a:pt x="13877" y="5437"/>
                  </a:moveTo>
                  <a:lnTo>
                    <a:pt x="13877" y="5445"/>
                  </a:lnTo>
                  <a:lnTo>
                    <a:pt x="13877" y="5454"/>
                  </a:lnTo>
                  <a:lnTo>
                    <a:pt x="13885" y="5463"/>
                  </a:lnTo>
                  <a:lnTo>
                    <a:pt x="13894" y="5454"/>
                  </a:lnTo>
                  <a:lnTo>
                    <a:pt x="13903" y="5454"/>
                  </a:lnTo>
                  <a:lnTo>
                    <a:pt x="13894" y="5445"/>
                  </a:lnTo>
                  <a:lnTo>
                    <a:pt x="13885" y="5445"/>
                  </a:lnTo>
                  <a:close/>
                  <a:moveTo>
                    <a:pt x="13868" y="5401"/>
                  </a:moveTo>
                  <a:lnTo>
                    <a:pt x="13859" y="5401"/>
                  </a:lnTo>
                  <a:lnTo>
                    <a:pt x="13850" y="5410"/>
                  </a:lnTo>
                  <a:lnTo>
                    <a:pt x="13850" y="5419"/>
                  </a:lnTo>
                  <a:lnTo>
                    <a:pt x="13859" y="5419"/>
                  </a:lnTo>
                  <a:lnTo>
                    <a:pt x="13859" y="5410"/>
                  </a:lnTo>
                  <a:lnTo>
                    <a:pt x="13868" y="5419"/>
                  </a:lnTo>
                  <a:lnTo>
                    <a:pt x="13868" y="5428"/>
                  </a:lnTo>
                  <a:lnTo>
                    <a:pt x="13868" y="5419"/>
                  </a:lnTo>
                  <a:lnTo>
                    <a:pt x="13885" y="5428"/>
                  </a:lnTo>
                  <a:lnTo>
                    <a:pt x="13885" y="5419"/>
                  </a:lnTo>
                  <a:lnTo>
                    <a:pt x="13877" y="5410"/>
                  </a:lnTo>
                  <a:lnTo>
                    <a:pt x="13868" y="5401"/>
                  </a:lnTo>
                  <a:lnTo>
                    <a:pt x="13868" y="5392"/>
                  </a:lnTo>
                  <a:close/>
                  <a:moveTo>
                    <a:pt x="14362" y="5525"/>
                  </a:moveTo>
                  <a:lnTo>
                    <a:pt x="14353" y="5525"/>
                  </a:lnTo>
                  <a:lnTo>
                    <a:pt x="14344" y="5534"/>
                  </a:lnTo>
                  <a:lnTo>
                    <a:pt x="14335" y="5534"/>
                  </a:lnTo>
                  <a:lnTo>
                    <a:pt x="14335" y="5543"/>
                  </a:lnTo>
                  <a:lnTo>
                    <a:pt x="14344" y="5534"/>
                  </a:lnTo>
                  <a:lnTo>
                    <a:pt x="14353" y="5534"/>
                  </a:lnTo>
                  <a:lnTo>
                    <a:pt x="14371" y="5525"/>
                  </a:lnTo>
                  <a:close/>
                  <a:moveTo>
                    <a:pt x="14150" y="5481"/>
                  </a:moveTo>
                  <a:lnTo>
                    <a:pt x="14150" y="5490"/>
                  </a:lnTo>
                  <a:lnTo>
                    <a:pt x="14159" y="5481"/>
                  </a:lnTo>
                  <a:close/>
                  <a:moveTo>
                    <a:pt x="14159" y="5507"/>
                  </a:moveTo>
                  <a:lnTo>
                    <a:pt x="14159" y="5498"/>
                  </a:lnTo>
                  <a:lnTo>
                    <a:pt x="14150" y="5498"/>
                  </a:lnTo>
                  <a:lnTo>
                    <a:pt x="14150" y="5507"/>
                  </a:lnTo>
                  <a:close/>
                  <a:moveTo>
                    <a:pt x="14159" y="5348"/>
                  </a:moveTo>
                  <a:lnTo>
                    <a:pt x="14159" y="5357"/>
                  </a:lnTo>
                  <a:lnTo>
                    <a:pt x="14159" y="5366"/>
                  </a:lnTo>
                  <a:lnTo>
                    <a:pt x="14168" y="5366"/>
                  </a:lnTo>
                  <a:lnTo>
                    <a:pt x="14168" y="5357"/>
                  </a:lnTo>
                  <a:close/>
                  <a:moveTo>
                    <a:pt x="14177" y="5198"/>
                  </a:moveTo>
                  <a:lnTo>
                    <a:pt x="14177" y="5189"/>
                  </a:lnTo>
                  <a:lnTo>
                    <a:pt x="14168" y="5189"/>
                  </a:lnTo>
                  <a:lnTo>
                    <a:pt x="14168" y="5198"/>
                  </a:lnTo>
                  <a:lnTo>
                    <a:pt x="14159" y="5198"/>
                  </a:lnTo>
                  <a:lnTo>
                    <a:pt x="14159" y="5207"/>
                  </a:lnTo>
                  <a:lnTo>
                    <a:pt x="14168" y="5207"/>
                  </a:lnTo>
                  <a:lnTo>
                    <a:pt x="14177" y="5207"/>
                  </a:lnTo>
                  <a:close/>
                  <a:moveTo>
                    <a:pt x="14185" y="5481"/>
                  </a:moveTo>
                  <a:lnTo>
                    <a:pt x="14194" y="5481"/>
                  </a:lnTo>
                  <a:lnTo>
                    <a:pt x="14194" y="5472"/>
                  </a:lnTo>
                  <a:lnTo>
                    <a:pt x="14185" y="5472"/>
                  </a:lnTo>
                  <a:close/>
                  <a:moveTo>
                    <a:pt x="14141" y="5463"/>
                  </a:moveTo>
                  <a:lnTo>
                    <a:pt x="14141" y="5472"/>
                  </a:lnTo>
                  <a:lnTo>
                    <a:pt x="14150" y="5472"/>
                  </a:lnTo>
                  <a:lnTo>
                    <a:pt x="14150" y="5463"/>
                  </a:lnTo>
                  <a:close/>
                  <a:moveTo>
                    <a:pt x="14185" y="5437"/>
                  </a:moveTo>
                  <a:lnTo>
                    <a:pt x="14177" y="5437"/>
                  </a:lnTo>
                  <a:lnTo>
                    <a:pt x="14177" y="5445"/>
                  </a:lnTo>
                  <a:lnTo>
                    <a:pt x="14185" y="5454"/>
                  </a:lnTo>
                  <a:lnTo>
                    <a:pt x="14194" y="5454"/>
                  </a:lnTo>
                  <a:lnTo>
                    <a:pt x="14194" y="5445"/>
                  </a:lnTo>
                  <a:lnTo>
                    <a:pt x="14194" y="5437"/>
                  </a:lnTo>
                  <a:close/>
                  <a:moveTo>
                    <a:pt x="14229" y="5569"/>
                  </a:moveTo>
                  <a:lnTo>
                    <a:pt x="14221" y="5560"/>
                  </a:lnTo>
                  <a:lnTo>
                    <a:pt x="14221" y="5569"/>
                  </a:lnTo>
                  <a:close/>
                  <a:moveTo>
                    <a:pt x="22884" y="8966"/>
                  </a:moveTo>
                  <a:lnTo>
                    <a:pt x="22884" y="8975"/>
                  </a:lnTo>
                  <a:lnTo>
                    <a:pt x="22893" y="8975"/>
                  </a:lnTo>
                  <a:lnTo>
                    <a:pt x="22902" y="8984"/>
                  </a:lnTo>
                  <a:lnTo>
                    <a:pt x="22911" y="8984"/>
                  </a:lnTo>
                  <a:lnTo>
                    <a:pt x="22902" y="8975"/>
                  </a:lnTo>
                  <a:lnTo>
                    <a:pt x="22893" y="8975"/>
                  </a:lnTo>
                  <a:close/>
                  <a:moveTo>
                    <a:pt x="23308" y="9840"/>
                  </a:moveTo>
                  <a:lnTo>
                    <a:pt x="23299" y="9840"/>
                  </a:lnTo>
                  <a:close/>
                  <a:moveTo>
                    <a:pt x="23105" y="9698"/>
                  </a:moveTo>
                  <a:lnTo>
                    <a:pt x="23096" y="9698"/>
                  </a:lnTo>
                  <a:lnTo>
                    <a:pt x="23105" y="9707"/>
                  </a:lnTo>
                  <a:lnTo>
                    <a:pt x="23105" y="9716"/>
                  </a:lnTo>
                  <a:lnTo>
                    <a:pt x="23114" y="9716"/>
                  </a:lnTo>
                  <a:lnTo>
                    <a:pt x="23114" y="9707"/>
                  </a:lnTo>
                  <a:lnTo>
                    <a:pt x="23114" y="9698"/>
                  </a:lnTo>
                  <a:close/>
                  <a:moveTo>
                    <a:pt x="22911" y="8975"/>
                  </a:moveTo>
                  <a:lnTo>
                    <a:pt x="22911" y="8966"/>
                  </a:lnTo>
                  <a:lnTo>
                    <a:pt x="22893" y="8966"/>
                  </a:lnTo>
                  <a:close/>
                  <a:moveTo>
                    <a:pt x="23308" y="9857"/>
                  </a:moveTo>
                  <a:lnTo>
                    <a:pt x="23317" y="9857"/>
                  </a:lnTo>
                  <a:lnTo>
                    <a:pt x="23308" y="9848"/>
                  </a:lnTo>
                  <a:lnTo>
                    <a:pt x="23308" y="9840"/>
                  </a:lnTo>
                  <a:close/>
                  <a:moveTo>
                    <a:pt x="22805" y="9142"/>
                  </a:moveTo>
                  <a:lnTo>
                    <a:pt x="22814" y="9134"/>
                  </a:lnTo>
                  <a:lnTo>
                    <a:pt x="22814" y="9125"/>
                  </a:lnTo>
                  <a:lnTo>
                    <a:pt x="22805" y="9134"/>
                  </a:lnTo>
                  <a:close/>
                  <a:moveTo>
                    <a:pt x="23422" y="10007"/>
                  </a:moveTo>
                  <a:lnTo>
                    <a:pt x="23414" y="10007"/>
                  </a:lnTo>
                  <a:lnTo>
                    <a:pt x="23422" y="10007"/>
                  </a:lnTo>
                  <a:lnTo>
                    <a:pt x="23422" y="9998"/>
                  </a:lnTo>
                  <a:close/>
                  <a:moveTo>
                    <a:pt x="23378" y="9990"/>
                  </a:moveTo>
                  <a:lnTo>
                    <a:pt x="23369" y="9998"/>
                  </a:lnTo>
                  <a:lnTo>
                    <a:pt x="23378" y="9998"/>
                  </a:lnTo>
                  <a:close/>
                  <a:moveTo>
                    <a:pt x="23431" y="9107"/>
                  </a:moveTo>
                  <a:lnTo>
                    <a:pt x="23449" y="9098"/>
                  </a:lnTo>
                  <a:lnTo>
                    <a:pt x="23431" y="9107"/>
                  </a:lnTo>
                  <a:lnTo>
                    <a:pt x="23422" y="9098"/>
                  </a:lnTo>
                  <a:lnTo>
                    <a:pt x="23414" y="9098"/>
                  </a:lnTo>
                  <a:lnTo>
                    <a:pt x="23405" y="9098"/>
                  </a:lnTo>
                  <a:lnTo>
                    <a:pt x="23396" y="9089"/>
                  </a:lnTo>
                  <a:lnTo>
                    <a:pt x="23387" y="9089"/>
                  </a:lnTo>
                  <a:lnTo>
                    <a:pt x="23378" y="9089"/>
                  </a:lnTo>
                  <a:lnTo>
                    <a:pt x="23369" y="9081"/>
                  </a:lnTo>
                  <a:lnTo>
                    <a:pt x="23369" y="9072"/>
                  </a:lnTo>
                  <a:lnTo>
                    <a:pt x="23369" y="9063"/>
                  </a:lnTo>
                  <a:lnTo>
                    <a:pt x="23378" y="9063"/>
                  </a:lnTo>
                  <a:lnTo>
                    <a:pt x="23387" y="9063"/>
                  </a:lnTo>
                  <a:lnTo>
                    <a:pt x="23378" y="9063"/>
                  </a:lnTo>
                  <a:lnTo>
                    <a:pt x="23369" y="9054"/>
                  </a:lnTo>
                  <a:lnTo>
                    <a:pt x="23343" y="9054"/>
                  </a:lnTo>
                  <a:lnTo>
                    <a:pt x="23325" y="9045"/>
                  </a:lnTo>
                  <a:lnTo>
                    <a:pt x="23325" y="9036"/>
                  </a:lnTo>
                  <a:lnTo>
                    <a:pt x="23325" y="9028"/>
                  </a:lnTo>
                  <a:lnTo>
                    <a:pt x="23325" y="9019"/>
                  </a:lnTo>
                  <a:lnTo>
                    <a:pt x="23325" y="9010"/>
                  </a:lnTo>
                  <a:lnTo>
                    <a:pt x="23317" y="9010"/>
                  </a:lnTo>
                  <a:lnTo>
                    <a:pt x="23290" y="9019"/>
                  </a:lnTo>
                  <a:lnTo>
                    <a:pt x="23281" y="9010"/>
                  </a:lnTo>
                  <a:lnTo>
                    <a:pt x="23272" y="9010"/>
                  </a:lnTo>
                  <a:lnTo>
                    <a:pt x="23272" y="8984"/>
                  </a:lnTo>
                  <a:lnTo>
                    <a:pt x="23264" y="8984"/>
                  </a:lnTo>
                  <a:lnTo>
                    <a:pt x="23255" y="8975"/>
                  </a:lnTo>
                  <a:lnTo>
                    <a:pt x="23255" y="8966"/>
                  </a:lnTo>
                  <a:lnTo>
                    <a:pt x="23246" y="8948"/>
                  </a:lnTo>
                  <a:lnTo>
                    <a:pt x="23228" y="8939"/>
                  </a:lnTo>
                  <a:lnTo>
                    <a:pt x="23219" y="8931"/>
                  </a:lnTo>
                  <a:lnTo>
                    <a:pt x="23202" y="8913"/>
                  </a:lnTo>
                  <a:lnTo>
                    <a:pt x="23193" y="8913"/>
                  </a:lnTo>
                  <a:lnTo>
                    <a:pt x="23193" y="8904"/>
                  </a:lnTo>
                  <a:lnTo>
                    <a:pt x="23184" y="8895"/>
                  </a:lnTo>
                  <a:lnTo>
                    <a:pt x="23175" y="8895"/>
                  </a:lnTo>
                  <a:lnTo>
                    <a:pt x="23167" y="8878"/>
                  </a:lnTo>
                  <a:lnTo>
                    <a:pt x="23158" y="8860"/>
                  </a:lnTo>
                  <a:lnTo>
                    <a:pt x="23158" y="8851"/>
                  </a:lnTo>
                  <a:lnTo>
                    <a:pt x="23175" y="8842"/>
                  </a:lnTo>
                  <a:lnTo>
                    <a:pt x="23193" y="8842"/>
                  </a:lnTo>
                  <a:lnTo>
                    <a:pt x="23211" y="8842"/>
                  </a:lnTo>
                  <a:lnTo>
                    <a:pt x="23219" y="8842"/>
                  </a:lnTo>
                  <a:lnTo>
                    <a:pt x="23228" y="8842"/>
                  </a:lnTo>
                  <a:lnTo>
                    <a:pt x="23228" y="8833"/>
                  </a:lnTo>
                  <a:lnTo>
                    <a:pt x="23219" y="8816"/>
                  </a:lnTo>
                  <a:lnTo>
                    <a:pt x="23219" y="8807"/>
                  </a:lnTo>
                  <a:lnTo>
                    <a:pt x="23211" y="8798"/>
                  </a:lnTo>
                  <a:lnTo>
                    <a:pt x="23202" y="8798"/>
                  </a:lnTo>
                  <a:lnTo>
                    <a:pt x="23202" y="8789"/>
                  </a:lnTo>
                  <a:lnTo>
                    <a:pt x="23193" y="8789"/>
                  </a:lnTo>
                  <a:lnTo>
                    <a:pt x="23184" y="8789"/>
                  </a:lnTo>
                  <a:lnTo>
                    <a:pt x="23175" y="8789"/>
                  </a:lnTo>
                  <a:lnTo>
                    <a:pt x="23167" y="8781"/>
                  </a:lnTo>
                  <a:lnTo>
                    <a:pt x="23122" y="8763"/>
                  </a:lnTo>
                  <a:lnTo>
                    <a:pt x="23105" y="8754"/>
                  </a:lnTo>
                  <a:lnTo>
                    <a:pt x="23087" y="8754"/>
                  </a:lnTo>
                  <a:lnTo>
                    <a:pt x="23078" y="8754"/>
                  </a:lnTo>
                  <a:lnTo>
                    <a:pt x="23069" y="8745"/>
                  </a:lnTo>
                  <a:lnTo>
                    <a:pt x="23078" y="8728"/>
                  </a:lnTo>
                  <a:lnTo>
                    <a:pt x="23069" y="8710"/>
                  </a:lnTo>
                  <a:lnTo>
                    <a:pt x="23069" y="8701"/>
                  </a:lnTo>
                  <a:lnTo>
                    <a:pt x="23043" y="8675"/>
                  </a:lnTo>
                  <a:lnTo>
                    <a:pt x="23034" y="8675"/>
                  </a:lnTo>
                  <a:lnTo>
                    <a:pt x="23025" y="8666"/>
                  </a:lnTo>
                  <a:lnTo>
                    <a:pt x="23017" y="8666"/>
                  </a:lnTo>
                  <a:lnTo>
                    <a:pt x="23008" y="8657"/>
                  </a:lnTo>
                  <a:lnTo>
                    <a:pt x="23008" y="8648"/>
                  </a:lnTo>
                  <a:lnTo>
                    <a:pt x="22999" y="8648"/>
                  </a:lnTo>
                  <a:lnTo>
                    <a:pt x="22990" y="8639"/>
                  </a:lnTo>
                  <a:lnTo>
                    <a:pt x="22981" y="8639"/>
                  </a:lnTo>
                  <a:lnTo>
                    <a:pt x="22981" y="8630"/>
                  </a:lnTo>
                  <a:lnTo>
                    <a:pt x="22972" y="8630"/>
                  </a:lnTo>
                  <a:lnTo>
                    <a:pt x="22964" y="8630"/>
                  </a:lnTo>
                  <a:lnTo>
                    <a:pt x="22955" y="8630"/>
                  </a:lnTo>
                  <a:lnTo>
                    <a:pt x="22946" y="8630"/>
                  </a:lnTo>
                  <a:lnTo>
                    <a:pt x="22937" y="8622"/>
                  </a:lnTo>
                  <a:lnTo>
                    <a:pt x="22928" y="8613"/>
                  </a:lnTo>
                  <a:lnTo>
                    <a:pt x="22920" y="8613"/>
                  </a:lnTo>
                  <a:lnTo>
                    <a:pt x="22902" y="8604"/>
                  </a:lnTo>
                  <a:lnTo>
                    <a:pt x="22893" y="8595"/>
                  </a:lnTo>
                  <a:lnTo>
                    <a:pt x="22875" y="8595"/>
                  </a:lnTo>
                  <a:lnTo>
                    <a:pt x="22867" y="8595"/>
                  </a:lnTo>
                  <a:lnTo>
                    <a:pt x="22858" y="8595"/>
                  </a:lnTo>
                  <a:lnTo>
                    <a:pt x="22831" y="8586"/>
                  </a:lnTo>
                  <a:lnTo>
                    <a:pt x="22814" y="8578"/>
                  </a:lnTo>
                  <a:lnTo>
                    <a:pt x="22796" y="8569"/>
                  </a:lnTo>
                  <a:lnTo>
                    <a:pt x="22787" y="8569"/>
                  </a:lnTo>
                  <a:lnTo>
                    <a:pt x="22770" y="8560"/>
                  </a:lnTo>
                  <a:lnTo>
                    <a:pt x="22734" y="8542"/>
                  </a:lnTo>
                  <a:lnTo>
                    <a:pt x="22725" y="8542"/>
                  </a:lnTo>
                  <a:lnTo>
                    <a:pt x="22699" y="8542"/>
                  </a:lnTo>
                  <a:lnTo>
                    <a:pt x="22699" y="8533"/>
                  </a:lnTo>
                  <a:lnTo>
                    <a:pt x="22690" y="8533"/>
                  </a:lnTo>
                  <a:lnTo>
                    <a:pt x="22672" y="8525"/>
                  </a:lnTo>
                  <a:lnTo>
                    <a:pt x="22664" y="8525"/>
                  </a:lnTo>
                  <a:lnTo>
                    <a:pt x="22637" y="8525"/>
                  </a:lnTo>
                  <a:lnTo>
                    <a:pt x="22628" y="8525"/>
                  </a:lnTo>
                  <a:lnTo>
                    <a:pt x="22611" y="8516"/>
                  </a:lnTo>
                  <a:lnTo>
                    <a:pt x="22593" y="8507"/>
                  </a:lnTo>
                  <a:lnTo>
                    <a:pt x="22584" y="8498"/>
                  </a:lnTo>
                  <a:lnTo>
                    <a:pt x="22575" y="8498"/>
                  </a:lnTo>
                  <a:lnTo>
                    <a:pt x="22567" y="8498"/>
                  </a:lnTo>
                  <a:lnTo>
                    <a:pt x="22558" y="8489"/>
                  </a:lnTo>
                  <a:lnTo>
                    <a:pt x="22549" y="8480"/>
                  </a:lnTo>
                  <a:lnTo>
                    <a:pt x="22505" y="8472"/>
                  </a:lnTo>
                  <a:lnTo>
                    <a:pt x="22505" y="8463"/>
                  </a:lnTo>
                  <a:lnTo>
                    <a:pt x="22496" y="8463"/>
                  </a:lnTo>
                  <a:lnTo>
                    <a:pt x="22487" y="8463"/>
                  </a:lnTo>
                  <a:lnTo>
                    <a:pt x="22470" y="8463"/>
                  </a:lnTo>
                  <a:lnTo>
                    <a:pt x="22452" y="8472"/>
                  </a:lnTo>
                  <a:lnTo>
                    <a:pt x="22443" y="8480"/>
                  </a:lnTo>
                  <a:lnTo>
                    <a:pt x="22434" y="8489"/>
                  </a:lnTo>
                  <a:lnTo>
                    <a:pt x="22443" y="8498"/>
                  </a:lnTo>
                  <a:lnTo>
                    <a:pt x="22434" y="8507"/>
                  </a:lnTo>
                  <a:lnTo>
                    <a:pt x="22417" y="8516"/>
                  </a:lnTo>
                  <a:lnTo>
                    <a:pt x="22399" y="8516"/>
                  </a:lnTo>
                  <a:lnTo>
                    <a:pt x="22381" y="8516"/>
                  </a:lnTo>
                  <a:lnTo>
                    <a:pt x="22381" y="8525"/>
                  </a:lnTo>
                  <a:lnTo>
                    <a:pt x="22373" y="8525"/>
                  </a:lnTo>
                  <a:lnTo>
                    <a:pt x="22373" y="8533"/>
                  </a:lnTo>
                  <a:lnTo>
                    <a:pt x="22373" y="8542"/>
                  </a:lnTo>
                  <a:lnTo>
                    <a:pt x="22355" y="8551"/>
                  </a:lnTo>
                  <a:lnTo>
                    <a:pt x="22346" y="8560"/>
                  </a:lnTo>
                  <a:lnTo>
                    <a:pt x="22346" y="8569"/>
                  </a:lnTo>
                  <a:lnTo>
                    <a:pt x="22328" y="8586"/>
                  </a:lnTo>
                  <a:lnTo>
                    <a:pt x="22320" y="8586"/>
                  </a:lnTo>
                  <a:lnTo>
                    <a:pt x="22320" y="8595"/>
                  </a:lnTo>
                  <a:lnTo>
                    <a:pt x="22311" y="8595"/>
                  </a:lnTo>
                  <a:lnTo>
                    <a:pt x="22302" y="8595"/>
                  </a:lnTo>
                  <a:lnTo>
                    <a:pt x="22284" y="8595"/>
                  </a:lnTo>
                  <a:lnTo>
                    <a:pt x="22275" y="8586"/>
                  </a:lnTo>
                  <a:lnTo>
                    <a:pt x="22267" y="8578"/>
                  </a:lnTo>
                  <a:lnTo>
                    <a:pt x="22267" y="8569"/>
                  </a:lnTo>
                  <a:lnTo>
                    <a:pt x="22267" y="8560"/>
                  </a:lnTo>
                  <a:lnTo>
                    <a:pt x="22267" y="8569"/>
                  </a:lnTo>
                  <a:lnTo>
                    <a:pt x="22258" y="8569"/>
                  </a:lnTo>
                  <a:lnTo>
                    <a:pt x="22258" y="8551"/>
                  </a:lnTo>
                  <a:lnTo>
                    <a:pt x="22258" y="8542"/>
                  </a:lnTo>
                  <a:lnTo>
                    <a:pt x="22249" y="8533"/>
                  </a:lnTo>
                  <a:lnTo>
                    <a:pt x="22240" y="8542"/>
                  </a:lnTo>
                  <a:lnTo>
                    <a:pt x="22240" y="8551"/>
                  </a:lnTo>
                  <a:lnTo>
                    <a:pt x="22240" y="8560"/>
                  </a:lnTo>
                  <a:lnTo>
                    <a:pt x="22231" y="8542"/>
                  </a:lnTo>
                  <a:lnTo>
                    <a:pt x="22223" y="8516"/>
                  </a:lnTo>
                  <a:lnTo>
                    <a:pt x="22214" y="8507"/>
                  </a:lnTo>
                  <a:lnTo>
                    <a:pt x="22214" y="8498"/>
                  </a:lnTo>
                  <a:lnTo>
                    <a:pt x="22214" y="8489"/>
                  </a:lnTo>
                  <a:lnTo>
                    <a:pt x="22214" y="8480"/>
                  </a:lnTo>
                  <a:lnTo>
                    <a:pt x="22214" y="8472"/>
                  </a:lnTo>
                  <a:lnTo>
                    <a:pt x="22223" y="8463"/>
                  </a:lnTo>
                  <a:lnTo>
                    <a:pt x="22223" y="8454"/>
                  </a:lnTo>
                  <a:lnTo>
                    <a:pt x="22223" y="8445"/>
                  </a:lnTo>
                  <a:lnTo>
                    <a:pt x="22223" y="8436"/>
                  </a:lnTo>
                  <a:lnTo>
                    <a:pt x="22214" y="8427"/>
                  </a:lnTo>
                  <a:lnTo>
                    <a:pt x="22214" y="8419"/>
                  </a:lnTo>
                  <a:lnTo>
                    <a:pt x="22214" y="8410"/>
                  </a:lnTo>
                  <a:lnTo>
                    <a:pt x="22205" y="8410"/>
                  </a:lnTo>
                  <a:lnTo>
                    <a:pt x="22196" y="8401"/>
                  </a:lnTo>
                  <a:lnTo>
                    <a:pt x="22187" y="8401"/>
                  </a:lnTo>
                  <a:lnTo>
                    <a:pt x="22170" y="8401"/>
                  </a:lnTo>
                  <a:lnTo>
                    <a:pt x="22152" y="8401"/>
                  </a:lnTo>
                  <a:lnTo>
                    <a:pt x="22143" y="8392"/>
                  </a:lnTo>
                  <a:lnTo>
                    <a:pt x="22126" y="8383"/>
                  </a:lnTo>
                  <a:lnTo>
                    <a:pt x="22108" y="8375"/>
                  </a:lnTo>
                  <a:lnTo>
                    <a:pt x="22099" y="8375"/>
                  </a:lnTo>
                  <a:lnTo>
                    <a:pt x="22090" y="8375"/>
                  </a:lnTo>
                  <a:lnTo>
                    <a:pt x="22073" y="8383"/>
                  </a:lnTo>
                  <a:lnTo>
                    <a:pt x="22064" y="8383"/>
                  </a:lnTo>
                  <a:lnTo>
                    <a:pt x="22064" y="8392"/>
                  </a:lnTo>
                  <a:lnTo>
                    <a:pt x="22055" y="8392"/>
                  </a:lnTo>
                  <a:lnTo>
                    <a:pt x="22055" y="8401"/>
                  </a:lnTo>
                  <a:lnTo>
                    <a:pt x="22046" y="8401"/>
                  </a:lnTo>
                  <a:lnTo>
                    <a:pt x="22020" y="8410"/>
                  </a:lnTo>
                  <a:lnTo>
                    <a:pt x="22011" y="8410"/>
                  </a:lnTo>
                  <a:lnTo>
                    <a:pt x="22002" y="8410"/>
                  </a:lnTo>
                  <a:lnTo>
                    <a:pt x="22002" y="8419"/>
                  </a:lnTo>
                  <a:lnTo>
                    <a:pt x="22002" y="8427"/>
                  </a:lnTo>
                  <a:lnTo>
                    <a:pt x="22002" y="8436"/>
                  </a:lnTo>
                  <a:lnTo>
                    <a:pt x="21993" y="8445"/>
                  </a:lnTo>
                  <a:lnTo>
                    <a:pt x="21984" y="8454"/>
                  </a:lnTo>
                  <a:lnTo>
                    <a:pt x="21993" y="8454"/>
                  </a:lnTo>
                  <a:lnTo>
                    <a:pt x="22002" y="8454"/>
                  </a:lnTo>
                  <a:lnTo>
                    <a:pt x="22011" y="8454"/>
                  </a:lnTo>
                  <a:lnTo>
                    <a:pt x="22037" y="8463"/>
                  </a:lnTo>
                  <a:lnTo>
                    <a:pt x="22046" y="8463"/>
                  </a:lnTo>
                  <a:lnTo>
                    <a:pt x="22055" y="8463"/>
                  </a:lnTo>
                  <a:lnTo>
                    <a:pt x="22055" y="8480"/>
                  </a:lnTo>
                  <a:lnTo>
                    <a:pt x="22064" y="8489"/>
                  </a:lnTo>
                  <a:lnTo>
                    <a:pt x="22064" y="8498"/>
                  </a:lnTo>
                  <a:lnTo>
                    <a:pt x="22073" y="8507"/>
                  </a:lnTo>
                  <a:lnTo>
                    <a:pt x="22081" y="8516"/>
                  </a:lnTo>
                  <a:lnTo>
                    <a:pt x="22090" y="8516"/>
                  </a:lnTo>
                  <a:lnTo>
                    <a:pt x="22099" y="8516"/>
                  </a:lnTo>
                  <a:lnTo>
                    <a:pt x="22108" y="8516"/>
                  </a:lnTo>
                  <a:lnTo>
                    <a:pt x="22126" y="8516"/>
                  </a:lnTo>
                  <a:lnTo>
                    <a:pt x="22134" y="8516"/>
                  </a:lnTo>
                  <a:lnTo>
                    <a:pt x="22152" y="8516"/>
                  </a:lnTo>
                  <a:lnTo>
                    <a:pt x="22161" y="8516"/>
                  </a:lnTo>
                  <a:lnTo>
                    <a:pt x="22170" y="8516"/>
                  </a:lnTo>
                  <a:lnTo>
                    <a:pt x="22187" y="8507"/>
                  </a:lnTo>
                  <a:lnTo>
                    <a:pt x="22205" y="8507"/>
                  </a:lnTo>
                  <a:lnTo>
                    <a:pt x="22196" y="8507"/>
                  </a:lnTo>
                  <a:lnTo>
                    <a:pt x="22196" y="8516"/>
                  </a:lnTo>
                  <a:lnTo>
                    <a:pt x="22196" y="8525"/>
                  </a:lnTo>
                  <a:lnTo>
                    <a:pt x="22187" y="8533"/>
                  </a:lnTo>
                  <a:lnTo>
                    <a:pt x="22187" y="8542"/>
                  </a:lnTo>
                  <a:lnTo>
                    <a:pt x="22178" y="8542"/>
                  </a:lnTo>
                  <a:lnTo>
                    <a:pt x="22178" y="8533"/>
                  </a:lnTo>
                  <a:lnTo>
                    <a:pt x="22170" y="8533"/>
                  </a:lnTo>
                  <a:lnTo>
                    <a:pt x="22161" y="8533"/>
                  </a:lnTo>
                  <a:lnTo>
                    <a:pt x="22152" y="8533"/>
                  </a:lnTo>
                  <a:lnTo>
                    <a:pt x="22143" y="8533"/>
                  </a:lnTo>
                  <a:lnTo>
                    <a:pt x="22134" y="8533"/>
                  </a:lnTo>
                  <a:lnTo>
                    <a:pt x="22126" y="8542"/>
                  </a:lnTo>
                  <a:lnTo>
                    <a:pt x="22117" y="8551"/>
                  </a:lnTo>
                  <a:lnTo>
                    <a:pt x="22108" y="8551"/>
                  </a:lnTo>
                  <a:lnTo>
                    <a:pt x="22099" y="8551"/>
                  </a:lnTo>
                  <a:lnTo>
                    <a:pt x="22081" y="8551"/>
                  </a:lnTo>
                  <a:lnTo>
                    <a:pt x="22064" y="8551"/>
                  </a:lnTo>
                  <a:lnTo>
                    <a:pt x="22055" y="8551"/>
                  </a:lnTo>
                  <a:lnTo>
                    <a:pt x="22064" y="8560"/>
                  </a:lnTo>
                  <a:lnTo>
                    <a:pt x="22064" y="8569"/>
                  </a:lnTo>
                  <a:lnTo>
                    <a:pt x="22081" y="8569"/>
                  </a:lnTo>
                  <a:lnTo>
                    <a:pt x="22099" y="8578"/>
                  </a:lnTo>
                  <a:lnTo>
                    <a:pt x="22117" y="8595"/>
                  </a:lnTo>
                  <a:lnTo>
                    <a:pt x="22117" y="8604"/>
                  </a:lnTo>
                  <a:lnTo>
                    <a:pt x="22126" y="8613"/>
                  </a:lnTo>
                  <a:lnTo>
                    <a:pt x="22117" y="8622"/>
                  </a:lnTo>
                  <a:lnTo>
                    <a:pt x="22117" y="8630"/>
                  </a:lnTo>
                  <a:lnTo>
                    <a:pt x="22126" y="8639"/>
                  </a:lnTo>
                  <a:lnTo>
                    <a:pt x="22126" y="8648"/>
                  </a:lnTo>
                  <a:lnTo>
                    <a:pt x="22134" y="8648"/>
                  </a:lnTo>
                  <a:lnTo>
                    <a:pt x="22143" y="8648"/>
                  </a:lnTo>
                  <a:lnTo>
                    <a:pt x="22152" y="8648"/>
                  </a:lnTo>
                  <a:lnTo>
                    <a:pt x="22161" y="8639"/>
                  </a:lnTo>
                  <a:lnTo>
                    <a:pt x="22161" y="8630"/>
                  </a:lnTo>
                  <a:lnTo>
                    <a:pt x="22161" y="8622"/>
                  </a:lnTo>
                  <a:lnTo>
                    <a:pt x="22170" y="8613"/>
                  </a:lnTo>
                  <a:lnTo>
                    <a:pt x="22170" y="8604"/>
                  </a:lnTo>
                  <a:lnTo>
                    <a:pt x="22178" y="8604"/>
                  </a:lnTo>
                  <a:lnTo>
                    <a:pt x="22178" y="8595"/>
                  </a:lnTo>
                  <a:lnTo>
                    <a:pt x="22178" y="8586"/>
                  </a:lnTo>
                  <a:lnTo>
                    <a:pt x="22187" y="8578"/>
                  </a:lnTo>
                  <a:lnTo>
                    <a:pt x="22196" y="8578"/>
                  </a:lnTo>
                  <a:lnTo>
                    <a:pt x="22187" y="8578"/>
                  </a:lnTo>
                  <a:lnTo>
                    <a:pt x="22187" y="8586"/>
                  </a:lnTo>
                  <a:lnTo>
                    <a:pt x="22187" y="8595"/>
                  </a:lnTo>
                  <a:lnTo>
                    <a:pt x="22187" y="8604"/>
                  </a:lnTo>
                  <a:lnTo>
                    <a:pt x="22187" y="8613"/>
                  </a:lnTo>
                  <a:lnTo>
                    <a:pt x="22196" y="8622"/>
                  </a:lnTo>
                  <a:lnTo>
                    <a:pt x="22205" y="8630"/>
                  </a:lnTo>
                  <a:lnTo>
                    <a:pt x="22214" y="8630"/>
                  </a:lnTo>
                  <a:lnTo>
                    <a:pt x="22223" y="8630"/>
                  </a:lnTo>
                  <a:lnTo>
                    <a:pt x="22223" y="8639"/>
                  </a:lnTo>
                  <a:lnTo>
                    <a:pt x="22240" y="8639"/>
                  </a:lnTo>
                  <a:lnTo>
                    <a:pt x="22249" y="8639"/>
                  </a:lnTo>
                  <a:lnTo>
                    <a:pt x="22258" y="8639"/>
                  </a:lnTo>
                  <a:lnTo>
                    <a:pt x="22267" y="8639"/>
                  </a:lnTo>
                  <a:lnTo>
                    <a:pt x="22275" y="8639"/>
                  </a:lnTo>
                  <a:lnTo>
                    <a:pt x="22258" y="8639"/>
                  </a:lnTo>
                  <a:lnTo>
                    <a:pt x="22258" y="8648"/>
                  </a:lnTo>
                  <a:lnTo>
                    <a:pt x="22267" y="8657"/>
                  </a:lnTo>
                  <a:lnTo>
                    <a:pt x="22293" y="8675"/>
                  </a:lnTo>
                  <a:lnTo>
                    <a:pt x="22302" y="8675"/>
                  </a:lnTo>
                  <a:lnTo>
                    <a:pt x="22311" y="8675"/>
                  </a:lnTo>
                  <a:lnTo>
                    <a:pt x="22337" y="8675"/>
                  </a:lnTo>
                  <a:lnTo>
                    <a:pt x="22355" y="8683"/>
                  </a:lnTo>
                  <a:lnTo>
                    <a:pt x="22364" y="8683"/>
                  </a:lnTo>
                  <a:lnTo>
                    <a:pt x="22373" y="8692"/>
                  </a:lnTo>
                  <a:lnTo>
                    <a:pt x="22381" y="8692"/>
                  </a:lnTo>
                  <a:lnTo>
                    <a:pt x="22399" y="8701"/>
                  </a:lnTo>
                  <a:lnTo>
                    <a:pt x="22417" y="8710"/>
                  </a:lnTo>
                  <a:lnTo>
                    <a:pt x="22425" y="8710"/>
                  </a:lnTo>
                  <a:lnTo>
                    <a:pt x="22434" y="8710"/>
                  </a:lnTo>
                  <a:lnTo>
                    <a:pt x="22443" y="8719"/>
                  </a:lnTo>
                  <a:lnTo>
                    <a:pt x="22452" y="8710"/>
                  </a:lnTo>
                  <a:lnTo>
                    <a:pt x="22452" y="8719"/>
                  </a:lnTo>
                  <a:lnTo>
                    <a:pt x="22487" y="8736"/>
                  </a:lnTo>
                  <a:lnTo>
                    <a:pt x="22487" y="8745"/>
                  </a:lnTo>
                  <a:lnTo>
                    <a:pt x="22496" y="8745"/>
                  </a:lnTo>
                  <a:lnTo>
                    <a:pt x="22505" y="8754"/>
                  </a:lnTo>
                  <a:lnTo>
                    <a:pt x="22505" y="8763"/>
                  </a:lnTo>
                  <a:lnTo>
                    <a:pt x="22505" y="8772"/>
                  </a:lnTo>
                  <a:lnTo>
                    <a:pt x="22514" y="8772"/>
                  </a:lnTo>
                  <a:lnTo>
                    <a:pt x="22523" y="8763"/>
                  </a:lnTo>
                  <a:lnTo>
                    <a:pt x="22523" y="8772"/>
                  </a:lnTo>
                  <a:lnTo>
                    <a:pt x="22514" y="8772"/>
                  </a:lnTo>
                  <a:lnTo>
                    <a:pt x="22523" y="8781"/>
                  </a:lnTo>
                  <a:lnTo>
                    <a:pt x="22531" y="8781"/>
                  </a:lnTo>
                  <a:lnTo>
                    <a:pt x="22523" y="8781"/>
                  </a:lnTo>
                  <a:lnTo>
                    <a:pt x="22523" y="8789"/>
                  </a:lnTo>
                  <a:lnTo>
                    <a:pt x="22531" y="8798"/>
                  </a:lnTo>
                  <a:lnTo>
                    <a:pt x="22531" y="8816"/>
                  </a:lnTo>
                  <a:lnTo>
                    <a:pt x="22540" y="8825"/>
                  </a:lnTo>
                  <a:lnTo>
                    <a:pt x="22549" y="8833"/>
                  </a:lnTo>
                  <a:lnTo>
                    <a:pt x="22558" y="8842"/>
                  </a:lnTo>
                  <a:lnTo>
                    <a:pt x="22558" y="8851"/>
                  </a:lnTo>
                  <a:lnTo>
                    <a:pt x="22567" y="8851"/>
                  </a:lnTo>
                  <a:lnTo>
                    <a:pt x="22549" y="8851"/>
                  </a:lnTo>
                  <a:lnTo>
                    <a:pt x="22549" y="8860"/>
                  </a:lnTo>
                  <a:lnTo>
                    <a:pt x="22558" y="8869"/>
                  </a:lnTo>
                  <a:lnTo>
                    <a:pt x="22567" y="8878"/>
                  </a:lnTo>
                  <a:lnTo>
                    <a:pt x="22575" y="8878"/>
                  </a:lnTo>
                  <a:lnTo>
                    <a:pt x="22584" y="8878"/>
                  </a:lnTo>
                  <a:lnTo>
                    <a:pt x="22575" y="8878"/>
                  </a:lnTo>
                  <a:lnTo>
                    <a:pt x="22567" y="8878"/>
                  </a:lnTo>
                  <a:lnTo>
                    <a:pt x="22558" y="8878"/>
                  </a:lnTo>
                  <a:lnTo>
                    <a:pt x="22558" y="8886"/>
                  </a:lnTo>
                  <a:lnTo>
                    <a:pt x="22567" y="8886"/>
                  </a:lnTo>
                  <a:lnTo>
                    <a:pt x="22567" y="8895"/>
                  </a:lnTo>
                  <a:lnTo>
                    <a:pt x="22575" y="8904"/>
                  </a:lnTo>
                  <a:lnTo>
                    <a:pt x="22584" y="8904"/>
                  </a:lnTo>
                  <a:lnTo>
                    <a:pt x="22584" y="8913"/>
                  </a:lnTo>
                  <a:lnTo>
                    <a:pt x="22575" y="8913"/>
                  </a:lnTo>
                  <a:lnTo>
                    <a:pt x="22575" y="8922"/>
                  </a:lnTo>
                  <a:lnTo>
                    <a:pt x="22567" y="8931"/>
                  </a:lnTo>
                  <a:lnTo>
                    <a:pt x="22567" y="8939"/>
                  </a:lnTo>
                  <a:lnTo>
                    <a:pt x="22567" y="8948"/>
                  </a:lnTo>
                  <a:lnTo>
                    <a:pt x="22567" y="8957"/>
                  </a:lnTo>
                  <a:lnTo>
                    <a:pt x="22584" y="8948"/>
                  </a:lnTo>
                  <a:lnTo>
                    <a:pt x="22593" y="8939"/>
                  </a:lnTo>
                  <a:lnTo>
                    <a:pt x="22593" y="8948"/>
                  </a:lnTo>
                  <a:lnTo>
                    <a:pt x="22602" y="8948"/>
                  </a:lnTo>
                  <a:lnTo>
                    <a:pt x="22611" y="8948"/>
                  </a:lnTo>
                  <a:lnTo>
                    <a:pt x="22620" y="8948"/>
                  </a:lnTo>
                  <a:lnTo>
                    <a:pt x="22628" y="8948"/>
                  </a:lnTo>
                  <a:lnTo>
                    <a:pt x="22646" y="8948"/>
                  </a:lnTo>
                  <a:lnTo>
                    <a:pt x="22655" y="8939"/>
                  </a:lnTo>
                  <a:lnTo>
                    <a:pt x="22655" y="8931"/>
                  </a:lnTo>
                  <a:lnTo>
                    <a:pt x="22655" y="8939"/>
                  </a:lnTo>
                  <a:lnTo>
                    <a:pt x="22646" y="8948"/>
                  </a:lnTo>
                  <a:lnTo>
                    <a:pt x="22655" y="8957"/>
                  </a:lnTo>
                  <a:lnTo>
                    <a:pt x="22681" y="8984"/>
                  </a:lnTo>
                  <a:lnTo>
                    <a:pt x="22690" y="8992"/>
                  </a:lnTo>
                  <a:lnTo>
                    <a:pt x="22699" y="9001"/>
                  </a:lnTo>
                  <a:lnTo>
                    <a:pt x="22708" y="9010"/>
                  </a:lnTo>
                  <a:lnTo>
                    <a:pt x="22717" y="9019"/>
                  </a:lnTo>
                  <a:lnTo>
                    <a:pt x="22734" y="9028"/>
                  </a:lnTo>
                  <a:lnTo>
                    <a:pt x="22743" y="9019"/>
                  </a:lnTo>
                  <a:lnTo>
                    <a:pt x="22752" y="9019"/>
                  </a:lnTo>
                  <a:lnTo>
                    <a:pt x="22761" y="9028"/>
                  </a:lnTo>
                  <a:lnTo>
                    <a:pt x="22770" y="9028"/>
                  </a:lnTo>
                  <a:lnTo>
                    <a:pt x="22778" y="9028"/>
                  </a:lnTo>
                  <a:lnTo>
                    <a:pt x="22796" y="9028"/>
                  </a:lnTo>
                  <a:lnTo>
                    <a:pt x="22814" y="9019"/>
                  </a:lnTo>
                  <a:lnTo>
                    <a:pt x="22814" y="9028"/>
                  </a:lnTo>
                  <a:lnTo>
                    <a:pt x="22822" y="9028"/>
                  </a:lnTo>
                  <a:lnTo>
                    <a:pt x="22831" y="9028"/>
                  </a:lnTo>
                  <a:lnTo>
                    <a:pt x="22831" y="9036"/>
                  </a:lnTo>
                  <a:lnTo>
                    <a:pt x="22840" y="9036"/>
                  </a:lnTo>
                  <a:lnTo>
                    <a:pt x="22858" y="9028"/>
                  </a:lnTo>
                  <a:lnTo>
                    <a:pt x="22875" y="9019"/>
                  </a:lnTo>
                  <a:lnTo>
                    <a:pt x="22884" y="9010"/>
                  </a:lnTo>
                  <a:lnTo>
                    <a:pt x="22893" y="9010"/>
                  </a:lnTo>
                  <a:lnTo>
                    <a:pt x="22893" y="9001"/>
                  </a:lnTo>
                  <a:lnTo>
                    <a:pt x="22902" y="8992"/>
                  </a:lnTo>
                  <a:lnTo>
                    <a:pt x="22893" y="8992"/>
                  </a:lnTo>
                  <a:lnTo>
                    <a:pt x="22893" y="8984"/>
                  </a:lnTo>
                  <a:lnTo>
                    <a:pt x="22884" y="8975"/>
                  </a:lnTo>
                  <a:lnTo>
                    <a:pt x="22875" y="8975"/>
                  </a:lnTo>
                  <a:lnTo>
                    <a:pt x="22867" y="8966"/>
                  </a:lnTo>
                  <a:lnTo>
                    <a:pt x="22858" y="8966"/>
                  </a:lnTo>
                  <a:lnTo>
                    <a:pt x="22840" y="8966"/>
                  </a:lnTo>
                  <a:lnTo>
                    <a:pt x="22831" y="8966"/>
                  </a:lnTo>
                  <a:lnTo>
                    <a:pt x="22822" y="8957"/>
                  </a:lnTo>
                  <a:lnTo>
                    <a:pt x="22822" y="8948"/>
                  </a:lnTo>
                  <a:lnTo>
                    <a:pt x="22814" y="8948"/>
                  </a:lnTo>
                  <a:lnTo>
                    <a:pt x="22822" y="8948"/>
                  </a:lnTo>
                  <a:lnTo>
                    <a:pt x="22822" y="8957"/>
                  </a:lnTo>
                  <a:lnTo>
                    <a:pt x="22831" y="8957"/>
                  </a:lnTo>
                  <a:lnTo>
                    <a:pt x="22840" y="8957"/>
                  </a:lnTo>
                  <a:lnTo>
                    <a:pt x="22849" y="8957"/>
                  </a:lnTo>
                  <a:lnTo>
                    <a:pt x="22858" y="8957"/>
                  </a:lnTo>
                  <a:lnTo>
                    <a:pt x="22875" y="8957"/>
                  </a:lnTo>
                  <a:lnTo>
                    <a:pt x="22893" y="8957"/>
                  </a:lnTo>
                  <a:lnTo>
                    <a:pt x="22902" y="8957"/>
                  </a:lnTo>
                  <a:lnTo>
                    <a:pt x="22911" y="8948"/>
                  </a:lnTo>
                  <a:lnTo>
                    <a:pt x="22911" y="8939"/>
                  </a:lnTo>
                  <a:lnTo>
                    <a:pt x="22920" y="8939"/>
                  </a:lnTo>
                  <a:lnTo>
                    <a:pt x="22928" y="8939"/>
                  </a:lnTo>
                  <a:lnTo>
                    <a:pt x="22937" y="8939"/>
                  </a:lnTo>
                  <a:lnTo>
                    <a:pt x="22928" y="8931"/>
                  </a:lnTo>
                  <a:lnTo>
                    <a:pt x="22937" y="8931"/>
                  </a:lnTo>
                  <a:lnTo>
                    <a:pt x="22920" y="8904"/>
                  </a:lnTo>
                  <a:lnTo>
                    <a:pt x="22920" y="8895"/>
                  </a:lnTo>
                  <a:lnTo>
                    <a:pt x="22920" y="8904"/>
                  </a:lnTo>
                  <a:lnTo>
                    <a:pt x="22928" y="8904"/>
                  </a:lnTo>
                  <a:lnTo>
                    <a:pt x="22928" y="8913"/>
                  </a:lnTo>
                  <a:lnTo>
                    <a:pt x="22937" y="8913"/>
                  </a:lnTo>
                  <a:lnTo>
                    <a:pt x="22955" y="8922"/>
                  </a:lnTo>
                  <a:lnTo>
                    <a:pt x="22964" y="8913"/>
                  </a:lnTo>
                  <a:lnTo>
                    <a:pt x="22972" y="8913"/>
                  </a:lnTo>
                  <a:lnTo>
                    <a:pt x="22972" y="8904"/>
                  </a:lnTo>
                  <a:lnTo>
                    <a:pt x="22981" y="8904"/>
                  </a:lnTo>
                  <a:lnTo>
                    <a:pt x="22990" y="8904"/>
                  </a:lnTo>
                  <a:lnTo>
                    <a:pt x="22990" y="8913"/>
                  </a:lnTo>
                  <a:lnTo>
                    <a:pt x="22999" y="8913"/>
                  </a:lnTo>
                  <a:lnTo>
                    <a:pt x="23008" y="8913"/>
                  </a:lnTo>
                  <a:lnTo>
                    <a:pt x="23008" y="8922"/>
                  </a:lnTo>
                  <a:lnTo>
                    <a:pt x="23017" y="8922"/>
                  </a:lnTo>
                  <a:lnTo>
                    <a:pt x="23025" y="8922"/>
                  </a:lnTo>
                  <a:lnTo>
                    <a:pt x="23034" y="8922"/>
                  </a:lnTo>
                  <a:lnTo>
                    <a:pt x="23034" y="8931"/>
                  </a:lnTo>
                  <a:lnTo>
                    <a:pt x="23052" y="8931"/>
                  </a:lnTo>
                  <a:lnTo>
                    <a:pt x="23061" y="8931"/>
                  </a:lnTo>
                  <a:lnTo>
                    <a:pt x="23069" y="8931"/>
                  </a:lnTo>
                  <a:lnTo>
                    <a:pt x="23078" y="8939"/>
                  </a:lnTo>
                  <a:lnTo>
                    <a:pt x="23096" y="8939"/>
                  </a:lnTo>
                  <a:lnTo>
                    <a:pt x="23096" y="8948"/>
                  </a:lnTo>
                  <a:lnTo>
                    <a:pt x="23105" y="8957"/>
                  </a:lnTo>
                  <a:lnTo>
                    <a:pt x="23105" y="8966"/>
                  </a:lnTo>
                  <a:lnTo>
                    <a:pt x="23114" y="8975"/>
                  </a:lnTo>
                  <a:lnTo>
                    <a:pt x="23122" y="8984"/>
                  </a:lnTo>
                  <a:lnTo>
                    <a:pt x="23131" y="8992"/>
                  </a:lnTo>
                  <a:lnTo>
                    <a:pt x="23131" y="9010"/>
                  </a:lnTo>
                  <a:lnTo>
                    <a:pt x="23140" y="9010"/>
                  </a:lnTo>
                  <a:lnTo>
                    <a:pt x="23149" y="9019"/>
                  </a:lnTo>
                  <a:lnTo>
                    <a:pt x="23158" y="9019"/>
                  </a:lnTo>
                  <a:lnTo>
                    <a:pt x="23158" y="9028"/>
                  </a:lnTo>
                  <a:lnTo>
                    <a:pt x="23167" y="9036"/>
                  </a:lnTo>
                  <a:lnTo>
                    <a:pt x="23167" y="9045"/>
                  </a:lnTo>
                  <a:lnTo>
                    <a:pt x="23184" y="9054"/>
                  </a:lnTo>
                  <a:lnTo>
                    <a:pt x="23193" y="9063"/>
                  </a:lnTo>
                  <a:lnTo>
                    <a:pt x="23202" y="9072"/>
                  </a:lnTo>
                  <a:lnTo>
                    <a:pt x="23202" y="9081"/>
                  </a:lnTo>
                  <a:lnTo>
                    <a:pt x="23211" y="9081"/>
                  </a:lnTo>
                  <a:lnTo>
                    <a:pt x="23211" y="9089"/>
                  </a:lnTo>
                  <a:lnTo>
                    <a:pt x="23219" y="9089"/>
                  </a:lnTo>
                  <a:lnTo>
                    <a:pt x="23228" y="9089"/>
                  </a:lnTo>
                  <a:lnTo>
                    <a:pt x="23237" y="9089"/>
                  </a:lnTo>
                  <a:lnTo>
                    <a:pt x="23246" y="9089"/>
                  </a:lnTo>
                  <a:lnTo>
                    <a:pt x="23255" y="9089"/>
                  </a:lnTo>
                  <a:lnTo>
                    <a:pt x="23264" y="9098"/>
                  </a:lnTo>
                  <a:lnTo>
                    <a:pt x="23281" y="9098"/>
                  </a:lnTo>
                  <a:lnTo>
                    <a:pt x="23290" y="9098"/>
                  </a:lnTo>
                  <a:lnTo>
                    <a:pt x="23299" y="9098"/>
                  </a:lnTo>
                  <a:lnTo>
                    <a:pt x="23308" y="9107"/>
                  </a:lnTo>
                  <a:lnTo>
                    <a:pt x="23334" y="9107"/>
                  </a:lnTo>
                  <a:lnTo>
                    <a:pt x="23352" y="9107"/>
                  </a:lnTo>
                  <a:lnTo>
                    <a:pt x="23361" y="9107"/>
                  </a:lnTo>
                  <a:lnTo>
                    <a:pt x="23369" y="9107"/>
                  </a:lnTo>
                  <a:lnTo>
                    <a:pt x="23369" y="9116"/>
                  </a:lnTo>
                  <a:lnTo>
                    <a:pt x="23378" y="9116"/>
                  </a:lnTo>
                  <a:lnTo>
                    <a:pt x="23378" y="9125"/>
                  </a:lnTo>
                  <a:lnTo>
                    <a:pt x="23387" y="9125"/>
                  </a:lnTo>
                  <a:lnTo>
                    <a:pt x="23396" y="9134"/>
                  </a:lnTo>
                  <a:lnTo>
                    <a:pt x="23405" y="9134"/>
                  </a:lnTo>
                  <a:lnTo>
                    <a:pt x="23414" y="9134"/>
                  </a:lnTo>
                  <a:lnTo>
                    <a:pt x="23422" y="9134"/>
                  </a:lnTo>
                  <a:lnTo>
                    <a:pt x="23431" y="9125"/>
                  </a:lnTo>
                  <a:lnTo>
                    <a:pt x="23431" y="9116"/>
                  </a:lnTo>
                  <a:lnTo>
                    <a:pt x="23422" y="9116"/>
                  </a:lnTo>
                  <a:lnTo>
                    <a:pt x="23414" y="9107"/>
                  </a:lnTo>
                  <a:close/>
                  <a:moveTo>
                    <a:pt x="22549" y="8966"/>
                  </a:moveTo>
                  <a:lnTo>
                    <a:pt x="22567" y="8966"/>
                  </a:lnTo>
                  <a:lnTo>
                    <a:pt x="22558" y="8948"/>
                  </a:lnTo>
                  <a:lnTo>
                    <a:pt x="22549" y="8948"/>
                  </a:lnTo>
                  <a:lnTo>
                    <a:pt x="22549" y="8957"/>
                  </a:lnTo>
                  <a:lnTo>
                    <a:pt x="22540" y="8957"/>
                  </a:lnTo>
                  <a:close/>
                  <a:moveTo>
                    <a:pt x="22390" y="9495"/>
                  </a:moveTo>
                  <a:lnTo>
                    <a:pt x="22390" y="9504"/>
                  </a:lnTo>
                  <a:lnTo>
                    <a:pt x="22399" y="9504"/>
                  </a:lnTo>
                  <a:lnTo>
                    <a:pt x="22399" y="9495"/>
                  </a:lnTo>
                  <a:close/>
                  <a:moveTo>
                    <a:pt x="22425" y="9398"/>
                  </a:moveTo>
                  <a:lnTo>
                    <a:pt x="22417" y="9398"/>
                  </a:lnTo>
                  <a:lnTo>
                    <a:pt x="22408" y="9389"/>
                  </a:lnTo>
                  <a:lnTo>
                    <a:pt x="22408" y="9381"/>
                  </a:lnTo>
                  <a:lnTo>
                    <a:pt x="22417" y="9372"/>
                  </a:lnTo>
                  <a:lnTo>
                    <a:pt x="22417" y="9363"/>
                  </a:lnTo>
                  <a:lnTo>
                    <a:pt x="22417" y="9372"/>
                  </a:lnTo>
                  <a:lnTo>
                    <a:pt x="22408" y="9372"/>
                  </a:lnTo>
                  <a:lnTo>
                    <a:pt x="22408" y="9363"/>
                  </a:lnTo>
                  <a:lnTo>
                    <a:pt x="22408" y="9354"/>
                  </a:lnTo>
                  <a:lnTo>
                    <a:pt x="22399" y="9354"/>
                  </a:lnTo>
                  <a:lnTo>
                    <a:pt x="22399" y="9363"/>
                  </a:lnTo>
                  <a:lnTo>
                    <a:pt x="22390" y="9363"/>
                  </a:lnTo>
                  <a:lnTo>
                    <a:pt x="22381" y="9372"/>
                  </a:lnTo>
                  <a:lnTo>
                    <a:pt x="22381" y="9381"/>
                  </a:lnTo>
                  <a:lnTo>
                    <a:pt x="22381" y="9389"/>
                  </a:lnTo>
                  <a:lnTo>
                    <a:pt x="22381" y="9398"/>
                  </a:lnTo>
                  <a:lnTo>
                    <a:pt x="22390" y="9398"/>
                  </a:lnTo>
                  <a:lnTo>
                    <a:pt x="22399" y="9398"/>
                  </a:lnTo>
                  <a:lnTo>
                    <a:pt x="22408" y="9398"/>
                  </a:lnTo>
                  <a:lnTo>
                    <a:pt x="22417" y="9398"/>
                  </a:lnTo>
                  <a:close/>
                  <a:moveTo>
                    <a:pt x="22417" y="9504"/>
                  </a:moveTo>
                  <a:lnTo>
                    <a:pt x="22417" y="9495"/>
                  </a:lnTo>
                  <a:close/>
                  <a:moveTo>
                    <a:pt x="22822" y="9098"/>
                  </a:moveTo>
                  <a:lnTo>
                    <a:pt x="22814" y="9098"/>
                  </a:lnTo>
                  <a:lnTo>
                    <a:pt x="22814" y="9107"/>
                  </a:lnTo>
                  <a:close/>
                  <a:moveTo>
                    <a:pt x="22805" y="9098"/>
                  </a:moveTo>
                  <a:lnTo>
                    <a:pt x="22814" y="9089"/>
                  </a:lnTo>
                  <a:lnTo>
                    <a:pt x="22805" y="9089"/>
                  </a:lnTo>
                  <a:close/>
                  <a:moveTo>
                    <a:pt x="22611" y="9610"/>
                  </a:moveTo>
                  <a:lnTo>
                    <a:pt x="22602" y="9610"/>
                  </a:lnTo>
                  <a:lnTo>
                    <a:pt x="22602" y="9619"/>
                  </a:lnTo>
                  <a:lnTo>
                    <a:pt x="22611" y="9610"/>
                  </a:lnTo>
                  <a:lnTo>
                    <a:pt x="22620" y="9610"/>
                  </a:lnTo>
                  <a:lnTo>
                    <a:pt x="22611" y="9601"/>
                  </a:lnTo>
                  <a:close/>
                  <a:moveTo>
                    <a:pt x="22620" y="9557"/>
                  </a:moveTo>
                  <a:lnTo>
                    <a:pt x="22611" y="9566"/>
                  </a:lnTo>
                  <a:lnTo>
                    <a:pt x="22593" y="9566"/>
                  </a:lnTo>
                  <a:lnTo>
                    <a:pt x="22584" y="9575"/>
                  </a:lnTo>
                  <a:lnTo>
                    <a:pt x="22584" y="9584"/>
                  </a:lnTo>
                  <a:lnTo>
                    <a:pt x="22593" y="9584"/>
                  </a:lnTo>
                  <a:lnTo>
                    <a:pt x="22602" y="9584"/>
                  </a:lnTo>
                  <a:lnTo>
                    <a:pt x="22602" y="9575"/>
                  </a:lnTo>
                  <a:lnTo>
                    <a:pt x="22602" y="9584"/>
                  </a:lnTo>
                  <a:lnTo>
                    <a:pt x="22611" y="9575"/>
                  </a:lnTo>
                  <a:lnTo>
                    <a:pt x="22620" y="9566"/>
                  </a:lnTo>
                  <a:lnTo>
                    <a:pt x="22628" y="9566"/>
                  </a:lnTo>
                  <a:close/>
                  <a:moveTo>
                    <a:pt x="22567" y="8931"/>
                  </a:moveTo>
                  <a:lnTo>
                    <a:pt x="22575" y="8913"/>
                  </a:lnTo>
                  <a:lnTo>
                    <a:pt x="22575" y="8904"/>
                  </a:lnTo>
                  <a:lnTo>
                    <a:pt x="22567" y="8904"/>
                  </a:lnTo>
                  <a:lnTo>
                    <a:pt x="22558" y="8895"/>
                  </a:lnTo>
                  <a:lnTo>
                    <a:pt x="22540" y="8895"/>
                  </a:lnTo>
                  <a:lnTo>
                    <a:pt x="22523" y="8895"/>
                  </a:lnTo>
                  <a:lnTo>
                    <a:pt x="22514" y="8904"/>
                  </a:lnTo>
                  <a:lnTo>
                    <a:pt x="22505" y="8904"/>
                  </a:lnTo>
                  <a:lnTo>
                    <a:pt x="22505" y="8913"/>
                  </a:lnTo>
                  <a:lnTo>
                    <a:pt x="22487" y="8931"/>
                  </a:lnTo>
                  <a:lnTo>
                    <a:pt x="22478" y="8957"/>
                  </a:lnTo>
                  <a:lnTo>
                    <a:pt x="22478" y="8966"/>
                  </a:lnTo>
                  <a:lnTo>
                    <a:pt x="22496" y="8966"/>
                  </a:lnTo>
                  <a:lnTo>
                    <a:pt x="22523" y="8966"/>
                  </a:lnTo>
                  <a:lnTo>
                    <a:pt x="22540" y="8957"/>
                  </a:lnTo>
                  <a:lnTo>
                    <a:pt x="22549" y="8948"/>
                  </a:lnTo>
                  <a:lnTo>
                    <a:pt x="22558" y="8939"/>
                  </a:lnTo>
                  <a:close/>
                  <a:moveTo>
                    <a:pt x="23440" y="8551"/>
                  </a:moveTo>
                  <a:lnTo>
                    <a:pt x="23449" y="8551"/>
                  </a:lnTo>
                  <a:lnTo>
                    <a:pt x="23458" y="8551"/>
                  </a:lnTo>
                  <a:lnTo>
                    <a:pt x="23458" y="8560"/>
                  </a:lnTo>
                  <a:lnTo>
                    <a:pt x="23484" y="8569"/>
                  </a:lnTo>
                  <a:lnTo>
                    <a:pt x="23493" y="8578"/>
                  </a:lnTo>
                  <a:lnTo>
                    <a:pt x="23502" y="8578"/>
                  </a:lnTo>
                  <a:lnTo>
                    <a:pt x="23519" y="8595"/>
                  </a:lnTo>
                  <a:lnTo>
                    <a:pt x="23519" y="8604"/>
                  </a:lnTo>
                  <a:lnTo>
                    <a:pt x="23528" y="8604"/>
                  </a:lnTo>
                  <a:lnTo>
                    <a:pt x="23537" y="8604"/>
                  </a:lnTo>
                  <a:lnTo>
                    <a:pt x="23546" y="8604"/>
                  </a:lnTo>
                  <a:lnTo>
                    <a:pt x="23555" y="8613"/>
                  </a:lnTo>
                  <a:lnTo>
                    <a:pt x="23555" y="8622"/>
                  </a:lnTo>
                  <a:lnTo>
                    <a:pt x="23572" y="8639"/>
                  </a:lnTo>
                  <a:lnTo>
                    <a:pt x="23581" y="8657"/>
                  </a:lnTo>
                  <a:lnTo>
                    <a:pt x="23581" y="8666"/>
                  </a:lnTo>
                  <a:lnTo>
                    <a:pt x="23581" y="8675"/>
                  </a:lnTo>
                  <a:lnTo>
                    <a:pt x="23581" y="8683"/>
                  </a:lnTo>
                  <a:lnTo>
                    <a:pt x="23581" y="8692"/>
                  </a:lnTo>
                  <a:lnTo>
                    <a:pt x="23590" y="8692"/>
                  </a:lnTo>
                  <a:lnTo>
                    <a:pt x="23590" y="8701"/>
                  </a:lnTo>
                  <a:lnTo>
                    <a:pt x="23599" y="8701"/>
                  </a:lnTo>
                  <a:lnTo>
                    <a:pt x="23608" y="8692"/>
                  </a:lnTo>
                  <a:lnTo>
                    <a:pt x="23608" y="8683"/>
                  </a:lnTo>
                  <a:lnTo>
                    <a:pt x="23608" y="8675"/>
                  </a:lnTo>
                  <a:lnTo>
                    <a:pt x="23616" y="8666"/>
                  </a:lnTo>
                  <a:lnTo>
                    <a:pt x="23608" y="8648"/>
                  </a:lnTo>
                  <a:lnTo>
                    <a:pt x="23555" y="8613"/>
                  </a:lnTo>
                  <a:lnTo>
                    <a:pt x="23546" y="8604"/>
                  </a:lnTo>
                  <a:lnTo>
                    <a:pt x="23537" y="8595"/>
                  </a:lnTo>
                  <a:lnTo>
                    <a:pt x="23528" y="8586"/>
                  </a:lnTo>
                  <a:lnTo>
                    <a:pt x="23519" y="8586"/>
                  </a:lnTo>
                  <a:lnTo>
                    <a:pt x="23511" y="8578"/>
                  </a:lnTo>
                  <a:lnTo>
                    <a:pt x="23502" y="8569"/>
                  </a:lnTo>
                  <a:lnTo>
                    <a:pt x="23493" y="8569"/>
                  </a:lnTo>
                  <a:lnTo>
                    <a:pt x="23484" y="8560"/>
                  </a:lnTo>
                  <a:lnTo>
                    <a:pt x="23475" y="8560"/>
                  </a:lnTo>
                  <a:lnTo>
                    <a:pt x="23467" y="8551"/>
                  </a:lnTo>
                  <a:lnTo>
                    <a:pt x="23458" y="8551"/>
                  </a:lnTo>
                  <a:lnTo>
                    <a:pt x="23440" y="8542"/>
                  </a:lnTo>
                  <a:lnTo>
                    <a:pt x="23449" y="8542"/>
                  </a:lnTo>
                  <a:close/>
                  <a:moveTo>
                    <a:pt x="23352" y="8454"/>
                  </a:moveTo>
                  <a:lnTo>
                    <a:pt x="23352" y="8463"/>
                  </a:lnTo>
                  <a:lnTo>
                    <a:pt x="23361" y="8463"/>
                  </a:lnTo>
                  <a:lnTo>
                    <a:pt x="23369" y="8472"/>
                  </a:lnTo>
                  <a:lnTo>
                    <a:pt x="23369" y="8463"/>
                  </a:lnTo>
                  <a:lnTo>
                    <a:pt x="23361" y="8454"/>
                  </a:lnTo>
                  <a:close/>
                  <a:moveTo>
                    <a:pt x="23325" y="8763"/>
                  </a:moveTo>
                  <a:lnTo>
                    <a:pt x="23317" y="8754"/>
                  </a:lnTo>
                  <a:lnTo>
                    <a:pt x="23308" y="8754"/>
                  </a:lnTo>
                  <a:lnTo>
                    <a:pt x="23290" y="8754"/>
                  </a:lnTo>
                  <a:lnTo>
                    <a:pt x="23281" y="8754"/>
                  </a:lnTo>
                  <a:lnTo>
                    <a:pt x="23264" y="8754"/>
                  </a:lnTo>
                  <a:lnTo>
                    <a:pt x="23264" y="8763"/>
                  </a:lnTo>
                  <a:lnTo>
                    <a:pt x="23264" y="8772"/>
                  </a:lnTo>
                  <a:lnTo>
                    <a:pt x="23272" y="8772"/>
                  </a:lnTo>
                  <a:lnTo>
                    <a:pt x="23281" y="8781"/>
                  </a:lnTo>
                  <a:lnTo>
                    <a:pt x="23290" y="8781"/>
                  </a:lnTo>
                  <a:lnTo>
                    <a:pt x="23299" y="8781"/>
                  </a:lnTo>
                  <a:lnTo>
                    <a:pt x="23317" y="8798"/>
                  </a:lnTo>
                  <a:lnTo>
                    <a:pt x="23334" y="8798"/>
                  </a:lnTo>
                  <a:lnTo>
                    <a:pt x="23343" y="8798"/>
                  </a:lnTo>
                  <a:lnTo>
                    <a:pt x="23352" y="8807"/>
                  </a:lnTo>
                  <a:lnTo>
                    <a:pt x="23361" y="8807"/>
                  </a:lnTo>
                  <a:lnTo>
                    <a:pt x="23361" y="8816"/>
                  </a:lnTo>
                  <a:lnTo>
                    <a:pt x="23369" y="8816"/>
                  </a:lnTo>
                  <a:lnTo>
                    <a:pt x="23396" y="8807"/>
                  </a:lnTo>
                  <a:lnTo>
                    <a:pt x="23414" y="8807"/>
                  </a:lnTo>
                  <a:lnTo>
                    <a:pt x="23422" y="8807"/>
                  </a:lnTo>
                  <a:lnTo>
                    <a:pt x="23431" y="8798"/>
                  </a:lnTo>
                  <a:lnTo>
                    <a:pt x="23440" y="8798"/>
                  </a:lnTo>
                  <a:lnTo>
                    <a:pt x="23449" y="8789"/>
                  </a:lnTo>
                  <a:lnTo>
                    <a:pt x="23458" y="8789"/>
                  </a:lnTo>
                  <a:lnTo>
                    <a:pt x="23467" y="8789"/>
                  </a:lnTo>
                  <a:lnTo>
                    <a:pt x="23475" y="8781"/>
                  </a:lnTo>
                  <a:lnTo>
                    <a:pt x="23484" y="8781"/>
                  </a:lnTo>
                  <a:lnTo>
                    <a:pt x="23484" y="8772"/>
                  </a:lnTo>
                  <a:lnTo>
                    <a:pt x="23493" y="8772"/>
                  </a:lnTo>
                  <a:lnTo>
                    <a:pt x="23493" y="8763"/>
                  </a:lnTo>
                  <a:lnTo>
                    <a:pt x="23493" y="8754"/>
                  </a:lnTo>
                  <a:lnTo>
                    <a:pt x="23511" y="8754"/>
                  </a:lnTo>
                  <a:lnTo>
                    <a:pt x="23519" y="8754"/>
                  </a:lnTo>
                  <a:lnTo>
                    <a:pt x="23528" y="8754"/>
                  </a:lnTo>
                  <a:lnTo>
                    <a:pt x="23537" y="8754"/>
                  </a:lnTo>
                  <a:lnTo>
                    <a:pt x="23537" y="8745"/>
                  </a:lnTo>
                  <a:lnTo>
                    <a:pt x="23537" y="8736"/>
                  </a:lnTo>
                  <a:lnTo>
                    <a:pt x="23528" y="8728"/>
                  </a:lnTo>
                  <a:lnTo>
                    <a:pt x="23528" y="8719"/>
                  </a:lnTo>
                  <a:lnTo>
                    <a:pt x="23546" y="8719"/>
                  </a:lnTo>
                  <a:lnTo>
                    <a:pt x="23546" y="8710"/>
                  </a:lnTo>
                  <a:lnTo>
                    <a:pt x="23555" y="8701"/>
                  </a:lnTo>
                  <a:lnTo>
                    <a:pt x="23564" y="8701"/>
                  </a:lnTo>
                  <a:lnTo>
                    <a:pt x="23564" y="8692"/>
                  </a:lnTo>
                  <a:lnTo>
                    <a:pt x="23555" y="8683"/>
                  </a:lnTo>
                  <a:lnTo>
                    <a:pt x="23564" y="8666"/>
                  </a:lnTo>
                  <a:lnTo>
                    <a:pt x="23555" y="8666"/>
                  </a:lnTo>
                  <a:lnTo>
                    <a:pt x="23546" y="8666"/>
                  </a:lnTo>
                  <a:lnTo>
                    <a:pt x="23537" y="8657"/>
                  </a:lnTo>
                  <a:lnTo>
                    <a:pt x="23528" y="8666"/>
                  </a:lnTo>
                  <a:lnTo>
                    <a:pt x="23519" y="8666"/>
                  </a:lnTo>
                  <a:lnTo>
                    <a:pt x="23519" y="8657"/>
                  </a:lnTo>
                  <a:lnTo>
                    <a:pt x="23511" y="8657"/>
                  </a:lnTo>
                  <a:lnTo>
                    <a:pt x="23502" y="8657"/>
                  </a:lnTo>
                  <a:lnTo>
                    <a:pt x="23502" y="8666"/>
                  </a:lnTo>
                  <a:lnTo>
                    <a:pt x="23493" y="8666"/>
                  </a:lnTo>
                  <a:lnTo>
                    <a:pt x="23502" y="8692"/>
                  </a:lnTo>
                  <a:lnTo>
                    <a:pt x="23511" y="8701"/>
                  </a:lnTo>
                  <a:lnTo>
                    <a:pt x="23502" y="8710"/>
                  </a:lnTo>
                  <a:lnTo>
                    <a:pt x="23493" y="8710"/>
                  </a:lnTo>
                  <a:lnTo>
                    <a:pt x="23484" y="8710"/>
                  </a:lnTo>
                  <a:lnTo>
                    <a:pt x="23467" y="8728"/>
                  </a:lnTo>
                  <a:lnTo>
                    <a:pt x="23458" y="8728"/>
                  </a:lnTo>
                  <a:lnTo>
                    <a:pt x="23458" y="8736"/>
                  </a:lnTo>
                  <a:lnTo>
                    <a:pt x="23458" y="8745"/>
                  </a:lnTo>
                  <a:lnTo>
                    <a:pt x="23449" y="8745"/>
                  </a:lnTo>
                  <a:lnTo>
                    <a:pt x="23449" y="8754"/>
                  </a:lnTo>
                  <a:lnTo>
                    <a:pt x="23440" y="8754"/>
                  </a:lnTo>
                  <a:lnTo>
                    <a:pt x="23431" y="8754"/>
                  </a:lnTo>
                  <a:lnTo>
                    <a:pt x="23422" y="8754"/>
                  </a:lnTo>
                  <a:lnTo>
                    <a:pt x="23414" y="8754"/>
                  </a:lnTo>
                  <a:lnTo>
                    <a:pt x="23405" y="8754"/>
                  </a:lnTo>
                  <a:lnTo>
                    <a:pt x="23396" y="8754"/>
                  </a:lnTo>
                  <a:lnTo>
                    <a:pt x="23387" y="8745"/>
                  </a:lnTo>
                  <a:lnTo>
                    <a:pt x="23387" y="8736"/>
                  </a:lnTo>
                  <a:lnTo>
                    <a:pt x="23387" y="8728"/>
                  </a:lnTo>
                  <a:lnTo>
                    <a:pt x="23396" y="8719"/>
                  </a:lnTo>
                  <a:lnTo>
                    <a:pt x="23387" y="8719"/>
                  </a:lnTo>
                  <a:lnTo>
                    <a:pt x="23387" y="8728"/>
                  </a:lnTo>
                  <a:lnTo>
                    <a:pt x="23378" y="8745"/>
                  </a:lnTo>
                  <a:lnTo>
                    <a:pt x="23369" y="8754"/>
                  </a:lnTo>
                  <a:lnTo>
                    <a:pt x="23361" y="8754"/>
                  </a:lnTo>
                  <a:lnTo>
                    <a:pt x="23352" y="8754"/>
                  </a:lnTo>
                  <a:lnTo>
                    <a:pt x="23343" y="8763"/>
                  </a:lnTo>
                  <a:lnTo>
                    <a:pt x="23334" y="8763"/>
                  </a:lnTo>
                  <a:close/>
                  <a:moveTo>
                    <a:pt x="23502" y="7810"/>
                  </a:moveTo>
                  <a:lnTo>
                    <a:pt x="23502" y="7819"/>
                  </a:lnTo>
                  <a:close/>
                  <a:moveTo>
                    <a:pt x="23396" y="8525"/>
                  </a:moveTo>
                  <a:lnTo>
                    <a:pt x="23387" y="8525"/>
                  </a:lnTo>
                  <a:lnTo>
                    <a:pt x="23378" y="8533"/>
                  </a:lnTo>
                  <a:lnTo>
                    <a:pt x="23387" y="8533"/>
                  </a:lnTo>
                  <a:lnTo>
                    <a:pt x="23387" y="8542"/>
                  </a:lnTo>
                  <a:lnTo>
                    <a:pt x="23396" y="8542"/>
                  </a:lnTo>
                  <a:lnTo>
                    <a:pt x="23405" y="8551"/>
                  </a:lnTo>
                  <a:lnTo>
                    <a:pt x="23414" y="8542"/>
                  </a:lnTo>
                  <a:lnTo>
                    <a:pt x="23414" y="8533"/>
                  </a:lnTo>
                  <a:close/>
                  <a:moveTo>
                    <a:pt x="23405" y="4713"/>
                  </a:moveTo>
                  <a:lnTo>
                    <a:pt x="23378" y="4722"/>
                  </a:lnTo>
                  <a:lnTo>
                    <a:pt x="23369" y="4739"/>
                  </a:lnTo>
                  <a:lnTo>
                    <a:pt x="23361" y="4739"/>
                  </a:lnTo>
                  <a:lnTo>
                    <a:pt x="23343" y="4766"/>
                  </a:lnTo>
                  <a:lnTo>
                    <a:pt x="23352" y="4766"/>
                  </a:lnTo>
                  <a:lnTo>
                    <a:pt x="23361" y="4757"/>
                  </a:lnTo>
                  <a:lnTo>
                    <a:pt x="23378" y="4748"/>
                  </a:lnTo>
                  <a:lnTo>
                    <a:pt x="23378" y="4739"/>
                  </a:lnTo>
                  <a:lnTo>
                    <a:pt x="23387" y="4739"/>
                  </a:lnTo>
                  <a:lnTo>
                    <a:pt x="23396" y="4731"/>
                  </a:lnTo>
                  <a:lnTo>
                    <a:pt x="23405" y="4731"/>
                  </a:lnTo>
                  <a:lnTo>
                    <a:pt x="23422" y="4704"/>
                  </a:lnTo>
                  <a:lnTo>
                    <a:pt x="23405" y="4704"/>
                  </a:lnTo>
                  <a:close/>
                  <a:moveTo>
                    <a:pt x="23422" y="3433"/>
                  </a:moveTo>
                  <a:lnTo>
                    <a:pt x="23440" y="3424"/>
                  </a:lnTo>
                  <a:lnTo>
                    <a:pt x="23431" y="3424"/>
                  </a:lnTo>
                  <a:lnTo>
                    <a:pt x="23431" y="3416"/>
                  </a:lnTo>
                  <a:lnTo>
                    <a:pt x="23422" y="3424"/>
                  </a:lnTo>
                  <a:lnTo>
                    <a:pt x="23414" y="3433"/>
                  </a:lnTo>
                  <a:close/>
                  <a:moveTo>
                    <a:pt x="23537" y="8569"/>
                  </a:moveTo>
                  <a:lnTo>
                    <a:pt x="23528" y="8560"/>
                  </a:lnTo>
                  <a:close/>
                  <a:moveTo>
                    <a:pt x="23546" y="4625"/>
                  </a:moveTo>
                  <a:lnTo>
                    <a:pt x="23537" y="4633"/>
                  </a:lnTo>
                  <a:lnTo>
                    <a:pt x="23519" y="4651"/>
                  </a:lnTo>
                  <a:lnTo>
                    <a:pt x="23511" y="4651"/>
                  </a:lnTo>
                  <a:lnTo>
                    <a:pt x="23519" y="4651"/>
                  </a:lnTo>
                  <a:lnTo>
                    <a:pt x="23528" y="4642"/>
                  </a:lnTo>
                  <a:lnTo>
                    <a:pt x="23555" y="4625"/>
                  </a:lnTo>
                  <a:close/>
                  <a:moveTo>
                    <a:pt x="23616" y="10219"/>
                  </a:moveTo>
                  <a:lnTo>
                    <a:pt x="23608" y="10228"/>
                  </a:lnTo>
                  <a:lnTo>
                    <a:pt x="23608" y="10237"/>
                  </a:lnTo>
                  <a:lnTo>
                    <a:pt x="23608" y="10246"/>
                  </a:lnTo>
                  <a:lnTo>
                    <a:pt x="23608" y="10254"/>
                  </a:lnTo>
                  <a:lnTo>
                    <a:pt x="23599" y="10263"/>
                  </a:lnTo>
                  <a:lnTo>
                    <a:pt x="23608" y="10272"/>
                  </a:lnTo>
                  <a:lnTo>
                    <a:pt x="23608" y="10281"/>
                  </a:lnTo>
                  <a:lnTo>
                    <a:pt x="23608" y="10272"/>
                  </a:lnTo>
                  <a:lnTo>
                    <a:pt x="23616" y="10254"/>
                  </a:lnTo>
                  <a:lnTo>
                    <a:pt x="23625" y="10219"/>
                  </a:lnTo>
                  <a:lnTo>
                    <a:pt x="23634" y="10219"/>
                  </a:lnTo>
                  <a:lnTo>
                    <a:pt x="23625" y="10210"/>
                  </a:lnTo>
                  <a:lnTo>
                    <a:pt x="23625" y="10193"/>
                  </a:lnTo>
                  <a:lnTo>
                    <a:pt x="23616" y="10193"/>
                  </a:lnTo>
                  <a:lnTo>
                    <a:pt x="23616" y="10201"/>
                  </a:lnTo>
                  <a:lnTo>
                    <a:pt x="23625" y="10210"/>
                  </a:lnTo>
                  <a:close/>
                  <a:moveTo>
                    <a:pt x="23608" y="4563"/>
                  </a:moveTo>
                  <a:lnTo>
                    <a:pt x="23599" y="4572"/>
                  </a:lnTo>
                  <a:lnTo>
                    <a:pt x="23608" y="4572"/>
                  </a:lnTo>
                  <a:close/>
                  <a:moveTo>
                    <a:pt x="23608" y="9019"/>
                  </a:moveTo>
                  <a:lnTo>
                    <a:pt x="23599" y="9019"/>
                  </a:lnTo>
                  <a:lnTo>
                    <a:pt x="23599" y="9010"/>
                  </a:lnTo>
                  <a:lnTo>
                    <a:pt x="23590" y="9010"/>
                  </a:lnTo>
                  <a:lnTo>
                    <a:pt x="23581" y="9010"/>
                  </a:lnTo>
                  <a:lnTo>
                    <a:pt x="23572" y="9010"/>
                  </a:lnTo>
                  <a:lnTo>
                    <a:pt x="23581" y="9019"/>
                  </a:lnTo>
                  <a:lnTo>
                    <a:pt x="23590" y="9028"/>
                  </a:lnTo>
                  <a:lnTo>
                    <a:pt x="23599" y="9028"/>
                  </a:lnTo>
                  <a:lnTo>
                    <a:pt x="23599" y="9019"/>
                  </a:lnTo>
                  <a:close/>
                  <a:moveTo>
                    <a:pt x="23475" y="10104"/>
                  </a:moveTo>
                  <a:lnTo>
                    <a:pt x="23467" y="10104"/>
                  </a:lnTo>
                  <a:lnTo>
                    <a:pt x="23467" y="10096"/>
                  </a:lnTo>
                  <a:lnTo>
                    <a:pt x="23458" y="10096"/>
                  </a:lnTo>
                  <a:lnTo>
                    <a:pt x="23458" y="10104"/>
                  </a:lnTo>
                  <a:lnTo>
                    <a:pt x="23467" y="10122"/>
                  </a:lnTo>
                  <a:lnTo>
                    <a:pt x="23475" y="10122"/>
                  </a:lnTo>
                  <a:lnTo>
                    <a:pt x="23475" y="10113"/>
                  </a:lnTo>
                  <a:close/>
                  <a:moveTo>
                    <a:pt x="23528" y="8551"/>
                  </a:moveTo>
                  <a:lnTo>
                    <a:pt x="23528" y="8560"/>
                  </a:lnTo>
                  <a:close/>
                  <a:moveTo>
                    <a:pt x="23581" y="8578"/>
                  </a:moveTo>
                  <a:lnTo>
                    <a:pt x="23572" y="8578"/>
                  </a:lnTo>
                  <a:lnTo>
                    <a:pt x="23572" y="8586"/>
                  </a:lnTo>
                  <a:lnTo>
                    <a:pt x="23581" y="8586"/>
                  </a:lnTo>
                  <a:close/>
                  <a:moveTo>
                    <a:pt x="23211" y="4810"/>
                  </a:moveTo>
                  <a:lnTo>
                    <a:pt x="23202" y="4810"/>
                  </a:lnTo>
                  <a:lnTo>
                    <a:pt x="23193" y="4828"/>
                  </a:lnTo>
                  <a:lnTo>
                    <a:pt x="23184" y="4828"/>
                  </a:lnTo>
                  <a:lnTo>
                    <a:pt x="23175" y="4836"/>
                  </a:lnTo>
                  <a:lnTo>
                    <a:pt x="23175" y="4845"/>
                  </a:lnTo>
                  <a:lnTo>
                    <a:pt x="23158" y="4854"/>
                  </a:lnTo>
                  <a:lnTo>
                    <a:pt x="23158" y="4863"/>
                  </a:lnTo>
                  <a:lnTo>
                    <a:pt x="23158" y="4872"/>
                  </a:lnTo>
                  <a:lnTo>
                    <a:pt x="23167" y="4863"/>
                  </a:lnTo>
                  <a:lnTo>
                    <a:pt x="23175" y="4863"/>
                  </a:lnTo>
                  <a:lnTo>
                    <a:pt x="23184" y="4845"/>
                  </a:lnTo>
                  <a:lnTo>
                    <a:pt x="23202" y="4836"/>
                  </a:lnTo>
                  <a:lnTo>
                    <a:pt x="23211" y="4828"/>
                  </a:lnTo>
                  <a:lnTo>
                    <a:pt x="23211" y="4819"/>
                  </a:lnTo>
                  <a:lnTo>
                    <a:pt x="23219" y="4819"/>
                  </a:lnTo>
                  <a:lnTo>
                    <a:pt x="23228" y="4819"/>
                  </a:lnTo>
                  <a:lnTo>
                    <a:pt x="23237" y="4810"/>
                  </a:lnTo>
                  <a:lnTo>
                    <a:pt x="23255" y="4801"/>
                  </a:lnTo>
                  <a:lnTo>
                    <a:pt x="23264" y="4792"/>
                  </a:lnTo>
                  <a:lnTo>
                    <a:pt x="23281" y="4792"/>
                  </a:lnTo>
                  <a:lnTo>
                    <a:pt x="23290" y="4792"/>
                  </a:lnTo>
                  <a:lnTo>
                    <a:pt x="23299" y="4784"/>
                  </a:lnTo>
                  <a:lnTo>
                    <a:pt x="23299" y="4775"/>
                  </a:lnTo>
                  <a:lnTo>
                    <a:pt x="23290" y="4775"/>
                  </a:lnTo>
                  <a:lnTo>
                    <a:pt x="23281" y="4775"/>
                  </a:lnTo>
                  <a:lnTo>
                    <a:pt x="23264" y="4792"/>
                  </a:lnTo>
                  <a:lnTo>
                    <a:pt x="23246" y="4792"/>
                  </a:lnTo>
                  <a:lnTo>
                    <a:pt x="23237" y="4792"/>
                  </a:lnTo>
                  <a:lnTo>
                    <a:pt x="23237" y="4784"/>
                  </a:lnTo>
                  <a:lnTo>
                    <a:pt x="23228" y="4784"/>
                  </a:lnTo>
                  <a:lnTo>
                    <a:pt x="23228" y="4792"/>
                  </a:lnTo>
                  <a:lnTo>
                    <a:pt x="23228" y="4801"/>
                  </a:lnTo>
                  <a:lnTo>
                    <a:pt x="23219" y="4801"/>
                  </a:lnTo>
                  <a:close/>
                  <a:moveTo>
                    <a:pt x="23519" y="7801"/>
                  </a:moveTo>
                  <a:lnTo>
                    <a:pt x="23519" y="7810"/>
                  </a:lnTo>
                  <a:close/>
                  <a:moveTo>
                    <a:pt x="23475" y="9081"/>
                  </a:moveTo>
                  <a:lnTo>
                    <a:pt x="23467" y="9089"/>
                  </a:lnTo>
                  <a:lnTo>
                    <a:pt x="23458" y="9081"/>
                  </a:lnTo>
                  <a:lnTo>
                    <a:pt x="23449" y="9072"/>
                  </a:lnTo>
                  <a:lnTo>
                    <a:pt x="23440" y="9063"/>
                  </a:lnTo>
                  <a:lnTo>
                    <a:pt x="23440" y="9072"/>
                  </a:lnTo>
                  <a:lnTo>
                    <a:pt x="23449" y="9072"/>
                  </a:lnTo>
                  <a:lnTo>
                    <a:pt x="23449" y="9081"/>
                  </a:lnTo>
                  <a:lnTo>
                    <a:pt x="23458" y="9089"/>
                  </a:lnTo>
                  <a:lnTo>
                    <a:pt x="23467" y="9098"/>
                  </a:lnTo>
                  <a:lnTo>
                    <a:pt x="23475" y="9098"/>
                  </a:lnTo>
                  <a:close/>
                  <a:moveTo>
                    <a:pt x="21561" y="9416"/>
                  </a:moveTo>
                  <a:lnTo>
                    <a:pt x="21552" y="9416"/>
                  </a:lnTo>
                  <a:lnTo>
                    <a:pt x="21552" y="9425"/>
                  </a:lnTo>
                  <a:lnTo>
                    <a:pt x="21561" y="9425"/>
                  </a:lnTo>
                  <a:close/>
                  <a:moveTo>
                    <a:pt x="21446" y="8966"/>
                  </a:moveTo>
                  <a:lnTo>
                    <a:pt x="21455" y="8957"/>
                  </a:lnTo>
                  <a:lnTo>
                    <a:pt x="21464" y="8957"/>
                  </a:lnTo>
                  <a:lnTo>
                    <a:pt x="21464" y="8948"/>
                  </a:lnTo>
                  <a:lnTo>
                    <a:pt x="21455" y="8948"/>
                  </a:lnTo>
                  <a:lnTo>
                    <a:pt x="21446" y="8957"/>
                  </a:lnTo>
                  <a:lnTo>
                    <a:pt x="21437" y="8957"/>
                  </a:lnTo>
                  <a:lnTo>
                    <a:pt x="21429" y="8957"/>
                  </a:lnTo>
                  <a:lnTo>
                    <a:pt x="21437" y="8957"/>
                  </a:lnTo>
                  <a:lnTo>
                    <a:pt x="21429" y="8966"/>
                  </a:lnTo>
                  <a:lnTo>
                    <a:pt x="21420" y="8966"/>
                  </a:lnTo>
                  <a:lnTo>
                    <a:pt x="21420" y="8975"/>
                  </a:lnTo>
                  <a:lnTo>
                    <a:pt x="21429" y="8984"/>
                  </a:lnTo>
                  <a:lnTo>
                    <a:pt x="21437" y="8975"/>
                  </a:lnTo>
                  <a:lnTo>
                    <a:pt x="21446" y="8975"/>
                  </a:lnTo>
                  <a:close/>
                  <a:moveTo>
                    <a:pt x="21799" y="8604"/>
                  </a:moveTo>
                  <a:lnTo>
                    <a:pt x="21799" y="8613"/>
                  </a:lnTo>
                  <a:lnTo>
                    <a:pt x="21808" y="8613"/>
                  </a:lnTo>
                  <a:close/>
                  <a:moveTo>
                    <a:pt x="21517" y="9478"/>
                  </a:moveTo>
                  <a:lnTo>
                    <a:pt x="21508" y="9478"/>
                  </a:lnTo>
                  <a:lnTo>
                    <a:pt x="21508" y="9487"/>
                  </a:lnTo>
                  <a:lnTo>
                    <a:pt x="21517" y="9487"/>
                  </a:lnTo>
                  <a:close/>
                  <a:moveTo>
                    <a:pt x="22425" y="9513"/>
                  </a:moveTo>
                  <a:lnTo>
                    <a:pt x="22434" y="9513"/>
                  </a:lnTo>
                  <a:lnTo>
                    <a:pt x="22434" y="9504"/>
                  </a:lnTo>
                  <a:lnTo>
                    <a:pt x="22425" y="9495"/>
                  </a:lnTo>
                  <a:lnTo>
                    <a:pt x="22425" y="9504"/>
                  </a:lnTo>
                  <a:close/>
                  <a:moveTo>
                    <a:pt x="21817" y="8613"/>
                  </a:moveTo>
                  <a:lnTo>
                    <a:pt x="21817" y="8604"/>
                  </a:lnTo>
                  <a:lnTo>
                    <a:pt x="21808" y="8604"/>
                  </a:lnTo>
                  <a:lnTo>
                    <a:pt x="21808" y="8613"/>
                  </a:lnTo>
                  <a:close/>
                  <a:moveTo>
                    <a:pt x="21764" y="8472"/>
                  </a:moveTo>
                  <a:lnTo>
                    <a:pt x="21773" y="8480"/>
                  </a:lnTo>
                  <a:lnTo>
                    <a:pt x="21773" y="8472"/>
                  </a:lnTo>
                  <a:lnTo>
                    <a:pt x="21781" y="8472"/>
                  </a:lnTo>
                  <a:lnTo>
                    <a:pt x="21773" y="8472"/>
                  </a:lnTo>
                  <a:lnTo>
                    <a:pt x="21773" y="8463"/>
                  </a:lnTo>
                  <a:lnTo>
                    <a:pt x="21755" y="8454"/>
                  </a:lnTo>
                  <a:lnTo>
                    <a:pt x="21746" y="8454"/>
                  </a:lnTo>
                  <a:lnTo>
                    <a:pt x="21737" y="8445"/>
                  </a:lnTo>
                  <a:lnTo>
                    <a:pt x="21737" y="8454"/>
                  </a:lnTo>
                  <a:lnTo>
                    <a:pt x="21728" y="8454"/>
                  </a:lnTo>
                  <a:lnTo>
                    <a:pt x="21720" y="8472"/>
                  </a:lnTo>
                  <a:lnTo>
                    <a:pt x="21728" y="8472"/>
                  </a:lnTo>
                  <a:lnTo>
                    <a:pt x="21737" y="8480"/>
                  </a:lnTo>
                  <a:lnTo>
                    <a:pt x="21746" y="8472"/>
                  </a:lnTo>
                  <a:close/>
                  <a:moveTo>
                    <a:pt x="21781" y="8622"/>
                  </a:moveTo>
                  <a:lnTo>
                    <a:pt x="21790" y="8622"/>
                  </a:lnTo>
                  <a:lnTo>
                    <a:pt x="21790" y="8613"/>
                  </a:lnTo>
                  <a:lnTo>
                    <a:pt x="21790" y="8604"/>
                  </a:lnTo>
                  <a:lnTo>
                    <a:pt x="21781" y="8604"/>
                  </a:lnTo>
                  <a:lnTo>
                    <a:pt x="21773" y="8613"/>
                  </a:lnTo>
                  <a:lnTo>
                    <a:pt x="21764" y="8613"/>
                  </a:lnTo>
                  <a:lnTo>
                    <a:pt x="21764" y="8622"/>
                  </a:lnTo>
                  <a:lnTo>
                    <a:pt x="21764" y="8630"/>
                  </a:lnTo>
                  <a:lnTo>
                    <a:pt x="21773" y="8622"/>
                  </a:lnTo>
                  <a:lnTo>
                    <a:pt x="21781" y="8622"/>
                  </a:lnTo>
                  <a:lnTo>
                    <a:pt x="21773" y="8622"/>
                  </a:lnTo>
                  <a:close/>
                  <a:moveTo>
                    <a:pt x="21728" y="8586"/>
                  </a:moveTo>
                  <a:lnTo>
                    <a:pt x="21728" y="8595"/>
                  </a:lnTo>
                  <a:lnTo>
                    <a:pt x="21737" y="8595"/>
                  </a:lnTo>
                  <a:lnTo>
                    <a:pt x="21737" y="8586"/>
                  </a:lnTo>
                  <a:close/>
                  <a:moveTo>
                    <a:pt x="21340" y="8992"/>
                  </a:moveTo>
                  <a:lnTo>
                    <a:pt x="21349" y="8992"/>
                  </a:lnTo>
                  <a:lnTo>
                    <a:pt x="21358" y="8992"/>
                  </a:lnTo>
                  <a:lnTo>
                    <a:pt x="21367" y="8984"/>
                  </a:lnTo>
                  <a:lnTo>
                    <a:pt x="21376" y="8984"/>
                  </a:lnTo>
                  <a:lnTo>
                    <a:pt x="21384" y="8984"/>
                  </a:lnTo>
                  <a:lnTo>
                    <a:pt x="21384" y="8975"/>
                  </a:lnTo>
                  <a:lnTo>
                    <a:pt x="21393" y="8966"/>
                  </a:lnTo>
                  <a:lnTo>
                    <a:pt x="21402" y="8957"/>
                  </a:lnTo>
                  <a:lnTo>
                    <a:pt x="21393" y="8948"/>
                  </a:lnTo>
                  <a:lnTo>
                    <a:pt x="21384" y="8939"/>
                  </a:lnTo>
                  <a:lnTo>
                    <a:pt x="21384" y="8948"/>
                  </a:lnTo>
                  <a:lnTo>
                    <a:pt x="21393" y="8957"/>
                  </a:lnTo>
                  <a:lnTo>
                    <a:pt x="21384" y="8957"/>
                  </a:lnTo>
                  <a:lnTo>
                    <a:pt x="21384" y="8966"/>
                  </a:lnTo>
                  <a:lnTo>
                    <a:pt x="21367" y="8966"/>
                  </a:lnTo>
                  <a:lnTo>
                    <a:pt x="21367" y="8975"/>
                  </a:lnTo>
                  <a:lnTo>
                    <a:pt x="21358" y="8975"/>
                  </a:lnTo>
                  <a:lnTo>
                    <a:pt x="21358" y="8984"/>
                  </a:lnTo>
                  <a:lnTo>
                    <a:pt x="21349" y="8984"/>
                  </a:lnTo>
                  <a:lnTo>
                    <a:pt x="21340" y="8984"/>
                  </a:lnTo>
                  <a:lnTo>
                    <a:pt x="21331" y="8975"/>
                  </a:lnTo>
                  <a:lnTo>
                    <a:pt x="21323" y="8975"/>
                  </a:lnTo>
                  <a:lnTo>
                    <a:pt x="21314" y="8975"/>
                  </a:lnTo>
                  <a:lnTo>
                    <a:pt x="21305" y="8975"/>
                  </a:lnTo>
                  <a:lnTo>
                    <a:pt x="21296" y="8975"/>
                  </a:lnTo>
                  <a:lnTo>
                    <a:pt x="21287" y="8984"/>
                  </a:lnTo>
                  <a:lnTo>
                    <a:pt x="21279" y="8975"/>
                  </a:lnTo>
                  <a:lnTo>
                    <a:pt x="21270" y="8975"/>
                  </a:lnTo>
                  <a:lnTo>
                    <a:pt x="21261" y="8966"/>
                  </a:lnTo>
                  <a:lnTo>
                    <a:pt x="21252" y="8966"/>
                  </a:lnTo>
                  <a:lnTo>
                    <a:pt x="21243" y="8957"/>
                  </a:lnTo>
                  <a:lnTo>
                    <a:pt x="21234" y="8957"/>
                  </a:lnTo>
                  <a:lnTo>
                    <a:pt x="21226" y="8957"/>
                  </a:lnTo>
                  <a:lnTo>
                    <a:pt x="21217" y="8957"/>
                  </a:lnTo>
                  <a:lnTo>
                    <a:pt x="21208" y="8957"/>
                  </a:lnTo>
                  <a:lnTo>
                    <a:pt x="21199" y="8957"/>
                  </a:lnTo>
                  <a:lnTo>
                    <a:pt x="21182" y="8966"/>
                  </a:lnTo>
                  <a:lnTo>
                    <a:pt x="21173" y="8966"/>
                  </a:lnTo>
                  <a:lnTo>
                    <a:pt x="21164" y="8975"/>
                  </a:lnTo>
                  <a:lnTo>
                    <a:pt x="21164" y="8984"/>
                  </a:lnTo>
                  <a:lnTo>
                    <a:pt x="21164" y="8992"/>
                  </a:lnTo>
                  <a:lnTo>
                    <a:pt x="21173" y="8992"/>
                  </a:lnTo>
                  <a:lnTo>
                    <a:pt x="21173" y="9001"/>
                  </a:lnTo>
                  <a:lnTo>
                    <a:pt x="21182" y="8992"/>
                  </a:lnTo>
                  <a:lnTo>
                    <a:pt x="21190" y="8992"/>
                  </a:lnTo>
                  <a:lnTo>
                    <a:pt x="21199" y="9001"/>
                  </a:lnTo>
                  <a:lnTo>
                    <a:pt x="21217" y="8992"/>
                  </a:lnTo>
                  <a:lnTo>
                    <a:pt x="21234" y="9001"/>
                  </a:lnTo>
                  <a:lnTo>
                    <a:pt x="21252" y="9001"/>
                  </a:lnTo>
                  <a:lnTo>
                    <a:pt x="21252" y="9010"/>
                  </a:lnTo>
                  <a:lnTo>
                    <a:pt x="21261" y="9001"/>
                  </a:lnTo>
                  <a:lnTo>
                    <a:pt x="21270" y="9001"/>
                  </a:lnTo>
                  <a:lnTo>
                    <a:pt x="21279" y="9001"/>
                  </a:lnTo>
                  <a:lnTo>
                    <a:pt x="21279" y="8992"/>
                  </a:lnTo>
                  <a:lnTo>
                    <a:pt x="21287" y="8992"/>
                  </a:lnTo>
                  <a:lnTo>
                    <a:pt x="21296" y="9001"/>
                  </a:lnTo>
                  <a:lnTo>
                    <a:pt x="21305" y="9001"/>
                  </a:lnTo>
                  <a:lnTo>
                    <a:pt x="21314" y="9001"/>
                  </a:lnTo>
                  <a:lnTo>
                    <a:pt x="21331" y="8992"/>
                  </a:lnTo>
                  <a:close/>
                  <a:moveTo>
                    <a:pt x="21111" y="8957"/>
                  </a:moveTo>
                  <a:lnTo>
                    <a:pt x="21111" y="8948"/>
                  </a:lnTo>
                  <a:lnTo>
                    <a:pt x="21102" y="8948"/>
                  </a:lnTo>
                  <a:close/>
                  <a:moveTo>
                    <a:pt x="21102" y="9054"/>
                  </a:moveTo>
                  <a:lnTo>
                    <a:pt x="21111" y="9063"/>
                  </a:lnTo>
                  <a:lnTo>
                    <a:pt x="21129" y="9063"/>
                  </a:lnTo>
                  <a:lnTo>
                    <a:pt x="21137" y="9063"/>
                  </a:lnTo>
                  <a:lnTo>
                    <a:pt x="21146" y="9072"/>
                  </a:lnTo>
                  <a:lnTo>
                    <a:pt x="21164" y="9081"/>
                  </a:lnTo>
                  <a:lnTo>
                    <a:pt x="21173" y="9081"/>
                  </a:lnTo>
                  <a:lnTo>
                    <a:pt x="21182" y="9089"/>
                  </a:lnTo>
                  <a:lnTo>
                    <a:pt x="21190" y="9098"/>
                  </a:lnTo>
                  <a:lnTo>
                    <a:pt x="21199" y="9098"/>
                  </a:lnTo>
                  <a:lnTo>
                    <a:pt x="21208" y="9107"/>
                  </a:lnTo>
                  <a:lnTo>
                    <a:pt x="21217" y="9098"/>
                  </a:lnTo>
                  <a:lnTo>
                    <a:pt x="21226" y="9098"/>
                  </a:lnTo>
                  <a:lnTo>
                    <a:pt x="21234" y="9089"/>
                  </a:lnTo>
                  <a:lnTo>
                    <a:pt x="21243" y="9089"/>
                  </a:lnTo>
                  <a:lnTo>
                    <a:pt x="21234" y="9081"/>
                  </a:lnTo>
                  <a:lnTo>
                    <a:pt x="21226" y="9081"/>
                  </a:lnTo>
                  <a:lnTo>
                    <a:pt x="21226" y="9072"/>
                  </a:lnTo>
                  <a:lnTo>
                    <a:pt x="21217" y="9063"/>
                  </a:lnTo>
                  <a:lnTo>
                    <a:pt x="21208" y="9054"/>
                  </a:lnTo>
                  <a:lnTo>
                    <a:pt x="21208" y="9063"/>
                  </a:lnTo>
                  <a:lnTo>
                    <a:pt x="21199" y="9054"/>
                  </a:lnTo>
                  <a:lnTo>
                    <a:pt x="21190" y="9045"/>
                  </a:lnTo>
                  <a:lnTo>
                    <a:pt x="21182" y="9045"/>
                  </a:lnTo>
                  <a:lnTo>
                    <a:pt x="21182" y="9036"/>
                  </a:lnTo>
                  <a:lnTo>
                    <a:pt x="21173" y="9036"/>
                  </a:lnTo>
                  <a:lnTo>
                    <a:pt x="21164" y="9036"/>
                  </a:lnTo>
                  <a:lnTo>
                    <a:pt x="21146" y="9036"/>
                  </a:lnTo>
                  <a:lnTo>
                    <a:pt x="21137" y="9036"/>
                  </a:lnTo>
                  <a:lnTo>
                    <a:pt x="21129" y="9036"/>
                  </a:lnTo>
                  <a:lnTo>
                    <a:pt x="21120" y="9036"/>
                  </a:lnTo>
                  <a:lnTo>
                    <a:pt x="21111" y="9045"/>
                  </a:lnTo>
                  <a:lnTo>
                    <a:pt x="21102" y="9045"/>
                  </a:lnTo>
                  <a:close/>
                  <a:moveTo>
                    <a:pt x="21208" y="8807"/>
                  </a:moveTo>
                  <a:lnTo>
                    <a:pt x="21208" y="8816"/>
                  </a:lnTo>
                  <a:lnTo>
                    <a:pt x="21217" y="8825"/>
                  </a:lnTo>
                  <a:lnTo>
                    <a:pt x="21217" y="8816"/>
                  </a:lnTo>
                  <a:lnTo>
                    <a:pt x="21217" y="8789"/>
                  </a:lnTo>
                  <a:lnTo>
                    <a:pt x="21217" y="8781"/>
                  </a:lnTo>
                  <a:lnTo>
                    <a:pt x="21217" y="8772"/>
                  </a:lnTo>
                  <a:lnTo>
                    <a:pt x="21208" y="8781"/>
                  </a:lnTo>
                  <a:lnTo>
                    <a:pt x="21208" y="8798"/>
                  </a:lnTo>
                  <a:close/>
                  <a:moveTo>
                    <a:pt x="21146" y="8984"/>
                  </a:moveTo>
                  <a:lnTo>
                    <a:pt x="21146" y="8975"/>
                  </a:lnTo>
                  <a:lnTo>
                    <a:pt x="21137" y="8975"/>
                  </a:lnTo>
                  <a:lnTo>
                    <a:pt x="21137" y="8966"/>
                  </a:lnTo>
                  <a:lnTo>
                    <a:pt x="21137" y="8975"/>
                  </a:lnTo>
                  <a:lnTo>
                    <a:pt x="21129" y="8984"/>
                  </a:lnTo>
                  <a:lnTo>
                    <a:pt x="21137" y="8984"/>
                  </a:lnTo>
                  <a:lnTo>
                    <a:pt x="21129" y="8992"/>
                  </a:lnTo>
                  <a:lnTo>
                    <a:pt x="21137" y="8992"/>
                  </a:lnTo>
                  <a:lnTo>
                    <a:pt x="21137" y="8984"/>
                  </a:lnTo>
                  <a:close/>
                  <a:moveTo>
                    <a:pt x="21314" y="9125"/>
                  </a:moveTo>
                  <a:lnTo>
                    <a:pt x="21305" y="9125"/>
                  </a:lnTo>
                  <a:lnTo>
                    <a:pt x="21314" y="9125"/>
                  </a:lnTo>
                  <a:lnTo>
                    <a:pt x="21323" y="9125"/>
                  </a:lnTo>
                  <a:lnTo>
                    <a:pt x="21323" y="9116"/>
                  </a:lnTo>
                  <a:lnTo>
                    <a:pt x="21314" y="9116"/>
                  </a:lnTo>
                  <a:close/>
                  <a:moveTo>
                    <a:pt x="21093" y="8992"/>
                  </a:moveTo>
                  <a:lnTo>
                    <a:pt x="21102" y="8992"/>
                  </a:lnTo>
                  <a:lnTo>
                    <a:pt x="21111" y="8992"/>
                  </a:lnTo>
                  <a:lnTo>
                    <a:pt x="21111" y="8984"/>
                  </a:lnTo>
                  <a:lnTo>
                    <a:pt x="21111" y="8975"/>
                  </a:lnTo>
                  <a:lnTo>
                    <a:pt x="21102" y="8966"/>
                  </a:lnTo>
                  <a:lnTo>
                    <a:pt x="21102" y="8957"/>
                  </a:lnTo>
                  <a:lnTo>
                    <a:pt x="21093" y="8957"/>
                  </a:lnTo>
                  <a:lnTo>
                    <a:pt x="21084" y="8957"/>
                  </a:lnTo>
                  <a:lnTo>
                    <a:pt x="21084" y="8966"/>
                  </a:lnTo>
                  <a:lnTo>
                    <a:pt x="21084" y="8957"/>
                  </a:lnTo>
                  <a:lnTo>
                    <a:pt x="21076" y="8957"/>
                  </a:lnTo>
                  <a:lnTo>
                    <a:pt x="21067" y="8957"/>
                  </a:lnTo>
                  <a:lnTo>
                    <a:pt x="21058" y="8966"/>
                  </a:lnTo>
                  <a:lnTo>
                    <a:pt x="21049" y="8966"/>
                  </a:lnTo>
                  <a:lnTo>
                    <a:pt x="21049" y="8957"/>
                  </a:lnTo>
                  <a:lnTo>
                    <a:pt x="21040" y="8948"/>
                  </a:lnTo>
                  <a:lnTo>
                    <a:pt x="21023" y="8939"/>
                  </a:lnTo>
                  <a:lnTo>
                    <a:pt x="21023" y="8948"/>
                  </a:lnTo>
                  <a:lnTo>
                    <a:pt x="21014" y="8948"/>
                  </a:lnTo>
                  <a:lnTo>
                    <a:pt x="21014" y="8957"/>
                  </a:lnTo>
                  <a:lnTo>
                    <a:pt x="21014" y="8966"/>
                  </a:lnTo>
                  <a:lnTo>
                    <a:pt x="21032" y="8975"/>
                  </a:lnTo>
                  <a:lnTo>
                    <a:pt x="21040" y="8975"/>
                  </a:lnTo>
                  <a:lnTo>
                    <a:pt x="21049" y="8984"/>
                  </a:lnTo>
                  <a:lnTo>
                    <a:pt x="21040" y="8984"/>
                  </a:lnTo>
                  <a:lnTo>
                    <a:pt x="21032" y="8992"/>
                  </a:lnTo>
                  <a:lnTo>
                    <a:pt x="21023" y="8992"/>
                  </a:lnTo>
                  <a:lnTo>
                    <a:pt x="21014" y="8992"/>
                  </a:lnTo>
                  <a:lnTo>
                    <a:pt x="21014" y="8984"/>
                  </a:lnTo>
                  <a:lnTo>
                    <a:pt x="21005" y="8975"/>
                  </a:lnTo>
                  <a:lnTo>
                    <a:pt x="20996" y="8966"/>
                  </a:lnTo>
                  <a:lnTo>
                    <a:pt x="20987" y="8966"/>
                  </a:lnTo>
                  <a:lnTo>
                    <a:pt x="20970" y="8966"/>
                  </a:lnTo>
                  <a:lnTo>
                    <a:pt x="20961" y="8966"/>
                  </a:lnTo>
                  <a:lnTo>
                    <a:pt x="20952" y="8975"/>
                  </a:lnTo>
                  <a:lnTo>
                    <a:pt x="20943" y="8975"/>
                  </a:lnTo>
                  <a:lnTo>
                    <a:pt x="20943" y="8984"/>
                  </a:lnTo>
                  <a:lnTo>
                    <a:pt x="20943" y="8992"/>
                  </a:lnTo>
                  <a:lnTo>
                    <a:pt x="20943" y="9001"/>
                  </a:lnTo>
                  <a:lnTo>
                    <a:pt x="20943" y="9010"/>
                  </a:lnTo>
                  <a:lnTo>
                    <a:pt x="20952" y="9010"/>
                  </a:lnTo>
                  <a:lnTo>
                    <a:pt x="20952" y="9019"/>
                  </a:lnTo>
                  <a:lnTo>
                    <a:pt x="20961" y="9019"/>
                  </a:lnTo>
                  <a:lnTo>
                    <a:pt x="20970" y="9019"/>
                  </a:lnTo>
                  <a:lnTo>
                    <a:pt x="20970" y="9010"/>
                  </a:lnTo>
                  <a:lnTo>
                    <a:pt x="20979" y="9010"/>
                  </a:lnTo>
                  <a:lnTo>
                    <a:pt x="20987" y="9010"/>
                  </a:lnTo>
                  <a:lnTo>
                    <a:pt x="20996" y="9010"/>
                  </a:lnTo>
                  <a:lnTo>
                    <a:pt x="21014" y="9001"/>
                  </a:lnTo>
                  <a:lnTo>
                    <a:pt x="21023" y="9001"/>
                  </a:lnTo>
                  <a:lnTo>
                    <a:pt x="21040" y="9001"/>
                  </a:lnTo>
                  <a:lnTo>
                    <a:pt x="21049" y="9001"/>
                  </a:lnTo>
                  <a:lnTo>
                    <a:pt x="21049" y="8992"/>
                  </a:lnTo>
                  <a:lnTo>
                    <a:pt x="21058" y="8984"/>
                  </a:lnTo>
                  <a:lnTo>
                    <a:pt x="21058" y="8992"/>
                  </a:lnTo>
                  <a:lnTo>
                    <a:pt x="21058" y="9001"/>
                  </a:lnTo>
                  <a:lnTo>
                    <a:pt x="21067" y="9001"/>
                  </a:lnTo>
                  <a:lnTo>
                    <a:pt x="21084" y="8992"/>
                  </a:lnTo>
                  <a:lnTo>
                    <a:pt x="21093" y="9001"/>
                  </a:lnTo>
                  <a:lnTo>
                    <a:pt x="21093" y="8992"/>
                  </a:lnTo>
                  <a:lnTo>
                    <a:pt x="21084" y="8992"/>
                  </a:lnTo>
                  <a:close/>
                  <a:moveTo>
                    <a:pt x="20996" y="8966"/>
                  </a:moveTo>
                  <a:lnTo>
                    <a:pt x="21005" y="8948"/>
                  </a:lnTo>
                  <a:lnTo>
                    <a:pt x="20996" y="8948"/>
                  </a:lnTo>
                  <a:lnTo>
                    <a:pt x="20996" y="8957"/>
                  </a:lnTo>
                  <a:close/>
                  <a:moveTo>
                    <a:pt x="21579" y="9028"/>
                  </a:moveTo>
                  <a:lnTo>
                    <a:pt x="21596" y="9019"/>
                  </a:lnTo>
                  <a:lnTo>
                    <a:pt x="21605" y="9019"/>
                  </a:lnTo>
                  <a:lnTo>
                    <a:pt x="21614" y="9019"/>
                  </a:lnTo>
                  <a:lnTo>
                    <a:pt x="21623" y="9010"/>
                  </a:lnTo>
                  <a:lnTo>
                    <a:pt x="21631" y="9010"/>
                  </a:lnTo>
                  <a:lnTo>
                    <a:pt x="21640" y="9010"/>
                  </a:lnTo>
                  <a:lnTo>
                    <a:pt x="21649" y="9010"/>
                  </a:lnTo>
                  <a:lnTo>
                    <a:pt x="21658" y="9001"/>
                  </a:lnTo>
                  <a:lnTo>
                    <a:pt x="21667" y="8992"/>
                  </a:lnTo>
                  <a:lnTo>
                    <a:pt x="21676" y="8992"/>
                  </a:lnTo>
                  <a:lnTo>
                    <a:pt x="21684" y="8992"/>
                  </a:lnTo>
                  <a:lnTo>
                    <a:pt x="21702" y="8984"/>
                  </a:lnTo>
                  <a:lnTo>
                    <a:pt x="21711" y="8966"/>
                  </a:lnTo>
                  <a:lnTo>
                    <a:pt x="21693" y="8966"/>
                  </a:lnTo>
                  <a:lnTo>
                    <a:pt x="21693" y="8957"/>
                  </a:lnTo>
                  <a:lnTo>
                    <a:pt x="21684" y="8966"/>
                  </a:lnTo>
                  <a:lnTo>
                    <a:pt x="21676" y="8966"/>
                  </a:lnTo>
                  <a:lnTo>
                    <a:pt x="21667" y="8975"/>
                  </a:lnTo>
                  <a:lnTo>
                    <a:pt x="21658" y="8975"/>
                  </a:lnTo>
                  <a:lnTo>
                    <a:pt x="21631" y="8975"/>
                  </a:lnTo>
                  <a:lnTo>
                    <a:pt x="21614" y="8975"/>
                  </a:lnTo>
                  <a:lnTo>
                    <a:pt x="21605" y="8975"/>
                  </a:lnTo>
                  <a:lnTo>
                    <a:pt x="21570" y="8984"/>
                  </a:lnTo>
                  <a:lnTo>
                    <a:pt x="21561" y="8984"/>
                  </a:lnTo>
                  <a:lnTo>
                    <a:pt x="21552" y="8992"/>
                  </a:lnTo>
                  <a:lnTo>
                    <a:pt x="21543" y="9001"/>
                  </a:lnTo>
                  <a:lnTo>
                    <a:pt x="21534" y="9010"/>
                  </a:lnTo>
                  <a:lnTo>
                    <a:pt x="21526" y="9019"/>
                  </a:lnTo>
                  <a:lnTo>
                    <a:pt x="21517" y="9019"/>
                  </a:lnTo>
                  <a:lnTo>
                    <a:pt x="21490" y="9028"/>
                  </a:lnTo>
                  <a:lnTo>
                    <a:pt x="21473" y="9036"/>
                  </a:lnTo>
                  <a:lnTo>
                    <a:pt x="21464" y="9045"/>
                  </a:lnTo>
                  <a:lnTo>
                    <a:pt x="21455" y="9054"/>
                  </a:lnTo>
                  <a:lnTo>
                    <a:pt x="21446" y="9063"/>
                  </a:lnTo>
                  <a:lnTo>
                    <a:pt x="21446" y="9072"/>
                  </a:lnTo>
                  <a:lnTo>
                    <a:pt x="21446" y="9081"/>
                  </a:lnTo>
                  <a:lnTo>
                    <a:pt x="21446" y="9089"/>
                  </a:lnTo>
                  <a:lnTo>
                    <a:pt x="21455" y="9089"/>
                  </a:lnTo>
                  <a:lnTo>
                    <a:pt x="21446" y="9089"/>
                  </a:lnTo>
                  <a:lnTo>
                    <a:pt x="21446" y="9098"/>
                  </a:lnTo>
                  <a:lnTo>
                    <a:pt x="21446" y="9107"/>
                  </a:lnTo>
                  <a:lnTo>
                    <a:pt x="21455" y="9107"/>
                  </a:lnTo>
                  <a:lnTo>
                    <a:pt x="21464" y="9107"/>
                  </a:lnTo>
                  <a:lnTo>
                    <a:pt x="21473" y="9107"/>
                  </a:lnTo>
                  <a:lnTo>
                    <a:pt x="21481" y="9098"/>
                  </a:lnTo>
                  <a:lnTo>
                    <a:pt x="21499" y="9098"/>
                  </a:lnTo>
                  <a:lnTo>
                    <a:pt x="21508" y="9089"/>
                  </a:lnTo>
                  <a:lnTo>
                    <a:pt x="21517" y="9081"/>
                  </a:lnTo>
                  <a:lnTo>
                    <a:pt x="21526" y="9081"/>
                  </a:lnTo>
                  <a:lnTo>
                    <a:pt x="21534" y="9063"/>
                  </a:lnTo>
                  <a:lnTo>
                    <a:pt x="21543" y="9063"/>
                  </a:lnTo>
                  <a:lnTo>
                    <a:pt x="21543" y="9054"/>
                  </a:lnTo>
                  <a:lnTo>
                    <a:pt x="21561" y="9036"/>
                  </a:lnTo>
                  <a:close/>
                  <a:moveTo>
                    <a:pt x="22258" y="8825"/>
                  </a:moveTo>
                  <a:lnTo>
                    <a:pt x="22258" y="8833"/>
                  </a:lnTo>
                  <a:close/>
                  <a:moveTo>
                    <a:pt x="22170" y="8657"/>
                  </a:moveTo>
                  <a:lnTo>
                    <a:pt x="22161" y="8648"/>
                  </a:lnTo>
                  <a:lnTo>
                    <a:pt x="22161" y="8657"/>
                  </a:lnTo>
                  <a:lnTo>
                    <a:pt x="22170" y="8666"/>
                  </a:lnTo>
                  <a:lnTo>
                    <a:pt x="22178" y="8666"/>
                  </a:lnTo>
                  <a:close/>
                  <a:moveTo>
                    <a:pt x="22223" y="8825"/>
                  </a:moveTo>
                  <a:lnTo>
                    <a:pt x="22214" y="8825"/>
                  </a:lnTo>
                  <a:lnTo>
                    <a:pt x="22214" y="8842"/>
                  </a:lnTo>
                  <a:lnTo>
                    <a:pt x="22214" y="8851"/>
                  </a:lnTo>
                  <a:lnTo>
                    <a:pt x="22223" y="8860"/>
                  </a:lnTo>
                  <a:lnTo>
                    <a:pt x="22231" y="8851"/>
                  </a:lnTo>
                  <a:lnTo>
                    <a:pt x="22240" y="8842"/>
                  </a:lnTo>
                  <a:lnTo>
                    <a:pt x="22240" y="8833"/>
                  </a:lnTo>
                  <a:lnTo>
                    <a:pt x="22249" y="8825"/>
                  </a:lnTo>
                  <a:lnTo>
                    <a:pt x="22240" y="8816"/>
                  </a:lnTo>
                  <a:lnTo>
                    <a:pt x="22231" y="8816"/>
                  </a:lnTo>
                  <a:lnTo>
                    <a:pt x="22223" y="8807"/>
                  </a:lnTo>
                  <a:lnTo>
                    <a:pt x="22214" y="8807"/>
                  </a:lnTo>
                  <a:lnTo>
                    <a:pt x="22214" y="8825"/>
                  </a:lnTo>
                  <a:close/>
                  <a:moveTo>
                    <a:pt x="22258" y="8842"/>
                  </a:moveTo>
                  <a:lnTo>
                    <a:pt x="22258" y="8833"/>
                  </a:lnTo>
                  <a:lnTo>
                    <a:pt x="22258" y="8842"/>
                  </a:lnTo>
                  <a:lnTo>
                    <a:pt x="22249" y="8842"/>
                  </a:lnTo>
                  <a:close/>
                  <a:moveTo>
                    <a:pt x="22267" y="8798"/>
                  </a:moveTo>
                  <a:lnTo>
                    <a:pt x="22267" y="8789"/>
                  </a:lnTo>
                  <a:lnTo>
                    <a:pt x="22258" y="8789"/>
                  </a:lnTo>
                  <a:lnTo>
                    <a:pt x="22267" y="8781"/>
                  </a:lnTo>
                  <a:lnTo>
                    <a:pt x="22258" y="8781"/>
                  </a:lnTo>
                  <a:lnTo>
                    <a:pt x="22258" y="8772"/>
                  </a:lnTo>
                  <a:lnTo>
                    <a:pt x="22258" y="8763"/>
                  </a:lnTo>
                  <a:lnTo>
                    <a:pt x="22258" y="8754"/>
                  </a:lnTo>
                  <a:lnTo>
                    <a:pt x="22249" y="8745"/>
                  </a:lnTo>
                  <a:lnTo>
                    <a:pt x="22240" y="8745"/>
                  </a:lnTo>
                  <a:lnTo>
                    <a:pt x="22240" y="8754"/>
                  </a:lnTo>
                  <a:lnTo>
                    <a:pt x="22231" y="8772"/>
                  </a:lnTo>
                  <a:lnTo>
                    <a:pt x="22223" y="8763"/>
                  </a:lnTo>
                  <a:lnTo>
                    <a:pt x="22223" y="8772"/>
                  </a:lnTo>
                  <a:lnTo>
                    <a:pt x="22231" y="8781"/>
                  </a:lnTo>
                  <a:lnTo>
                    <a:pt x="22231" y="8789"/>
                  </a:lnTo>
                  <a:lnTo>
                    <a:pt x="22223" y="8789"/>
                  </a:lnTo>
                  <a:lnTo>
                    <a:pt x="22223" y="8798"/>
                  </a:lnTo>
                  <a:lnTo>
                    <a:pt x="22231" y="8807"/>
                  </a:lnTo>
                  <a:lnTo>
                    <a:pt x="22240" y="8816"/>
                  </a:lnTo>
                  <a:lnTo>
                    <a:pt x="22258" y="8816"/>
                  </a:lnTo>
                  <a:lnTo>
                    <a:pt x="22258" y="8807"/>
                  </a:lnTo>
                  <a:close/>
                  <a:moveTo>
                    <a:pt x="22408" y="9169"/>
                  </a:moveTo>
                  <a:lnTo>
                    <a:pt x="22399" y="9178"/>
                  </a:lnTo>
                  <a:lnTo>
                    <a:pt x="22399" y="9187"/>
                  </a:lnTo>
                  <a:lnTo>
                    <a:pt x="22390" y="9187"/>
                  </a:lnTo>
                  <a:lnTo>
                    <a:pt x="22399" y="9187"/>
                  </a:lnTo>
                  <a:lnTo>
                    <a:pt x="22408" y="9169"/>
                  </a:lnTo>
                  <a:lnTo>
                    <a:pt x="22408" y="9160"/>
                  </a:lnTo>
                  <a:close/>
                  <a:moveTo>
                    <a:pt x="22267" y="8816"/>
                  </a:moveTo>
                  <a:lnTo>
                    <a:pt x="22267" y="8825"/>
                  </a:lnTo>
                  <a:lnTo>
                    <a:pt x="22275" y="8816"/>
                  </a:lnTo>
                  <a:close/>
                  <a:moveTo>
                    <a:pt x="22364" y="9204"/>
                  </a:moveTo>
                  <a:lnTo>
                    <a:pt x="22381" y="9204"/>
                  </a:lnTo>
                  <a:lnTo>
                    <a:pt x="22390" y="9195"/>
                  </a:lnTo>
                  <a:lnTo>
                    <a:pt x="22373" y="9204"/>
                  </a:lnTo>
                  <a:close/>
                  <a:moveTo>
                    <a:pt x="22099" y="9178"/>
                  </a:moveTo>
                  <a:lnTo>
                    <a:pt x="22108" y="9178"/>
                  </a:lnTo>
                  <a:lnTo>
                    <a:pt x="22108" y="9169"/>
                  </a:lnTo>
                  <a:lnTo>
                    <a:pt x="22108" y="9160"/>
                  </a:lnTo>
                  <a:lnTo>
                    <a:pt x="22099" y="9160"/>
                  </a:lnTo>
                  <a:lnTo>
                    <a:pt x="22099" y="9169"/>
                  </a:lnTo>
                  <a:close/>
                  <a:moveTo>
                    <a:pt x="22037" y="8878"/>
                  </a:moveTo>
                  <a:lnTo>
                    <a:pt x="22037" y="8869"/>
                  </a:lnTo>
                  <a:lnTo>
                    <a:pt x="22028" y="8878"/>
                  </a:lnTo>
                  <a:lnTo>
                    <a:pt x="22020" y="8878"/>
                  </a:lnTo>
                  <a:lnTo>
                    <a:pt x="22020" y="8886"/>
                  </a:lnTo>
                  <a:lnTo>
                    <a:pt x="22011" y="8895"/>
                  </a:lnTo>
                  <a:lnTo>
                    <a:pt x="22002" y="8895"/>
                  </a:lnTo>
                  <a:lnTo>
                    <a:pt x="22002" y="8913"/>
                  </a:lnTo>
                  <a:lnTo>
                    <a:pt x="21993" y="8913"/>
                  </a:lnTo>
                  <a:lnTo>
                    <a:pt x="21993" y="8922"/>
                  </a:lnTo>
                  <a:lnTo>
                    <a:pt x="21993" y="8931"/>
                  </a:lnTo>
                  <a:lnTo>
                    <a:pt x="21993" y="8939"/>
                  </a:lnTo>
                  <a:lnTo>
                    <a:pt x="22002" y="8939"/>
                  </a:lnTo>
                  <a:lnTo>
                    <a:pt x="22011" y="8939"/>
                  </a:lnTo>
                  <a:lnTo>
                    <a:pt x="22011" y="8931"/>
                  </a:lnTo>
                  <a:lnTo>
                    <a:pt x="22020" y="8922"/>
                  </a:lnTo>
                  <a:lnTo>
                    <a:pt x="22020" y="8913"/>
                  </a:lnTo>
                  <a:lnTo>
                    <a:pt x="22028" y="8913"/>
                  </a:lnTo>
                  <a:lnTo>
                    <a:pt x="22037" y="8895"/>
                  </a:lnTo>
                  <a:lnTo>
                    <a:pt x="22037" y="8886"/>
                  </a:lnTo>
                  <a:close/>
                  <a:moveTo>
                    <a:pt x="21914" y="8595"/>
                  </a:moveTo>
                  <a:lnTo>
                    <a:pt x="21914" y="8604"/>
                  </a:lnTo>
                  <a:lnTo>
                    <a:pt x="21931" y="8613"/>
                  </a:lnTo>
                  <a:lnTo>
                    <a:pt x="21940" y="8613"/>
                  </a:lnTo>
                  <a:lnTo>
                    <a:pt x="21958" y="8622"/>
                  </a:lnTo>
                  <a:lnTo>
                    <a:pt x="21976" y="8630"/>
                  </a:lnTo>
                  <a:lnTo>
                    <a:pt x="21976" y="8613"/>
                  </a:lnTo>
                  <a:lnTo>
                    <a:pt x="21967" y="8604"/>
                  </a:lnTo>
                  <a:lnTo>
                    <a:pt x="21967" y="8595"/>
                  </a:lnTo>
                  <a:lnTo>
                    <a:pt x="21958" y="8595"/>
                  </a:lnTo>
                  <a:lnTo>
                    <a:pt x="21958" y="8586"/>
                  </a:lnTo>
                  <a:lnTo>
                    <a:pt x="21958" y="8578"/>
                  </a:lnTo>
                  <a:lnTo>
                    <a:pt x="21940" y="8569"/>
                  </a:lnTo>
                  <a:lnTo>
                    <a:pt x="21931" y="8569"/>
                  </a:lnTo>
                  <a:lnTo>
                    <a:pt x="21923" y="8569"/>
                  </a:lnTo>
                  <a:lnTo>
                    <a:pt x="21914" y="8569"/>
                  </a:lnTo>
                  <a:lnTo>
                    <a:pt x="21896" y="8560"/>
                  </a:lnTo>
                  <a:lnTo>
                    <a:pt x="21887" y="8560"/>
                  </a:lnTo>
                  <a:lnTo>
                    <a:pt x="21878" y="8551"/>
                  </a:lnTo>
                  <a:lnTo>
                    <a:pt x="21870" y="8551"/>
                  </a:lnTo>
                  <a:lnTo>
                    <a:pt x="21870" y="8560"/>
                  </a:lnTo>
                  <a:lnTo>
                    <a:pt x="21861" y="8560"/>
                  </a:lnTo>
                  <a:lnTo>
                    <a:pt x="21852" y="8569"/>
                  </a:lnTo>
                  <a:lnTo>
                    <a:pt x="21843" y="8560"/>
                  </a:lnTo>
                  <a:lnTo>
                    <a:pt x="21834" y="8560"/>
                  </a:lnTo>
                  <a:lnTo>
                    <a:pt x="21826" y="8560"/>
                  </a:lnTo>
                  <a:lnTo>
                    <a:pt x="21808" y="8560"/>
                  </a:lnTo>
                  <a:lnTo>
                    <a:pt x="21781" y="8560"/>
                  </a:lnTo>
                  <a:lnTo>
                    <a:pt x="21773" y="8569"/>
                  </a:lnTo>
                  <a:lnTo>
                    <a:pt x="21755" y="8586"/>
                  </a:lnTo>
                  <a:lnTo>
                    <a:pt x="21755" y="8595"/>
                  </a:lnTo>
                  <a:lnTo>
                    <a:pt x="21764" y="8595"/>
                  </a:lnTo>
                  <a:lnTo>
                    <a:pt x="21755" y="8604"/>
                  </a:lnTo>
                  <a:lnTo>
                    <a:pt x="21764" y="8604"/>
                  </a:lnTo>
                  <a:lnTo>
                    <a:pt x="21773" y="8595"/>
                  </a:lnTo>
                  <a:lnTo>
                    <a:pt x="21773" y="8586"/>
                  </a:lnTo>
                  <a:lnTo>
                    <a:pt x="21773" y="8578"/>
                  </a:lnTo>
                  <a:lnTo>
                    <a:pt x="21781" y="8586"/>
                  </a:lnTo>
                  <a:lnTo>
                    <a:pt x="21790" y="8586"/>
                  </a:lnTo>
                  <a:lnTo>
                    <a:pt x="21799" y="8604"/>
                  </a:lnTo>
                  <a:lnTo>
                    <a:pt x="21808" y="8604"/>
                  </a:lnTo>
                  <a:lnTo>
                    <a:pt x="21817" y="8604"/>
                  </a:lnTo>
                  <a:lnTo>
                    <a:pt x="21817" y="8595"/>
                  </a:lnTo>
                  <a:lnTo>
                    <a:pt x="21826" y="8595"/>
                  </a:lnTo>
                  <a:lnTo>
                    <a:pt x="21826" y="8586"/>
                  </a:lnTo>
                  <a:lnTo>
                    <a:pt x="21834" y="8586"/>
                  </a:lnTo>
                  <a:lnTo>
                    <a:pt x="21834" y="8595"/>
                  </a:lnTo>
                  <a:lnTo>
                    <a:pt x="21843" y="8595"/>
                  </a:lnTo>
                  <a:lnTo>
                    <a:pt x="21852" y="8595"/>
                  </a:lnTo>
                  <a:lnTo>
                    <a:pt x="21861" y="8604"/>
                  </a:lnTo>
                  <a:lnTo>
                    <a:pt x="21870" y="8604"/>
                  </a:lnTo>
                  <a:lnTo>
                    <a:pt x="21878" y="8604"/>
                  </a:lnTo>
                  <a:lnTo>
                    <a:pt x="21878" y="8595"/>
                  </a:lnTo>
                  <a:lnTo>
                    <a:pt x="21887" y="8595"/>
                  </a:lnTo>
                  <a:lnTo>
                    <a:pt x="21905" y="8595"/>
                  </a:lnTo>
                  <a:close/>
                  <a:moveTo>
                    <a:pt x="21887" y="8922"/>
                  </a:moveTo>
                  <a:lnTo>
                    <a:pt x="21887" y="8931"/>
                  </a:lnTo>
                  <a:lnTo>
                    <a:pt x="21896" y="8939"/>
                  </a:lnTo>
                  <a:lnTo>
                    <a:pt x="21905" y="8931"/>
                  </a:lnTo>
                  <a:lnTo>
                    <a:pt x="21896" y="8922"/>
                  </a:lnTo>
                  <a:close/>
                  <a:moveTo>
                    <a:pt x="20864" y="8966"/>
                  </a:moveTo>
                  <a:lnTo>
                    <a:pt x="20855" y="8948"/>
                  </a:lnTo>
                  <a:lnTo>
                    <a:pt x="20846" y="8948"/>
                  </a:lnTo>
                  <a:lnTo>
                    <a:pt x="20837" y="8948"/>
                  </a:lnTo>
                  <a:lnTo>
                    <a:pt x="20829" y="8939"/>
                  </a:lnTo>
                  <a:lnTo>
                    <a:pt x="20820" y="8939"/>
                  </a:lnTo>
                  <a:lnTo>
                    <a:pt x="20811" y="8948"/>
                  </a:lnTo>
                  <a:lnTo>
                    <a:pt x="20802" y="8948"/>
                  </a:lnTo>
                  <a:lnTo>
                    <a:pt x="20785" y="8948"/>
                  </a:lnTo>
                  <a:lnTo>
                    <a:pt x="20776" y="8948"/>
                  </a:lnTo>
                  <a:lnTo>
                    <a:pt x="20767" y="8948"/>
                  </a:lnTo>
                  <a:lnTo>
                    <a:pt x="20776" y="8948"/>
                  </a:lnTo>
                  <a:lnTo>
                    <a:pt x="20776" y="8957"/>
                  </a:lnTo>
                  <a:lnTo>
                    <a:pt x="20776" y="8966"/>
                  </a:lnTo>
                  <a:lnTo>
                    <a:pt x="20785" y="8966"/>
                  </a:lnTo>
                  <a:lnTo>
                    <a:pt x="20793" y="8966"/>
                  </a:lnTo>
                  <a:lnTo>
                    <a:pt x="20802" y="8966"/>
                  </a:lnTo>
                  <a:lnTo>
                    <a:pt x="20811" y="8975"/>
                  </a:lnTo>
                  <a:lnTo>
                    <a:pt x="20820" y="8984"/>
                  </a:lnTo>
                  <a:lnTo>
                    <a:pt x="20820" y="8992"/>
                  </a:lnTo>
                  <a:lnTo>
                    <a:pt x="20820" y="9001"/>
                  </a:lnTo>
                  <a:lnTo>
                    <a:pt x="20829" y="9001"/>
                  </a:lnTo>
                  <a:lnTo>
                    <a:pt x="20829" y="8992"/>
                  </a:lnTo>
                  <a:lnTo>
                    <a:pt x="20829" y="8984"/>
                  </a:lnTo>
                  <a:lnTo>
                    <a:pt x="20837" y="8984"/>
                  </a:lnTo>
                  <a:lnTo>
                    <a:pt x="20855" y="8975"/>
                  </a:lnTo>
                  <a:lnTo>
                    <a:pt x="20855" y="8966"/>
                  </a:lnTo>
                  <a:close/>
                  <a:moveTo>
                    <a:pt x="22108" y="8781"/>
                  </a:moveTo>
                  <a:lnTo>
                    <a:pt x="22117" y="8789"/>
                  </a:lnTo>
                  <a:lnTo>
                    <a:pt x="22117" y="8781"/>
                  </a:lnTo>
                  <a:lnTo>
                    <a:pt x="22117" y="8772"/>
                  </a:lnTo>
                  <a:lnTo>
                    <a:pt x="22117" y="8763"/>
                  </a:lnTo>
                  <a:lnTo>
                    <a:pt x="22108" y="8763"/>
                  </a:lnTo>
                  <a:lnTo>
                    <a:pt x="22108" y="8772"/>
                  </a:lnTo>
                  <a:close/>
                  <a:moveTo>
                    <a:pt x="21817" y="8869"/>
                  </a:moveTo>
                  <a:lnTo>
                    <a:pt x="21808" y="8869"/>
                  </a:lnTo>
                  <a:lnTo>
                    <a:pt x="21808" y="8878"/>
                  </a:lnTo>
                  <a:lnTo>
                    <a:pt x="21817" y="8878"/>
                  </a:lnTo>
                  <a:close/>
                  <a:moveTo>
                    <a:pt x="22046" y="8869"/>
                  </a:moveTo>
                  <a:lnTo>
                    <a:pt x="22046" y="8878"/>
                  </a:lnTo>
                  <a:lnTo>
                    <a:pt x="22055" y="8878"/>
                  </a:lnTo>
                  <a:lnTo>
                    <a:pt x="22055" y="8869"/>
                  </a:lnTo>
                  <a:close/>
                  <a:moveTo>
                    <a:pt x="21358" y="6107"/>
                  </a:moveTo>
                  <a:lnTo>
                    <a:pt x="21358" y="6099"/>
                  </a:lnTo>
                  <a:lnTo>
                    <a:pt x="21349" y="6099"/>
                  </a:lnTo>
                  <a:lnTo>
                    <a:pt x="21349" y="6107"/>
                  </a:lnTo>
                  <a:close/>
                  <a:moveTo>
                    <a:pt x="20546" y="8145"/>
                  </a:moveTo>
                  <a:lnTo>
                    <a:pt x="20537" y="8145"/>
                  </a:lnTo>
                  <a:lnTo>
                    <a:pt x="20537" y="8154"/>
                  </a:lnTo>
                  <a:lnTo>
                    <a:pt x="20537" y="8172"/>
                  </a:lnTo>
                  <a:lnTo>
                    <a:pt x="20546" y="8172"/>
                  </a:lnTo>
                  <a:lnTo>
                    <a:pt x="20546" y="8163"/>
                  </a:lnTo>
                  <a:lnTo>
                    <a:pt x="20546" y="8154"/>
                  </a:lnTo>
                  <a:close/>
                  <a:moveTo>
                    <a:pt x="20476" y="6786"/>
                  </a:moveTo>
                  <a:lnTo>
                    <a:pt x="20467" y="6786"/>
                  </a:lnTo>
                  <a:lnTo>
                    <a:pt x="20458" y="6795"/>
                  </a:lnTo>
                  <a:lnTo>
                    <a:pt x="20467" y="6795"/>
                  </a:lnTo>
                  <a:lnTo>
                    <a:pt x="20476" y="6795"/>
                  </a:lnTo>
                  <a:lnTo>
                    <a:pt x="20485" y="6795"/>
                  </a:lnTo>
                  <a:lnTo>
                    <a:pt x="20485" y="6786"/>
                  </a:lnTo>
                  <a:close/>
                  <a:moveTo>
                    <a:pt x="20635" y="6742"/>
                  </a:moveTo>
                  <a:lnTo>
                    <a:pt x="20626" y="6751"/>
                  </a:lnTo>
                  <a:close/>
                  <a:moveTo>
                    <a:pt x="20740" y="6698"/>
                  </a:moveTo>
                  <a:lnTo>
                    <a:pt x="20740" y="6689"/>
                  </a:lnTo>
                  <a:lnTo>
                    <a:pt x="20732" y="6698"/>
                  </a:lnTo>
                  <a:lnTo>
                    <a:pt x="20723" y="6698"/>
                  </a:lnTo>
                  <a:lnTo>
                    <a:pt x="20732" y="6698"/>
                  </a:lnTo>
                  <a:close/>
                  <a:moveTo>
                    <a:pt x="20643" y="6751"/>
                  </a:moveTo>
                  <a:lnTo>
                    <a:pt x="20652" y="6751"/>
                  </a:lnTo>
                  <a:lnTo>
                    <a:pt x="20652" y="6742"/>
                  </a:lnTo>
                  <a:lnTo>
                    <a:pt x="20652" y="6733"/>
                  </a:lnTo>
                  <a:lnTo>
                    <a:pt x="20643" y="6733"/>
                  </a:lnTo>
                  <a:lnTo>
                    <a:pt x="20643" y="6742"/>
                  </a:lnTo>
                  <a:close/>
                  <a:moveTo>
                    <a:pt x="20308" y="8074"/>
                  </a:moveTo>
                  <a:lnTo>
                    <a:pt x="20299" y="8083"/>
                  </a:lnTo>
                  <a:lnTo>
                    <a:pt x="20308" y="8083"/>
                  </a:lnTo>
                  <a:lnTo>
                    <a:pt x="20317" y="8083"/>
                  </a:lnTo>
                  <a:lnTo>
                    <a:pt x="20326" y="8074"/>
                  </a:lnTo>
                  <a:lnTo>
                    <a:pt x="20326" y="8066"/>
                  </a:lnTo>
                  <a:lnTo>
                    <a:pt x="20326" y="8057"/>
                  </a:lnTo>
                  <a:lnTo>
                    <a:pt x="20317" y="8048"/>
                  </a:lnTo>
                  <a:lnTo>
                    <a:pt x="20317" y="8039"/>
                  </a:lnTo>
                  <a:lnTo>
                    <a:pt x="20308" y="8048"/>
                  </a:lnTo>
                  <a:lnTo>
                    <a:pt x="20299" y="8057"/>
                  </a:lnTo>
                  <a:lnTo>
                    <a:pt x="20299" y="8066"/>
                  </a:lnTo>
                  <a:lnTo>
                    <a:pt x="20317" y="8074"/>
                  </a:lnTo>
                  <a:close/>
                  <a:moveTo>
                    <a:pt x="20370" y="8260"/>
                  </a:moveTo>
                  <a:lnTo>
                    <a:pt x="20370" y="8269"/>
                  </a:lnTo>
                  <a:lnTo>
                    <a:pt x="20361" y="8286"/>
                  </a:lnTo>
                  <a:lnTo>
                    <a:pt x="20361" y="8295"/>
                  </a:lnTo>
                  <a:lnTo>
                    <a:pt x="20361" y="8313"/>
                  </a:lnTo>
                  <a:lnTo>
                    <a:pt x="20361" y="8322"/>
                  </a:lnTo>
                  <a:lnTo>
                    <a:pt x="20379" y="8330"/>
                  </a:lnTo>
                  <a:lnTo>
                    <a:pt x="20379" y="8339"/>
                  </a:lnTo>
                  <a:lnTo>
                    <a:pt x="20387" y="8348"/>
                  </a:lnTo>
                  <a:lnTo>
                    <a:pt x="20379" y="8366"/>
                  </a:lnTo>
                  <a:lnTo>
                    <a:pt x="20379" y="8375"/>
                  </a:lnTo>
                  <a:lnTo>
                    <a:pt x="20379" y="8383"/>
                  </a:lnTo>
                  <a:lnTo>
                    <a:pt x="20387" y="8392"/>
                  </a:lnTo>
                  <a:lnTo>
                    <a:pt x="20396" y="8401"/>
                  </a:lnTo>
                  <a:lnTo>
                    <a:pt x="20387" y="8401"/>
                  </a:lnTo>
                  <a:lnTo>
                    <a:pt x="20387" y="8410"/>
                  </a:lnTo>
                  <a:lnTo>
                    <a:pt x="20396" y="8419"/>
                  </a:lnTo>
                  <a:lnTo>
                    <a:pt x="20405" y="8419"/>
                  </a:lnTo>
                  <a:lnTo>
                    <a:pt x="20423" y="8419"/>
                  </a:lnTo>
                  <a:lnTo>
                    <a:pt x="20432" y="8427"/>
                  </a:lnTo>
                  <a:lnTo>
                    <a:pt x="20440" y="8436"/>
                  </a:lnTo>
                  <a:lnTo>
                    <a:pt x="20440" y="8445"/>
                  </a:lnTo>
                  <a:lnTo>
                    <a:pt x="20440" y="8454"/>
                  </a:lnTo>
                  <a:lnTo>
                    <a:pt x="20449" y="8463"/>
                  </a:lnTo>
                  <a:lnTo>
                    <a:pt x="20440" y="8472"/>
                  </a:lnTo>
                  <a:lnTo>
                    <a:pt x="20440" y="8480"/>
                  </a:lnTo>
                  <a:lnTo>
                    <a:pt x="20440" y="8489"/>
                  </a:lnTo>
                  <a:lnTo>
                    <a:pt x="20449" y="8489"/>
                  </a:lnTo>
                  <a:lnTo>
                    <a:pt x="20449" y="8498"/>
                  </a:lnTo>
                  <a:lnTo>
                    <a:pt x="20449" y="8516"/>
                  </a:lnTo>
                  <a:lnTo>
                    <a:pt x="20458" y="8551"/>
                  </a:lnTo>
                  <a:lnTo>
                    <a:pt x="20458" y="8569"/>
                  </a:lnTo>
                  <a:lnTo>
                    <a:pt x="20467" y="8569"/>
                  </a:lnTo>
                  <a:lnTo>
                    <a:pt x="20485" y="8560"/>
                  </a:lnTo>
                  <a:lnTo>
                    <a:pt x="20493" y="8569"/>
                  </a:lnTo>
                  <a:lnTo>
                    <a:pt x="20502" y="8569"/>
                  </a:lnTo>
                  <a:lnTo>
                    <a:pt x="20511" y="8560"/>
                  </a:lnTo>
                  <a:lnTo>
                    <a:pt x="20502" y="8569"/>
                  </a:lnTo>
                  <a:lnTo>
                    <a:pt x="20511" y="8578"/>
                  </a:lnTo>
                  <a:lnTo>
                    <a:pt x="20520" y="8578"/>
                  </a:lnTo>
                  <a:lnTo>
                    <a:pt x="20537" y="8569"/>
                  </a:lnTo>
                  <a:lnTo>
                    <a:pt x="20546" y="8569"/>
                  </a:lnTo>
                  <a:lnTo>
                    <a:pt x="20555" y="8569"/>
                  </a:lnTo>
                  <a:lnTo>
                    <a:pt x="20564" y="8569"/>
                  </a:lnTo>
                  <a:lnTo>
                    <a:pt x="20564" y="8560"/>
                  </a:lnTo>
                  <a:lnTo>
                    <a:pt x="20573" y="8569"/>
                  </a:lnTo>
                  <a:lnTo>
                    <a:pt x="20573" y="8578"/>
                  </a:lnTo>
                  <a:lnTo>
                    <a:pt x="20582" y="8595"/>
                  </a:lnTo>
                  <a:lnTo>
                    <a:pt x="20582" y="8604"/>
                  </a:lnTo>
                  <a:lnTo>
                    <a:pt x="20573" y="8613"/>
                  </a:lnTo>
                  <a:lnTo>
                    <a:pt x="20582" y="8613"/>
                  </a:lnTo>
                  <a:lnTo>
                    <a:pt x="20590" y="8613"/>
                  </a:lnTo>
                  <a:lnTo>
                    <a:pt x="20599" y="8595"/>
                  </a:lnTo>
                  <a:lnTo>
                    <a:pt x="20608" y="8595"/>
                  </a:lnTo>
                  <a:lnTo>
                    <a:pt x="20626" y="8595"/>
                  </a:lnTo>
                  <a:lnTo>
                    <a:pt x="20635" y="8604"/>
                  </a:lnTo>
                  <a:lnTo>
                    <a:pt x="20643" y="8595"/>
                  </a:lnTo>
                  <a:lnTo>
                    <a:pt x="20661" y="8586"/>
                  </a:lnTo>
                  <a:lnTo>
                    <a:pt x="20670" y="8569"/>
                  </a:lnTo>
                  <a:lnTo>
                    <a:pt x="20687" y="8586"/>
                  </a:lnTo>
                  <a:lnTo>
                    <a:pt x="20696" y="8586"/>
                  </a:lnTo>
                  <a:lnTo>
                    <a:pt x="20705" y="8586"/>
                  </a:lnTo>
                  <a:lnTo>
                    <a:pt x="20714" y="8586"/>
                  </a:lnTo>
                  <a:lnTo>
                    <a:pt x="20714" y="8595"/>
                  </a:lnTo>
                  <a:lnTo>
                    <a:pt x="20714" y="8604"/>
                  </a:lnTo>
                  <a:lnTo>
                    <a:pt x="20723" y="8604"/>
                  </a:lnTo>
                  <a:lnTo>
                    <a:pt x="20732" y="8595"/>
                  </a:lnTo>
                  <a:lnTo>
                    <a:pt x="20740" y="8595"/>
                  </a:lnTo>
                  <a:lnTo>
                    <a:pt x="20749" y="8595"/>
                  </a:lnTo>
                  <a:lnTo>
                    <a:pt x="20758" y="8595"/>
                  </a:lnTo>
                  <a:lnTo>
                    <a:pt x="20758" y="8586"/>
                  </a:lnTo>
                  <a:lnTo>
                    <a:pt x="20758" y="8595"/>
                  </a:lnTo>
                  <a:lnTo>
                    <a:pt x="20758" y="8604"/>
                  </a:lnTo>
                  <a:lnTo>
                    <a:pt x="20767" y="8604"/>
                  </a:lnTo>
                  <a:lnTo>
                    <a:pt x="20776" y="8595"/>
                  </a:lnTo>
                  <a:lnTo>
                    <a:pt x="20776" y="8604"/>
                  </a:lnTo>
                  <a:lnTo>
                    <a:pt x="20785" y="8622"/>
                  </a:lnTo>
                  <a:lnTo>
                    <a:pt x="20785" y="8648"/>
                  </a:lnTo>
                  <a:lnTo>
                    <a:pt x="20785" y="8657"/>
                  </a:lnTo>
                  <a:lnTo>
                    <a:pt x="20829" y="8639"/>
                  </a:lnTo>
                  <a:lnTo>
                    <a:pt x="20882" y="8613"/>
                  </a:lnTo>
                  <a:lnTo>
                    <a:pt x="20882" y="8604"/>
                  </a:lnTo>
                  <a:lnTo>
                    <a:pt x="20890" y="8595"/>
                  </a:lnTo>
                  <a:lnTo>
                    <a:pt x="20899" y="8586"/>
                  </a:lnTo>
                  <a:lnTo>
                    <a:pt x="20899" y="8578"/>
                  </a:lnTo>
                  <a:lnTo>
                    <a:pt x="20899" y="8569"/>
                  </a:lnTo>
                  <a:lnTo>
                    <a:pt x="20908" y="8569"/>
                  </a:lnTo>
                  <a:lnTo>
                    <a:pt x="20908" y="8560"/>
                  </a:lnTo>
                  <a:lnTo>
                    <a:pt x="20908" y="8551"/>
                  </a:lnTo>
                  <a:lnTo>
                    <a:pt x="20908" y="8542"/>
                  </a:lnTo>
                  <a:lnTo>
                    <a:pt x="20908" y="8533"/>
                  </a:lnTo>
                  <a:lnTo>
                    <a:pt x="20917" y="8533"/>
                  </a:lnTo>
                  <a:lnTo>
                    <a:pt x="20926" y="8533"/>
                  </a:lnTo>
                  <a:lnTo>
                    <a:pt x="20926" y="8525"/>
                  </a:lnTo>
                  <a:lnTo>
                    <a:pt x="20926" y="8516"/>
                  </a:lnTo>
                  <a:lnTo>
                    <a:pt x="20917" y="8507"/>
                  </a:lnTo>
                  <a:lnTo>
                    <a:pt x="20908" y="8507"/>
                  </a:lnTo>
                  <a:lnTo>
                    <a:pt x="20917" y="8498"/>
                  </a:lnTo>
                  <a:lnTo>
                    <a:pt x="20917" y="8489"/>
                  </a:lnTo>
                  <a:lnTo>
                    <a:pt x="20917" y="8480"/>
                  </a:lnTo>
                  <a:lnTo>
                    <a:pt x="20908" y="8480"/>
                  </a:lnTo>
                  <a:lnTo>
                    <a:pt x="20917" y="8472"/>
                  </a:lnTo>
                  <a:lnTo>
                    <a:pt x="20926" y="8472"/>
                  </a:lnTo>
                  <a:lnTo>
                    <a:pt x="20926" y="8463"/>
                  </a:lnTo>
                  <a:lnTo>
                    <a:pt x="20926" y="8454"/>
                  </a:lnTo>
                  <a:lnTo>
                    <a:pt x="20934" y="8454"/>
                  </a:lnTo>
                  <a:lnTo>
                    <a:pt x="20943" y="8445"/>
                  </a:lnTo>
                  <a:lnTo>
                    <a:pt x="20943" y="8436"/>
                  </a:lnTo>
                  <a:lnTo>
                    <a:pt x="20934" y="8436"/>
                  </a:lnTo>
                  <a:lnTo>
                    <a:pt x="20934" y="8427"/>
                  </a:lnTo>
                  <a:lnTo>
                    <a:pt x="20943" y="8436"/>
                  </a:lnTo>
                  <a:lnTo>
                    <a:pt x="20952" y="8436"/>
                  </a:lnTo>
                  <a:lnTo>
                    <a:pt x="20961" y="8436"/>
                  </a:lnTo>
                  <a:lnTo>
                    <a:pt x="20970" y="8427"/>
                  </a:lnTo>
                  <a:lnTo>
                    <a:pt x="20979" y="8419"/>
                  </a:lnTo>
                  <a:lnTo>
                    <a:pt x="20987" y="8419"/>
                  </a:lnTo>
                  <a:lnTo>
                    <a:pt x="20996" y="8410"/>
                  </a:lnTo>
                  <a:lnTo>
                    <a:pt x="20996" y="8401"/>
                  </a:lnTo>
                  <a:lnTo>
                    <a:pt x="20996" y="8392"/>
                  </a:lnTo>
                  <a:lnTo>
                    <a:pt x="20987" y="8375"/>
                  </a:lnTo>
                  <a:lnTo>
                    <a:pt x="20987" y="8366"/>
                  </a:lnTo>
                  <a:lnTo>
                    <a:pt x="20996" y="8330"/>
                  </a:lnTo>
                  <a:lnTo>
                    <a:pt x="21014" y="8295"/>
                  </a:lnTo>
                  <a:lnTo>
                    <a:pt x="21023" y="8295"/>
                  </a:lnTo>
                  <a:lnTo>
                    <a:pt x="21023" y="8286"/>
                  </a:lnTo>
                  <a:lnTo>
                    <a:pt x="21032" y="8286"/>
                  </a:lnTo>
                  <a:lnTo>
                    <a:pt x="21032" y="8277"/>
                  </a:lnTo>
                  <a:lnTo>
                    <a:pt x="21023" y="8269"/>
                  </a:lnTo>
                  <a:lnTo>
                    <a:pt x="21032" y="8277"/>
                  </a:lnTo>
                  <a:lnTo>
                    <a:pt x="21040" y="8286"/>
                  </a:lnTo>
                  <a:lnTo>
                    <a:pt x="21049" y="8286"/>
                  </a:lnTo>
                  <a:lnTo>
                    <a:pt x="21058" y="8286"/>
                  </a:lnTo>
                  <a:lnTo>
                    <a:pt x="21067" y="8295"/>
                  </a:lnTo>
                  <a:lnTo>
                    <a:pt x="21084" y="8286"/>
                  </a:lnTo>
                  <a:lnTo>
                    <a:pt x="21093" y="8286"/>
                  </a:lnTo>
                  <a:lnTo>
                    <a:pt x="21102" y="8277"/>
                  </a:lnTo>
                  <a:lnTo>
                    <a:pt x="21093" y="8269"/>
                  </a:lnTo>
                  <a:lnTo>
                    <a:pt x="21076" y="8251"/>
                  </a:lnTo>
                  <a:lnTo>
                    <a:pt x="21067" y="8251"/>
                  </a:lnTo>
                  <a:lnTo>
                    <a:pt x="21040" y="8233"/>
                  </a:lnTo>
                  <a:lnTo>
                    <a:pt x="21040" y="8225"/>
                  </a:lnTo>
                  <a:lnTo>
                    <a:pt x="21023" y="8216"/>
                  </a:lnTo>
                  <a:lnTo>
                    <a:pt x="21023" y="8207"/>
                  </a:lnTo>
                  <a:lnTo>
                    <a:pt x="21014" y="8207"/>
                  </a:lnTo>
                  <a:lnTo>
                    <a:pt x="21023" y="8198"/>
                  </a:lnTo>
                  <a:lnTo>
                    <a:pt x="21032" y="8189"/>
                  </a:lnTo>
                  <a:lnTo>
                    <a:pt x="21032" y="8180"/>
                  </a:lnTo>
                  <a:lnTo>
                    <a:pt x="21023" y="8163"/>
                  </a:lnTo>
                  <a:lnTo>
                    <a:pt x="21014" y="8154"/>
                  </a:lnTo>
                  <a:lnTo>
                    <a:pt x="21014" y="8145"/>
                  </a:lnTo>
                  <a:lnTo>
                    <a:pt x="21005" y="8145"/>
                  </a:lnTo>
                  <a:lnTo>
                    <a:pt x="21005" y="8136"/>
                  </a:lnTo>
                  <a:lnTo>
                    <a:pt x="20996" y="8136"/>
                  </a:lnTo>
                  <a:lnTo>
                    <a:pt x="21005" y="8136"/>
                  </a:lnTo>
                  <a:lnTo>
                    <a:pt x="21005" y="8127"/>
                  </a:lnTo>
                  <a:lnTo>
                    <a:pt x="20996" y="8127"/>
                  </a:lnTo>
                  <a:lnTo>
                    <a:pt x="20987" y="8119"/>
                  </a:lnTo>
                  <a:lnTo>
                    <a:pt x="20979" y="8110"/>
                  </a:lnTo>
                  <a:lnTo>
                    <a:pt x="20987" y="8101"/>
                  </a:lnTo>
                  <a:lnTo>
                    <a:pt x="20979" y="8101"/>
                  </a:lnTo>
                  <a:lnTo>
                    <a:pt x="20970" y="8092"/>
                  </a:lnTo>
                  <a:lnTo>
                    <a:pt x="20970" y="8083"/>
                  </a:lnTo>
                  <a:lnTo>
                    <a:pt x="20961" y="8083"/>
                  </a:lnTo>
                  <a:lnTo>
                    <a:pt x="20970" y="8083"/>
                  </a:lnTo>
                  <a:lnTo>
                    <a:pt x="20979" y="8083"/>
                  </a:lnTo>
                  <a:lnTo>
                    <a:pt x="20987" y="8083"/>
                  </a:lnTo>
                  <a:lnTo>
                    <a:pt x="20996" y="8083"/>
                  </a:lnTo>
                  <a:lnTo>
                    <a:pt x="20996" y="8074"/>
                  </a:lnTo>
                  <a:lnTo>
                    <a:pt x="20996" y="8083"/>
                  </a:lnTo>
                  <a:lnTo>
                    <a:pt x="21005" y="8083"/>
                  </a:lnTo>
                  <a:lnTo>
                    <a:pt x="21014" y="8083"/>
                  </a:lnTo>
                  <a:lnTo>
                    <a:pt x="21014" y="8074"/>
                  </a:lnTo>
                  <a:lnTo>
                    <a:pt x="21005" y="8066"/>
                  </a:lnTo>
                  <a:lnTo>
                    <a:pt x="20996" y="8066"/>
                  </a:lnTo>
                  <a:lnTo>
                    <a:pt x="20996" y="8057"/>
                  </a:lnTo>
                  <a:lnTo>
                    <a:pt x="20987" y="8057"/>
                  </a:lnTo>
                  <a:lnTo>
                    <a:pt x="20996" y="8048"/>
                  </a:lnTo>
                  <a:lnTo>
                    <a:pt x="21005" y="8048"/>
                  </a:lnTo>
                  <a:lnTo>
                    <a:pt x="21005" y="8039"/>
                  </a:lnTo>
                  <a:lnTo>
                    <a:pt x="21005" y="8030"/>
                  </a:lnTo>
                  <a:lnTo>
                    <a:pt x="21014" y="8030"/>
                  </a:lnTo>
                  <a:lnTo>
                    <a:pt x="21023" y="8039"/>
                  </a:lnTo>
                  <a:lnTo>
                    <a:pt x="21032" y="8039"/>
                  </a:lnTo>
                  <a:lnTo>
                    <a:pt x="21040" y="8039"/>
                  </a:lnTo>
                  <a:lnTo>
                    <a:pt x="21049" y="8039"/>
                  </a:lnTo>
                  <a:lnTo>
                    <a:pt x="21058" y="8030"/>
                  </a:lnTo>
                  <a:lnTo>
                    <a:pt x="21067" y="8030"/>
                  </a:lnTo>
                  <a:lnTo>
                    <a:pt x="21076" y="8030"/>
                  </a:lnTo>
                  <a:lnTo>
                    <a:pt x="21076" y="8022"/>
                  </a:lnTo>
                  <a:lnTo>
                    <a:pt x="21058" y="8013"/>
                  </a:lnTo>
                  <a:lnTo>
                    <a:pt x="21040" y="7995"/>
                  </a:lnTo>
                  <a:lnTo>
                    <a:pt x="21049" y="7986"/>
                  </a:lnTo>
                  <a:lnTo>
                    <a:pt x="21058" y="7986"/>
                  </a:lnTo>
                  <a:lnTo>
                    <a:pt x="21076" y="7986"/>
                  </a:lnTo>
                  <a:lnTo>
                    <a:pt x="21084" y="7986"/>
                  </a:lnTo>
                  <a:lnTo>
                    <a:pt x="21102" y="7986"/>
                  </a:lnTo>
                  <a:lnTo>
                    <a:pt x="21111" y="7977"/>
                  </a:lnTo>
                  <a:lnTo>
                    <a:pt x="21120" y="7977"/>
                  </a:lnTo>
                  <a:lnTo>
                    <a:pt x="21120" y="7969"/>
                  </a:lnTo>
                  <a:lnTo>
                    <a:pt x="21120" y="7960"/>
                  </a:lnTo>
                  <a:lnTo>
                    <a:pt x="21120" y="7951"/>
                  </a:lnTo>
                  <a:lnTo>
                    <a:pt x="21111" y="7951"/>
                  </a:lnTo>
                  <a:lnTo>
                    <a:pt x="21102" y="7951"/>
                  </a:lnTo>
                  <a:lnTo>
                    <a:pt x="21084" y="7942"/>
                  </a:lnTo>
                  <a:lnTo>
                    <a:pt x="21076" y="7942"/>
                  </a:lnTo>
                  <a:lnTo>
                    <a:pt x="21076" y="7933"/>
                  </a:lnTo>
                  <a:lnTo>
                    <a:pt x="21067" y="7933"/>
                  </a:lnTo>
                  <a:lnTo>
                    <a:pt x="21058" y="7924"/>
                  </a:lnTo>
                  <a:lnTo>
                    <a:pt x="21049" y="7924"/>
                  </a:lnTo>
                  <a:lnTo>
                    <a:pt x="21040" y="7933"/>
                  </a:lnTo>
                  <a:lnTo>
                    <a:pt x="21032" y="7933"/>
                  </a:lnTo>
                  <a:lnTo>
                    <a:pt x="21023" y="7933"/>
                  </a:lnTo>
                  <a:lnTo>
                    <a:pt x="21023" y="7924"/>
                  </a:lnTo>
                  <a:lnTo>
                    <a:pt x="21040" y="7924"/>
                  </a:lnTo>
                  <a:lnTo>
                    <a:pt x="21032" y="7916"/>
                  </a:lnTo>
                  <a:lnTo>
                    <a:pt x="21032" y="7907"/>
                  </a:lnTo>
                  <a:lnTo>
                    <a:pt x="21023" y="7916"/>
                  </a:lnTo>
                  <a:lnTo>
                    <a:pt x="21014" y="7916"/>
                  </a:lnTo>
                  <a:lnTo>
                    <a:pt x="20996" y="7924"/>
                  </a:lnTo>
                  <a:lnTo>
                    <a:pt x="21005" y="7916"/>
                  </a:lnTo>
                  <a:lnTo>
                    <a:pt x="21005" y="7907"/>
                  </a:lnTo>
                  <a:lnTo>
                    <a:pt x="21005" y="7898"/>
                  </a:lnTo>
                  <a:lnTo>
                    <a:pt x="21005" y="7889"/>
                  </a:lnTo>
                  <a:lnTo>
                    <a:pt x="21005" y="7880"/>
                  </a:lnTo>
                  <a:lnTo>
                    <a:pt x="21005" y="7871"/>
                  </a:lnTo>
                  <a:lnTo>
                    <a:pt x="20996" y="7871"/>
                  </a:lnTo>
                  <a:lnTo>
                    <a:pt x="20987" y="7871"/>
                  </a:lnTo>
                  <a:lnTo>
                    <a:pt x="20979" y="7863"/>
                  </a:lnTo>
                  <a:lnTo>
                    <a:pt x="20979" y="7854"/>
                  </a:lnTo>
                  <a:lnTo>
                    <a:pt x="20979" y="7845"/>
                  </a:lnTo>
                  <a:lnTo>
                    <a:pt x="20970" y="7845"/>
                  </a:lnTo>
                  <a:lnTo>
                    <a:pt x="20961" y="7845"/>
                  </a:lnTo>
                  <a:lnTo>
                    <a:pt x="20961" y="7854"/>
                  </a:lnTo>
                  <a:lnTo>
                    <a:pt x="20952" y="7863"/>
                  </a:lnTo>
                  <a:lnTo>
                    <a:pt x="20943" y="7871"/>
                  </a:lnTo>
                  <a:lnTo>
                    <a:pt x="20943" y="7863"/>
                  </a:lnTo>
                  <a:lnTo>
                    <a:pt x="20943" y="7854"/>
                  </a:lnTo>
                  <a:lnTo>
                    <a:pt x="20943" y="7845"/>
                  </a:lnTo>
                  <a:lnTo>
                    <a:pt x="20943" y="7836"/>
                  </a:lnTo>
                  <a:lnTo>
                    <a:pt x="20943" y="7845"/>
                  </a:lnTo>
                  <a:lnTo>
                    <a:pt x="20926" y="7871"/>
                  </a:lnTo>
                  <a:lnTo>
                    <a:pt x="20917" y="7871"/>
                  </a:lnTo>
                  <a:lnTo>
                    <a:pt x="20890" y="7907"/>
                  </a:lnTo>
                  <a:lnTo>
                    <a:pt x="20890" y="7916"/>
                  </a:lnTo>
                  <a:lnTo>
                    <a:pt x="20890" y="7924"/>
                  </a:lnTo>
                  <a:lnTo>
                    <a:pt x="20882" y="7933"/>
                  </a:lnTo>
                  <a:lnTo>
                    <a:pt x="20873" y="7942"/>
                  </a:lnTo>
                  <a:lnTo>
                    <a:pt x="20864" y="7951"/>
                  </a:lnTo>
                  <a:lnTo>
                    <a:pt x="20864" y="7942"/>
                  </a:lnTo>
                  <a:lnTo>
                    <a:pt x="20855" y="7942"/>
                  </a:lnTo>
                  <a:lnTo>
                    <a:pt x="20837" y="7960"/>
                  </a:lnTo>
                  <a:lnTo>
                    <a:pt x="20846" y="7969"/>
                  </a:lnTo>
                  <a:lnTo>
                    <a:pt x="20855" y="7969"/>
                  </a:lnTo>
                  <a:lnTo>
                    <a:pt x="20855" y="7977"/>
                  </a:lnTo>
                  <a:lnTo>
                    <a:pt x="20846" y="7986"/>
                  </a:lnTo>
                  <a:lnTo>
                    <a:pt x="20837" y="7986"/>
                  </a:lnTo>
                  <a:lnTo>
                    <a:pt x="20820" y="7995"/>
                  </a:lnTo>
                  <a:lnTo>
                    <a:pt x="20811" y="7995"/>
                  </a:lnTo>
                  <a:lnTo>
                    <a:pt x="20811" y="7986"/>
                  </a:lnTo>
                  <a:lnTo>
                    <a:pt x="20802" y="7986"/>
                  </a:lnTo>
                  <a:lnTo>
                    <a:pt x="20793" y="7995"/>
                  </a:lnTo>
                  <a:lnTo>
                    <a:pt x="20785" y="8004"/>
                  </a:lnTo>
                  <a:lnTo>
                    <a:pt x="20776" y="8004"/>
                  </a:lnTo>
                  <a:lnTo>
                    <a:pt x="20767" y="8013"/>
                  </a:lnTo>
                  <a:lnTo>
                    <a:pt x="20758" y="8013"/>
                  </a:lnTo>
                  <a:lnTo>
                    <a:pt x="20749" y="8013"/>
                  </a:lnTo>
                  <a:lnTo>
                    <a:pt x="20740" y="8013"/>
                  </a:lnTo>
                  <a:lnTo>
                    <a:pt x="20732" y="8022"/>
                  </a:lnTo>
                  <a:lnTo>
                    <a:pt x="20740" y="8022"/>
                  </a:lnTo>
                  <a:lnTo>
                    <a:pt x="20740" y="8030"/>
                  </a:lnTo>
                  <a:lnTo>
                    <a:pt x="20732" y="8039"/>
                  </a:lnTo>
                  <a:lnTo>
                    <a:pt x="20714" y="8057"/>
                  </a:lnTo>
                  <a:lnTo>
                    <a:pt x="20696" y="8074"/>
                  </a:lnTo>
                  <a:lnTo>
                    <a:pt x="20687" y="8092"/>
                  </a:lnTo>
                  <a:lnTo>
                    <a:pt x="20670" y="8110"/>
                  </a:lnTo>
                  <a:lnTo>
                    <a:pt x="20670" y="8119"/>
                  </a:lnTo>
                  <a:lnTo>
                    <a:pt x="20661" y="8119"/>
                  </a:lnTo>
                  <a:lnTo>
                    <a:pt x="20643" y="8127"/>
                  </a:lnTo>
                  <a:lnTo>
                    <a:pt x="20599" y="8136"/>
                  </a:lnTo>
                  <a:lnTo>
                    <a:pt x="20573" y="8145"/>
                  </a:lnTo>
                  <a:lnTo>
                    <a:pt x="20564" y="8145"/>
                  </a:lnTo>
                  <a:lnTo>
                    <a:pt x="20555" y="8154"/>
                  </a:lnTo>
                  <a:lnTo>
                    <a:pt x="20546" y="8163"/>
                  </a:lnTo>
                  <a:lnTo>
                    <a:pt x="20546" y="8172"/>
                  </a:lnTo>
                  <a:lnTo>
                    <a:pt x="20546" y="8180"/>
                  </a:lnTo>
                  <a:lnTo>
                    <a:pt x="20537" y="8172"/>
                  </a:lnTo>
                  <a:lnTo>
                    <a:pt x="20529" y="8180"/>
                  </a:lnTo>
                  <a:lnTo>
                    <a:pt x="20529" y="8189"/>
                  </a:lnTo>
                  <a:lnTo>
                    <a:pt x="20537" y="8198"/>
                  </a:lnTo>
                  <a:lnTo>
                    <a:pt x="20529" y="8207"/>
                  </a:lnTo>
                  <a:lnTo>
                    <a:pt x="20529" y="8216"/>
                  </a:lnTo>
                  <a:lnTo>
                    <a:pt x="20529" y="8225"/>
                  </a:lnTo>
                  <a:lnTo>
                    <a:pt x="20520" y="8233"/>
                  </a:lnTo>
                  <a:lnTo>
                    <a:pt x="20520" y="8242"/>
                  </a:lnTo>
                  <a:lnTo>
                    <a:pt x="20529" y="8242"/>
                  </a:lnTo>
                  <a:lnTo>
                    <a:pt x="20529" y="8251"/>
                  </a:lnTo>
                  <a:lnTo>
                    <a:pt x="20520" y="8251"/>
                  </a:lnTo>
                  <a:lnTo>
                    <a:pt x="20511" y="8242"/>
                  </a:lnTo>
                  <a:lnTo>
                    <a:pt x="20502" y="8242"/>
                  </a:lnTo>
                  <a:lnTo>
                    <a:pt x="20493" y="8242"/>
                  </a:lnTo>
                  <a:lnTo>
                    <a:pt x="20476" y="8225"/>
                  </a:lnTo>
                  <a:lnTo>
                    <a:pt x="20467" y="8225"/>
                  </a:lnTo>
                  <a:lnTo>
                    <a:pt x="20458" y="8225"/>
                  </a:lnTo>
                  <a:lnTo>
                    <a:pt x="20449" y="8225"/>
                  </a:lnTo>
                  <a:lnTo>
                    <a:pt x="20440" y="8225"/>
                  </a:lnTo>
                  <a:lnTo>
                    <a:pt x="20432" y="8225"/>
                  </a:lnTo>
                  <a:lnTo>
                    <a:pt x="20423" y="8216"/>
                  </a:lnTo>
                  <a:lnTo>
                    <a:pt x="20414" y="8207"/>
                  </a:lnTo>
                  <a:lnTo>
                    <a:pt x="20396" y="8207"/>
                  </a:lnTo>
                  <a:lnTo>
                    <a:pt x="20396" y="8216"/>
                  </a:lnTo>
                  <a:lnTo>
                    <a:pt x="20387" y="8225"/>
                  </a:lnTo>
                  <a:lnTo>
                    <a:pt x="20379" y="8233"/>
                  </a:lnTo>
                  <a:lnTo>
                    <a:pt x="20379" y="8242"/>
                  </a:lnTo>
                  <a:lnTo>
                    <a:pt x="20370" y="8242"/>
                  </a:lnTo>
                  <a:lnTo>
                    <a:pt x="20370" y="8260"/>
                  </a:lnTo>
                  <a:lnTo>
                    <a:pt x="20379" y="8260"/>
                  </a:lnTo>
                  <a:close/>
                  <a:moveTo>
                    <a:pt x="20370" y="6901"/>
                  </a:moveTo>
                  <a:lnTo>
                    <a:pt x="20361" y="6909"/>
                  </a:lnTo>
                  <a:lnTo>
                    <a:pt x="20352" y="6918"/>
                  </a:lnTo>
                  <a:lnTo>
                    <a:pt x="20343" y="6918"/>
                  </a:lnTo>
                  <a:lnTo>
                    <a:pt x="20343" y="6927"/>
                  </a:lnTo>
                  <a:lnTo>
                    <a:pt x="20343" y="6954"/>
                  </a:lnTo>
                  <a:lnTo>
                    <a:pt x="20343" y="6962"/>
                  </a:lnTo>
                  <a:lnTo>
                    <a:pt x="20343" y="6980"/>
                  </a:lnTo>
                  <a:lnTo>
                    <a:pt x="20361" y="6989"/>
                  </a:lnTo>
                  <a:lnTo>
                    <a:pt x="20370" y="6998"/>
                  </a:lnTo>
                  <a:lnTo>
                    <a:pt x="20379" y="6998"/>
                  </a:lnTo>
                  <a:lnTo>
                    <a:pt x="20396" y="6998"/>
                  </a:lnTo>
                  <a:lnTo>
                    <a:pt x="20405" y="7007"/>
                  </a:lnTo>
                  <a:lnTo>
                    <a:pt x="20414" y="7007"/>
                  </a:lnTo>
                  <a:lnTo>
                    <a:pt x="20423" y="7007"/>
                  </a:lnTo>
                  <a:lnTo>
                    <a:pt x="20423" y="6998"/>
                  </a:lnTo>
                  <a:lnTo>
                    <a:pt x="20432" y="6989"/>
                  </a:lnTo>
                  <a:lnTo>
                    <a:pt x="20440" y="6989"/>
                  </a:lnTo>
                  <a:lnTo>
                    <a:pt x="20449" y="6989"/>
                  </a:lnTo>
                  <a:lnTo>
                    <a:pt x="20449" y="6980"/>
                  </a:lnTo>
                  <a:lnTo>
                    <a:pt x="20458" y="6980"/>
                  </a:lnTo>
                  <a:lnTo>
                    <a:pt x="20458" y="6971"/>
                  </a:lnTo>
                  <a:lnTo>
                    <a:pt x="20467" y="6971"/>
                  </a:lnTo>
                  <a:lnTo>
                    <a:pt x="20476" y="6971"/>
                  </a:lnTo>
                  <a:lnTo>
                    <a:pt x="20476" y="6962"/>
                  </a:lnTo>
                  <a:lnTo>
                    <a:pt x="20485" y="6945"/>
                  </a:lnTo>
                  <a:lnTo>
                    <a:pt x="20485" y="6936"/>
                  </a:lnTo>
                  <a:lnTo>
                    <a:pt x="20485" y="6927"/>
                  </a:lnTo>
                  <a:lnTo>
                    <a:pt x="20493" y="6927"/>
                  </a:lnTo>
                  <a:lnTo>
                    <a:pt x="20502" y="6901"/>
                  </a:lnTo>
                  <a:lnTo>
                    <a:pt x="20511" y="6901"/>
                  </a:lnTo>
                  <a:lnTo>
                    <a:pt x="20520" y="6901"/>
                  </a:lnTo>
                  <a:lnTo>
                    <a:pt x="20520" y="6892"/>
                  </a:lnTo>
                  <a:lnTo>
                    <a:pt x="20511" y="6883"/>
                  </a:lnTo>
                  <a:lnTo>
                    <a:pt x="20511" y="6874"/>
                  </a:lnTo>
                  <a:lnTo>
                    <a:pt x="20502" y="6865"/>
                  </a:lnTo>
                  <a:lnTo>
                    <a:pt x="20493" y="6865"/>
                  </a:lnTo>
                  <a:lnTo>
                    <a:pt x="20493" y="6857"/>
                  </a:lnTo>
                  <a:lnTo>
                    <a:pt x="20485" y="6865"/>
                  </a:lnTo>
                  <a:lnTo>
                    <a:pt x="20485" y="6874"/>
                  </a:lnTo>
                  <a:lnTo>
                    <a:pt x="20476" y="6865"/>
                  </a:lnTo>
                  <a:lnTo>
                    <a:pt x="20476" y="6874"/>
                  </a:lnTo>
                  <a:lnTo>
                    <a:pt x="20467" y="6865"/>
                  </a:lnTo>
                  <a:lnTo>
                    <a:pt x="20458" y="6865"/>
                  </a:lnTo>
                  <a:lnTo>
                    <a:pt x="20449" y="6874"/>
                  </a:lnTo>
                  <a:lnTo>
                    <a:pt x="20432" y="6874"/>
                  </a:lnTo>
                  <a:lnTo>
                    <a:pt x="20414" y="6874"/>
                  </a:lnTo>
                  <a:lnTo>
                    <a:pt x="20405" y="6874"/>
                  </a:lnTo>
                  <a:lnTo>
                    <a:pt x="20396" y="6883"/>
                  </a:lnTo>
                  <a:lnTo>
                    <a:pt x="20396" y="6874"/>
                  </a:lnTo>
                  <a:lnTo>
                    <a:pt x="20387" y="6883"/>
                  </a:lnTo>
                  <a:lnTo>
                    <a:pt x="20379" y="6892"/>
                  </a:lnTo>
                  <a:lnTo>
                    <a:pt x="20387" y="6892"/>
                  </a:lnTo>
                  <a:lnTo>
                    <a:pt x="20379" y="6892"/>
                  </a:lnTo>
                  <a:close/>
                  <a:moveTo>
                    <a:pt x="20264" y="8569"/>
                  </a:moveTo>
                  <a:lnTo>
                    <a:pt x="20264" y="8578"/>
                  </a:lnTo>
                  <a:lnTo>
                    <a:pt x="20273" y="8578"/>
                  </a:lnTo>
                  <a:lnTo>
                    <a:pt x="20264" y="8586"/>
                  </a:lnTo>
                  <a:lnTo>
                    <a:pt x="20273" y="8586"/>
                  </a:lnTo>
                  <a:lnTo>
                    <a:pt x="20282" y="8586"/>
                  </a:lnTo>
                  <a:lnTo>
                    <a:pt x="20282" y="8578"/>
                  </a:lnTo>
                  <a:lnTo>
                    <a:pt x="20290" y="8578"/>
                  </a:lnTo>
                  <a:lnTo>
                    <a:pt x="20290" y="8586"/>
                  </a:lnTo>
                  <a:lnTo>
                    <a:pt x="20299" y="8586"/>
                  </a:lnTo>
                  <a:lnTo>
                    <a:pt x="20308" y="8578"/>
                  </a:lnTo>
                  <a:lnTo>
                    <a:pt x="20308" y="8569"/>
                  </a:lnTo>
                  <a:lnTo>
                    <a:pt x="20317" y="8560"/>
                  </a:lnTo>
                  <a:lnTo>
                    <a:pt x="20308" y="8551"/>
                  </a:lnTo>
                  <a:lnTo>
                    <a:pt x="20299" y="8542"/>
                  </a:lnTo>
                  <a:lnTo>
                    <a:pt x="20290" y="8542"/>
                  </a:lnTo>
                  <a:lnTo>
                    <a:pt x="20282" y="8533"/>
                  </a:lnTo>
                  <a:lnTo>
                    <a:pt x="20273" y="8542"/>
                  </a:lnTo>
                  <a:lnTo>
                    <a:pt x="20273" y="8551"/>
                  </a:lnTo>
                  <a:lnTo>
                    <a:pt x="20264" y="8560"/>
                  </a:lnTo>
                  <a:close/>
                  <a:moveTo>
                    <a:pt x="21323" y="6954"/>
                  </a:moveTo>
                  <a:lnTo>
                    <a:pt x="21323" y="6945"/>
                  </a:lnTo>
                  <a:lnTo>
                    <a:pt x="21314" y="6945"/>
                  </a:lnTo>
                  <a:lnTo>
                    <a:pt x="21314" y="6954"/>
                  </a:lnTo>
                  <a:lnTo>
                    <a:pt x="21314" y="6962"/>
                  </a:lnTo>
                  <a:close/>
                  <a:moveTo>
                    <a:pt x="21270" y="6240"/>
                  </a:moveTo>
                  <a:lnTo>
                    <a:pt x="21270" y="6231"/>
                  </a:lnTo>
                  <a:lnTo>
                    <a:pt x="21261" y="6240"/>
                  </a:lnTo>
                  <a:lnTo>
                    <a:pt x="21261" y="6249"/>
                  </a:lnTo>
                  <a:lnTo>
                    <a:pt x="21270" y="6249"/>
                  </a:lnTo>
                  <a:close/>
                  <a:moveTo>
                    <a:pt x="21182" y="6627"/>
                  </a:moveTo>
                  <a:lnTo>
                    <a:pt x="21182" y="6636"/>
                  </a:lnTo>
                  <a:lnTo>
                    <a:pt x="21190" y="6636"/>
                  </a:lnTo>
                  <a:lnTo>
                    <a:pt x="21190" y="6645"/>
                  </a:lnTo>
                  <a:lnTo>
                    <a:pt x="21199" y="6662"/>
                  </a:lnTo>
                  <a:lnTo>
                    <a:pt x="21199" y="6671"/>
                  </a:lnTo>
                  <a:lnTo>
                    <a:pt x="21199" y="6680"/>
                  </a:lnTo>
                  <a:lnTo>
                    <a:pt x="21199" y="6671"/>
                  </a:lnTo>
                  <a:lnTo>
                    <a:pt x="21208" y="6680"/>
                  </a:lnTo>
                  <a:lnTo>
                    <a:pt x="21217" y="6680"/>
                  </a:lnTo>
                  <a:lnTo>
                    <a:pt x="21217" y="6689"/>
                  </a:lnTo>
                  <a:lnTo>
                    <a:pt x="21226" y="6698"/>
                  </a:lnTo>
                  <a:lnTo>
                    <a:pt x="21226" y="6706"/>
                  </a:lnTo>
                  <a:lnTo>
                    <a:pt x="21226" y="6715"/>
                  </a:lnTo>
                  <a:lnTo>
                    <a:pt x="21234" y="6724"/>
                  </a:lnTo>
                  <a:lnTo>
                    <a:pt x="21243" y="6724"/>
                  </a:lnTo>
                  <a:lnTo>
                    <a:pt x="21243" y="6715"/>
                  </a:lnTo>
                  <a:lnTo>
                    <a:pt x="21243" y="6706"/>
                  </a:lnTo>
                  <a:lnTo>
                    <a:pt x="21243" y="6698"/>
                  </a:lnTo>
                  <a:lnTo>
                    <a:pt x="21243" y="6689"/>
                  </a:lnTo>
                  <a:lnTo>
                    <a:pt x="21243" y="6680"/>
                  </a:lnTo>
                  <a:lnTo>
                    <a:pt x="21252" y="6671"/>
                  </a:lnTo>
                  <a:lnTo>
                    <a:pt x="21261" y="6654"/>
                  </a:lnTo>
                  <a:lnTo>
                    <a:pt x="21270" y="6645"/>
                  </a:lnTo>
                  <a:lnTo>
                    <a:pt x="21279" y="6636"/>
                  </a:lnTo>
                  <a:lnTo>
                    <a:pt x="21279" y="6627"/>
                  </a:lnTo>
                  <a:lnTo>
                    <a:pt x="21287" y="6609"/>
                  </a:lnTo>
                  <a:lnTo>
                    <a:pt x="21287" y="6593"/>
                  </a:lnTo>
                  <a:lnTo>
                    <a:pt x="21296" y="6575"/>
                  </a:lnTo>
                  <a:lnTo>
                    <a:pt x="21296" y="6557"/>
                  </a:lnTo>
                  <a:lnTo>
                    <a:pt x="21305" y="6540"/>
                  </a:lnTo>
                  <a:lnTo>
                    <a:pt x="21314" y="6522"/>
                  </a:lnTo>
                  <a:lnTo>
                    <a:pt x="21314" y="6513"/>
                  </a:lnTo>
                  <a:lnTo>
                    <a:pt x="21314" y="6505"/>
                  </a:lnTo>
                  <a:lnTo>
                    <a:pt x="21314" y="6496"/>
                  </a:lnTo>
                  <a:lnTo>
                    <a:pt x="21323" y="6487"/>
                  </a:lnTo>
                  <a:lnTo>
                    <a:pt x="21314" y="6478"/>
                  </a:lnTo>
                  <a:lnTo>
                    <a:pt x="21305" y="6478"/>
                  </a:lnTo>
                  <a:lnTo>
                    <a:pt x="21305" y="6469"/>
                  </a:lnTo>
                  <a:lnTo>
                    <a:pt x="21296" y="6469"/>
                  </a:lnTo>
                  <a:lnTo>
                    <a:pt x="21287" y="6469"/>
                  </a:lnTo>
                  <a:lnTo>
                    <a:pt x="21279" y="6478"/>
                  </a:lnTo>
                  <a:lnTo>
                    <a:pt x="21261" y="6478"/>
                  </a:lnTo>
                  <a:lnTo>
                    <a:pt x="21252" y="6487"/>
                  </a:lnTo>
                  <a:lnTo>
                    <a:pt x="21252" y="6496"/>
                  </a:lnTo>
                  <a:lnTo>
                    <a:pt x="21243" y="6505"/>
                  </a:lnTo>
                  <a:lnTo>
                    <a:pt x="21234" y="6513"/>
                  </a:lnTo>
                  <a:lnTo>
                    <a:pt x="21226" y="6531"/>
                  </a:lnTo>
                  <a:lnTo>
                    <a:pt x="21190" y="6584"/>
                  </a:lnTo>
                  <a:lnTo>
                    <a:pt x="21190" y="6593"/>
                  </a:lnTo>
                  <a:lnTo>
                    <a:pt x="21190" y="6602"/>
                  </a:lnTo>
                  <a:lnTo>
                    <a:pt x="21190" y="6609"/>
                  </a:lnTo>
                  <a:lnTo>
                    <a:pt x="21190" y="6618"/>
                  </a:lnTo>
                  <a:close/>
                  <a:moveTo>
                    <a:pt x="21314" y="6804"/>
                  </a:moveTo>
                  <a:lnTo>
                    <a:pt x="21314" y="6812"/>
                  </a:lnTo>
                  <a:lnTo>
                    <a:pt x="21314" y="6821"/>
                  </a:lnTo>
                  <a:lnTo>
                    <a:pt x="21314" y="6812"/>
                  </a:lnTo>
                  <a:close/>
                  <a:moveTo>
                    <a:pt x="20758" y="6698"/>
                  </a:moveTo>
                  <a:lnTo>
                    <a:pt x="20749" y="6698"/>
                  </a:lnTo>
                  <a:lnTo>
                    <a:pt x="20749" y="6706"/>
                  </a:lnTo>
                  <a:close/>
                  <a:moveTo>
                    <a:pt x="21323" y="6830"/>
                  </a:moveTo>
                  <a:lnTo>
                    <a:pt x="21323" y="6839"/>
                  </a:lnTo>
                  <a:lnTo>
                    <a:pt x="21323" y="6848"/>
                  </a:lnTo>
                  <a:lnTo>
                    <a:pt x="21323" y="6839"/>
                  </a:lnTo>
                  <a:lnTo>
                    <a:pt x="21331" y="6839"/>
                  </a:lnTo>
                  <a:close/>
                  <a:moveTo>
                    <a:pt x="21067" y="6531"/>
                  </a:moveTo>
                  <a:lnTo>
                    <a:pt x="21058" y="6522"/>
                  </a:lnTo>
                  <a:lnTo>
                    <a:pt x="21058" y="6531"/>
                  </a:lnTo>
                  <a:lnTo>
                    <a:pt x="21049" y="6531"/>
                  </a:lnTo>
                  <a:close/>
                  <a:moveTo>
                    <a:pt x="21040" y="6531"/>
                  </a:moveTo>
                  <a:lnTo>
                    <a:pt x="21040" y="6522"/>
                  </a:lnTo>
                  <a:close/>
                  <a:moveTo>
                    <a:pt x="21032" y="7677"/>
                  </a:moveTo>
                  <a:lnTo>
                    <a:pt x="21023" y="7677"/>
                  </a:lnTo>
                  <a:lnTo>
                    <a:pt x="21014" y="7686"/>
                  </a:lnTo>
                  <a:lnTo>
                    <a:pt x="21005" y="7695"/>
                  </a:lnTo>
                  <a:lnTo>
                    <a:pt x="20996" y="7695"/>
                  </a:lnTo>
                  <a:lnTo>
                    <a:pt x="20987" y="7713"/>
                  </a:lnTo>
                  <a:lnTo>
                    <a:pt x="20979" y="7721"/>
                  </a:lnTo>
                  <a:lnTo>
                    <a:pt x="20979" y="7730"/>
                  </a:lnTo>
                  <a:lnTo>
                    <a:pt x="20970" y="7739"/>
                  </a:lnTo>
                  <a:lnTo>
                    <a:pt x="20979" y="7730"/>
                  </a:lnTo>
                  <a:lnTo>
                    <a:pt x="20987" y="7730"/>
                  </a:lnTo>
                  <a:lnTo>
                    <a:pt x="20996" y="7730"/>
                  </a:lnTo>
                  <a:lnTo>
                    <a:pt x="20996" y="7721"/>
                  </a:lnTo>
                  <a:lnTo>
                    <a:pt x="21005" y="7713"/>
                  </a:lnTo>
                  <a:lnTo>
                    <a:pt x="21014" y="7713"/>
                  </a:lnTo>
                  <a:lnTo>
                    <a:pt x="21023" y="7704"/>
                  </a:lnTo>
                  <a:lnTo>
                    <a:pt x="21032" y="7704"/>
                  </a:lnTo>
                  <a:lnTo>
                    <a:pt x="21040" y="7695"/>
                  </a:lnTo>
                  <a:lnTo>
                    <a:pt x="21040" y="7686"/>
                  </a:lnTo>
                  <a:lnTo>
                    <a:pt x="21049" y="7677"/>
                  </a:lnTo>
                  <a:lnTo>
                    <a:pt x="21058" y="7677"/>
                  </a:lnTo>
                  <a:lnTo>
                    <a:pt x="21067" y="7677"/>
                  </a:lnTo>
                  <a:lnTo>
                    <a:pt x="21067" y="7668"/>
                  </a:lnTo>
                  <a:lnTo>
                    <a:pt x="21076" y="7660"/>
                  </a:lnTo>
                  <a:lnTo>
                    <a:pt x="21084" y="7633"/>
                  </a:lnTo>
                  <a:lnTo>
                    <a:pt x="21084" y="7624"/>
                  </a:lnTo>
                  <a:lnTo>
                    <a:pt x="21093" y="7624"/>
                  </a:lnTo>
                  <a:lnTo>
                    <a:pt x="21102" y="7616"/>
                  </a:lnTo>
                  <a:lnTo>
                    <a:pt x="21120" y="7616"/>
                  </a:lnTo>
                  <a:lnTo>
                    <a:pt x="21120" y="7607"/>
                  </a:lnTo>
                  <a:lnTo>
                    <a:pt x="21129" y="7598"/>
                  </a:lnTo>
                  <a:lnTo>
                    <a:pt x="21137" y="7589"/>
                  </a:lnTo>
                  <a:lnTo>
                    <a:pt x="21146" y="7589"/>
                  </a:lnTo>
                  <a:lnTo>
                    <a:pt x="21155" y="7580"/>
                  </a:lnTo>
                  <a:lnTo>
                    <a:pt x="21146" y="7563"/>
                  </a:lnTo>
                  <a:lnTo>
                    <a:pt x="21146" y="7545"/>
                  </a:lnTo>
                  <a:lnTo>
                    <a:pt x="21146" y="7536"/>
                  </a:lnTo>
                  <a:lnTo>
                    <a:pt x="21146" y="7527"/>
                  </a:lnTo>
                  <a:lnTo>
                    <a:pt x="21146" y="7518"/>
                  </a:lnTo>
                  <a:lnTo>
                    <a:pt x="21137" y="7518"/>
                  </a:lnTo>
                  <a:lnTo>
                    <a:pt x="21129" y="7545"/>
                  </a:lnTo>
                  <a:lnTo>
                    <a:pt x="21120" y="7554"/>
                  </a:lnTo>
                  <a:lnTo>
                    <a:pt x="21129" y="7563"/>
                  </a:lnTo>
                  <a:lnTo>
                    <a:pt x="21129" y="7571"/>
                  </a:lnTo>
                  <a:lnTo>
                    <a:pt x="21129" y="7580"/>
                  </a:lnTo>
                  <a:lnTo>
                    <a:pt x="21120" y="7580"/>
                  </a:lnTo>
                  <a:lnTo>
                    <a:pt x="21120" y="7589"/>
                  </a:lnTo>
                  <a:lnTo>
                    <a:pt x="21111" y="7589"/>
                  </a:lnTo>
                  <a:lnTo>
                    <a:pt x="21102" y="7589"/>
                  </a:lnTo>
                  <a:lnTo>
                    <a:pt x="21093" y="7607"/>
                  </a:lnTo>
                  <a:lnTo>
                    <a:pt x="21084" y="7616"/>
                  </a:lnTo>
                  <a:lnTo>
                    <a:pt x="21067" y="7633"/>
                  </a:lnTo>
                  <a:lnTo>
                    <a:pt x="21058" y="7651"/>
                  </a:lnTo>
                  <a:lnTo>
                    <a:pt x="21040" y="7668"/>
                  </a:lnTo>
                  <a:lnTo>
                    <a:pt x="21032" y="7668"/>
                  </a:lnTo>
                  <a:close/>
                  <a:moveTo>
                    <a:pt x="20052" y="8348"/>
                  </a:moveTo>
                  <a:lnTo>
                    <a:pt x="20043" y="8339"/>
                  </a:lnTo>
                  <a:lnTo>
                    <a:pt x="20035" y="8330"/>
                  </a:lnTo>
                  <a:lnTo>
                    <a:pt x="20043" y="8348"/>
                  </a:lnTo>
                  <a:close/>
                  <a:moveTo>
                    <a:pt x="23131" y="8507"/>
                  </a:moveTo>
                  <a:lnTo>
                    <a:pt x="23131" y="8516"/>
                  </a:lnTo>
                  <a:lnTo>
                    <a:pt x="23140" y="8507"/>
                  </a:lnTo>
                  <a:lnTo>
                    <a:pt x="23158" y="8507"/>
                  </a:lnTo>
                  <a:lnTo>
                    <a:pt x="23167" y="8507"/>
                  </a:lnTo>
                  <a:lnTo>
                    <a:pt x="23175" y="8507"/>
                  </a:lnTo>
                  <a:lnTo>
                    <a:pt x="23184" y="8507"/>
                  </a:lnTo>
                  <a:lnTo>
                    <a:pt x="23184" y="8498"/>
                  </a:lnTo>
                  <a:lnTo>
                    <a:pt x="23193" y="8498"/>
                  </a:lnTo>
                  <a:lnTo>
                    <a:pt x="23167" y="8498"/>
                  </a:lnTo>
                  <a:lnTo>
                    <a:pt x="23149" y="8489"/>
                  </a:lnTo>
                  <a:lnTo>
                    <a:pt x="23149" y="8498"/>
                  </a:lnTo>
                  <a:lnTo>
                    <a:pt x="23140" y="8498"/>
                  </a:lnTo>
                  <a:lnTo>
                    <a:pt x="23131" y="8498"/>
                  </a:lnTo>
                  <a:close/>
                  <a:moveTo>
                    <a:pt x="20096" y="8489"/>
                  </a:moveTo>
                  <a:lnTo>
                    <a:pt x="20088" y="8489"/>
                  </a:lnTo>
                  <a:lnTo>
                    <a:pt x="20088" y="8498"/>
                  </a:lnTo>
                  <a:lnTo>
                    <a:pt x="20096" y="8507"/>
                  </a:lnTo>
                  <a:lnTo>
                    <a:pt x="20114" y="8507"/>
                  </a:lnTo>
                  <a:lnTo>
                    <a:pt x="20123" y="8507"/>
                  </a:lnTo>
                  <a:lnTo>
                    <a:pt x="20132" y="8507"/>
                  </a:lnTo>
                  <a:lnTo>
                    <a:pt x="20132" y="8516"/>
                  </a:lnTo>
                  <a:lnTo>
                    <a:pt x="20140" y="8525"/>
                  </a:lnTo>
                  <a:lnTo>
                    <a:pt x="20140" y="8533"/>
                  </a:lnTo>
                  <a:lnTo>
                    <a:pt x="20140" y="8542"/>
                  </a:lnTo>
                  <a:lnTo>
                    <a:pt x="20140" y="8551"/>
                  </a:lnTo>
                  <a:lnTo>
                    <a:pt x="20149" y="8560"/>
                  </a:lnTo>
                  <a:lnTo>
                    <a:pt x="20158" y="8560"/>
                  </a:lnTo>
                  <a:lnTo>
                    <a:pt x="20167" y="8560"/>
                  </a:lnTo>
                  <a:lnTo>
                    <a:pt x="20176" y="8569"/>
                  </a:lnTo>
                  <a:lnTo>
                    <a:pt x="20185" y="8569"/>
                  </a:lnTo>
                  <a:lnTo>
                    <a:pt x="20193" y="8578"/>
                  </a:lnTo>
                  <a:lnTo>
                    <a:pt x="20202" y="8578"/>
                  </a:lnTo>
                  <a:lnTo>
                    <a:pt x="20193" y="8569"/>
                  </a:lnTo>
                  <a:lnTo>
                    <a:pt x="20193" y="8560"/>
                  </a:lnTo>
                  <a:lnTo>
                    <a:pt x="20202" y="8551"/>
                  </a:lnTo>
                  <a:lnTo>
                    <a:pt x="20202" y="8542"/>
                  </a:lnTo>
                  <a:lnTo>
                    <a:pt x="20211" y="8542"/>
                  </a:lnTo>
                  <a:lnTo>
                    <a:pt x="20176" y="8533"/>
                  </a:lnTo>
                  <a:lnTo>
                    <a:pt x="20167" y="8507"/>
                  </a:lnTo>
                  <a:lnTo>
                    <a:pt x="20158" y="8489"/>
                  </a:lnTo>
                  <a:lnTo>
                    <a:pt x="20158" y="8480"/>
                  </a:lnTo>
                  <a:lnTo>
                    <a:pt x="20149" y="8472"/>
                  </a:lnTo>
                  <a:lnTo>
                    <a:pt x="20149" y="8463"/>
                  </a:lnTo>
                  <a:lnTo>
                    <a:pt x="20140" y="8463"/>
                  </a:lnTo>
                  <a:lnTo>
                    <a:pt x="20132" y="8463"/>
                  </a:lnTo>
                  <a:lnTo>
                    <a:pt x="20132" y="8472"/>
                  </a:lnTo>
                  <a:lnTo>
                    <a:pt x="20123" y="8480"/>
                  </a:lnTo>
                  <a:lnTo>
                    <a:pt x="20123" y="8472"/>
                  </a:lnTo>
                  <a:lnTo>
                    <a:pt x="20114" y="8463"/>
                  </a:lnTo>
                  <a:lnTo>
                    <a:pt x="20105" y="8463"/>
                  </a:lnTo>
                  <a:lnTo>
                    <a:pt x="20105" y="8472"/>
                  </a:lnTo>
                  <a:lnTo>
                    <a:pt x="20105" y="8480"/>
                  </a:lnTo>
                  <a:close/>
                  <a:moveTo>
                    <a:pt x="20070" y="8375"/>
                  </a:moveTo>
                  <a:lnTo>
                    <a:pt x="20079" y="8375"/>
                  </a:lnTo>
                  <a:lnTo>
                    <a:pt x="20070" y="8366"/>
                  </a:lnTo>
                  <a:lnTo>
                    <a:pt x="20061" y="8366"/>
                  </a:lnTo>
                  <a:lnTo>
                    <a:pt x="20052" y="8357"/>
                  </a:lnTo>
                  <a:lnTo>
                    <a:pt x="20043" y="8348"/>
                  </a:lnTo>
                  <a:lnTo>
                    <a:pt x="20035" y="8357"/>
                  </a:lnTo>
                  <a:lnTo>
                    <a:pt x="20035" y="8366"/>
                  </a:lnTo>
                  <a:lnTo>
                    <a:pt x="20043" y="8366"/>
                  </a:lnTo>
                  <a:lnTo>
                    <a:pt x="20052" y="8366"/>
                  </a:lnTo>
                  <a:close/>
                  <a:moveTo>
                    <a:pt x="20043" y="8269"/>
                  </a:moveTo>
                  <a:lnTo>
                    <a:pt x="20043" y="8260"/>
                  </a:lnTo>
                  <a:lnTo>
                    <a:pt x="20035" y="8269"/>
                  </a:lnTo>
                  <a:lnTo>
                    <a:pt x="20035" y="8260"/>
                  </a:lnTo>
                  <a:lnTo>
                    <a:pt x="20026" y="8269"/>
                  </a:lnTo>
                  <a:lnTo>
                    <a:pt x="20017" y="8269"/>
                  </a:lnTo>
                  <a:lnTo>
                    <a:pt x="20017" y="8277"/>
                  </a:lnTo>
                  <a:lnTo>
                    <a:pt x="20026" y="8277"/>
                  </a:lnTo>
                  <a:lnTo>
                    <a:pt x="20035" y="8277"/>
                  </a:lnTo>
                  <a:lnTo>
                    <a:pt x="20035" y="8286"/>
                  </a:lnTo>
                  <a:lnTo>
                    <a:pt x="20043" y="8286"/>
                  </a:lnTo>
                  <a:lnTo>
                    <a:pt x="20052" y="8277"/>
                  </a:lnTo>
                  <a:lnTo>
                    <a:pt x="20052" y="8269"/>
                  </a:lnTo>
                  <a:close/>
                  <a:moveTo>
                    <a:pt x="19999" y="8251"/>
                  </a:moveTo>
                  <a:lnTo>
                    <a:pt x="19990" y="8242"/>
                  </a:lnTo>
                  <a:lnTo>
                    <a:pt x="19982" y="8251"/>
                  </a:lnTo>
                  <a:lnTo>
                    <a:pt x="19973" y="8251"/>
                  </a:lnTo>
                  <a:lnTo>
                    <a:pt x="19990" y="8260"/>
                  </a:lnTo>
                  <a:close/>
                  <a:moveTo>
                    <a:pt x="19973" y="8366"/>
                  </a:moveTo>
                  <a:lnTo>
                    <a:pt x="19964" y="8375"/>
                  </a:lnTo>
                  <a:lnTo>
                    <a:pt x="19973" y="8383"/>
                  </a:lnTo>
                  <a:lnTo>
                    <a:pt x="19982" y="8375"/>
                  </a:lnTo>
                  <a:close/>
                  <a:moveTo>
                    <a:pt x="19982" y="8286"/>
                  </a:moveTo>
                  <a:lnTo>
                    <a:pt x="19990" y="8295"/>
                  </a:lnTo>
                  <a:lnTo>
                    <a:pt x="19990" y="8286"/>
                  </a:lnTo>
                  <a:close/>
                  <a:moveTo>
                    <a:pt x="20255" y="8560"/>
                  </a:moveTo>
                  <a:lnTo>
                    <a:pt x="20255" y="8569"/>
                  </a:lnTo>
                  <a:close/>
                  <a:moveTo>
                    <a:pt x="20670" y="8957"/>
                  </a:moveTo>
                  <a:lnTo>
                    <a:pt x="20679" y="8957"/>
                  </a:lnTo>
                  <a:lnTo>
                    <a:pt x="20714" y="8975"/>
                  </a:lnTo>
                  <a:lnTo>
                    <a:pt x="20732" y="8975"/>
                  </a:lnTo>
                  <a:lnTo>
                    <a:pt x="20749" y="8984"/>
                  </a:lnTo>
                  <a:lnTo>
                    <a:pt x="20758" y="8984"/>
                  </a:lnTo>
                  <a:lnTo>
                    <a:pt x="20767" y="8992"/>
                  </a:lnTo>
                  <a:lnTo>
                    <a:pt x="20776" y="8992"/>
                  </a:lnTo>
                  <a:lnTo>
                    <a:pt x="20785" y="8992"/>
                  </a:lnTo>
                  <a:lnTo>
                    <a:pt x="20785" y="8984"/>
                  </a:lnTo>
                  <a:lnTo>
                    <a:pt x="20776" y="8984"/>
                  </a:lnTo>
                  <a:lnTo>
                    <a:pt x="20767" y="8975"/>
                  </a:lnTo>
                  <a:lnTo>
                    <a:pt x="20767" y="8966"/>
                  </a:lnTo>
                  <a:lnTo>
                    <a:pt x="20767" y="8957"/>
                  </a:lnTo>
                  <a:lnTo>
                    <a:pt x="20767" y="8939"/>
                  </a:lnTo>
                  <a:lnTo>
                    <a:pt x="20767" y="8931"/>
                  </a:lnTo>
                  <a:lnTo>
                    <a:pt x="20767" y="8922"/>
                  </a:lnTo>
                  <a:lnTo>
                    <a:pt x="20740" y="8913"/>
                  </a:lnTo>
                  <a:lnTo>
                    <a:pt x="20732" y="8913"/>
                  </a:lnTo>
                  <a:lnTo>
                    <a:pt x="20714" y="8913"/>
                  </a:lnTo>
                  <a:lnTo>
                    <a:pt x="20696" y="8913"/>
                  </a:lnTo>
                  <a:lnTo>
                    <a:pt x="20679" y="8913"/>
                  </a:lnTo>
                  <a:lnTo>
                    <a:pt x="20661" y="8913"/>
                  </a:lnTo>
                  <a:lnTo>
                    <a:pt x="20652" y="8904"/>
                  </a:lnTo>
                  <a:lnTo>
                    <a:pt x="20643" y="8895"/>
                  </a:lnTo>
                  <a:lnTo>
                    <a:pt x="20652" y="8886"/>
                  </a:lnTo>
                  <a:lnTo>
                    <a:pt x="20643" y="8886"/>
                  </a:lnTo>
                  <a:lnTo>
                    <a:pt x="20635" y="8878"/>
                  </a:lnTo>
                  <a:lnTo>
                    <a:pt x="20635" y="8869"/>
                  </a:lnTo>
                  <a:lnTo>
                    <a:pt x="20626" y="8860"/>
                  </a:lnTo>
                  <a:lnTo>
                    <a:pt x="20617" y="8860"/>
                  </a:lnTo>
                  <a:lnTo>
                    <a:pt x="20599" y="8860"/>
                  </a:lnTo>
                  <a:lnTo>
                    <a:pt x="20599" y="8851"/>
                  </a:lnTo>
                  <a:lnTo>
                    <a:pt x="20590" y="8851"/>
                  </a:lnTo>
                  <a:lnTo>
                    <a:pt x="20573" y="8842"/>
                  </a:lnTo>
                  <a:lnTo>
                    <a:pt x="20564" y="8842"/>
                  </a:lnTo>
                  <a:lnTo>
                    <a:pt x="20555" y="8833"/>
                  </a:lnTo>
                  <a:lnTo>
                    <a:pt x="20546" y="8842"/>
                  </a:lnTo>
                  <a:lnTo>
                    <a:pt x="20537" y="8842"/>
                  </a:lnTo>
                  <a:lnTo>
                    <a:pt x="20529" y="8842"/>
                  </a:lnTo>
                  <a:lnTo>
                    <a:pt x="20520" y="8825"/>
                  </a:lnTo>
                  <a:lnTo>
                    <a:pt x="20511" y="8825"/>
                  </a:lnTo>
                  <a:lnTo>
                    <a:pt x="20502" y="8825"/>
                  </a:lnTo>
                  <a:lnTo>
                    <a:pt x="20493" y="8825"/>
                  </a:lnTo>
                  <a:lnTo>
                    <a:pt x="20493" y="8833"/>
                  </a:lnTo>
                  <a:lnTo>
                    <a:pt x="20493" y="8842"/>
                  </a:lnTo>
                  <a:lnTo>
                    <a:pt x="20485" y="8851"/>
                  </a:lnTo>
                  <a:lnTo>
                    <a:pt x="20485" y="8860"/>
                  </a:lnTo>
                  <a:lnTo>
                    <a:pt x="20476" y="8860"/>
                  </a:lnTo>
                  <a:lnTo>
                    <a:pt x="20467" y="8860"/>
                  </a:lnTo>
                  <a:lnTo>
                    <a:pt x="20458" y="8860"/>
                  </a:lnTo>
                  <a:lnTo>
                    <a:pt x="20449" y="8860"/>
                  </a:lnTo>
                  <a:lnTo>
                    <a:pt x="20440" y="8860"/>
                  </a:lnTo>
                  <a:lnTo>
                    <a:pt x="20432" y="8860"/>
                  </a:lnTo>
                  <a:lnTo>
                    <a:pt x="20414" y="8851"/>
                  </a:lnTo>
                  <a:lnTo>
                    <a:pt x="20405" y="8851"/>
                  </a:lnTo>
                  <a:lnTo>
                    <a:pt x="20396" y="8851"/>
                  </a:lnTo>
                  <a:lnTo>
                    <a:pt x="20387" y="8851"/>
                  </a:lnTo>
                  <a:lnTo>
                    <a:pt x="20370" y="8851"/>
                  </a:lnTo>
                  <a:lnTo>
                    <a:pt x="20361" y="8851"/>
                  </a:lnTo>
                  <a:lnTo>
                    <a:pt x="20352" y="8851"/>
                  </a:lnTo>
                  <a:lnTo>
                    <a:pt x="20343" y="8851"/>
                  </a:lnTo>
                  <a:lnTo>
                    <a:pt x="20343" y="8842"/>
                  </a:lnTo>
                  <a:lnTo>
                    <a:pt x="20335" y="8825"/>
                  </a:lnTo>
                  <a:lnTo>
                    <a:pt x="20326" y="8816"/>
                  </a:lnTo>
                  <a:lnTo>
                    <a:pt x="20317" y="8807"/>
                  </a:lnTo>
                  <a:lnTo>
                    <a:pt x="20308" y="8807"/>
                  </a:lnTo>
                  <a:lnTo>
                    <a:pt x="20308" y="8816"/>
                  </a:lnTo>
                  <a:lnTo>
                    <a:pt x="20299" y="8807"/>
                  </a:lnTo>
                  <a:lnTo>
                    <a:pt x="20290" y="8807"/>
                  </a:lnTo>
                  <a:lnTo>
                    <a:pt x="20282" y="8807"/>
                  </a:lnTo>
                  <a:lnTo>
                    <a:pt x="20273" y="8807"/>
                  </a:lnTo>
                  <a:lnTo>
                    <a:pt x="20264" y="8807"/>
                  </a:lnTo>
                  <a:lnTo>
                    <a:pt x="20255" y="8798"/>
                  </a:lnTo>
                  <a:lnTo>
                    <a:pt x="20246" y="8789"/>
                  </a:lnTo>
                  <a:lnTo>
                    <a:pt x="20238" y="8789"/>
                  </a:lnTo>
                  <a:lnTo>
                    <a:pt x="20229" y="8781"/>
                  </a:lnTo>
                  <a:lnTo>
                    <a:pt x="20220" y="8789"/>
                  </a:lnTo>
                  <a:lnTo>
                    <a:pt x="20220" y="8798"/>
                  </a:lnTo>
                  <a:lnTo>
                    <a:pt x="20211" y="8798"/>
                  </a:lnTo>
                  <a:lnTo>
                    <a:pt x="20202" y="8789"/>
                  </a:lnTo>
                  <a:lnTo>
                    <a:pt x="20193" y="8789"/>
                  </a:lnTo>
                  <a:lnTo>
                    <a:pt x="20185" y="8789"/>
                  </a:lnTo>
                  <a:lnTo>
                    <a:pt x="20176" y="8789"/>
                  </a:lnTo>
                  <a:lnTo>
                    <a:pt x="20158" y="8789"/>
                  </a:lnTo>
                  <a:lnTo>
                    <a:pt x="20158" y="8781"/>
                  </a:lnTo>
                  <a:lnTo>
                    <a:pt x="20149" y="8789"/>
                  </a:lnTo>
                  <a:lnTo>
                    <a:pt x="20140" y="8789"/>
                  </a:lnTo>
                  <a:lnTo>
                    <a:pt x="20140" y="8798"/>
                  </a:lnTo>
                  <a:lnTo>
                    <a:pt x="20132" y="8825"/>
                  </a:lnTo>
                  <a:lnTo>
                    <a:pt x="20123" y="8825"/>
                  </a:lnTo>
                  <a:lnTo>
                    <a:pt x="20123" y="8833"/>
                  </a:lnTo>
                  <a:lnTo>
                    <a:pt x="20114" y="8842"/>
                  </a:lnTo>
                  <a:lnTo>
                    <a:pt x="20114" y="8851"/>
                  </a:lnTo>
                  <a:lnTo>
                    <a:pt x="20105" y="8851"/>
                  </a:lnTo>
                  <a:lnTo>
                    <a:pt x="20105" y="8842"/>
                  </a:lnTo>
                  <a:lnTo>
                    <a:pt x="20096" y="8842"/>
                  </a:lnTo>
                  <a:lnTo>
                    <a:pt x="20096" y="8851"/>
                  </a:lnTo>
                  <a:lnTo>
                    <a:pt x="20105" y="8851"/>
                  </a:lnTo>
                  <a:lnTo>
                    <a:pt x="20114" y="8851"/>
                  </a:lnTo>
                  <a:lnTo>
                    <a:pt x="20123" y="8851"/>
                  </a:lnTo>
                  <a:lnTo>
                    <a:pt x="20132" y="8851"/>
                  </a:lnTo>
                  <a:lnTo>
                    <a:pt x="20140" y="8851"/>
                  </a:lnTo>
                  <a:lnTo>
                    <a:pt x="20167" y="8860"/>
                  </a:lnTo>
                  <a:lnTo>
                    <a:pt x="20185" y="8869"/>
                  </a:lnTo>
                  <a:lnTo>
                    <a:pt x="20185" y="8878"/>
                  </a:lnTo>
                  <a:lnTo>
                    <a:pt x="20176" y="8878"/>
                  </a:lnTo>
                  <a:lnTo>
                    <a:pt x="20176" y="8886"/>
                  </a:lnTo>
                  <a:lnTo>
                    <a:pt x="20185" y="8886"/>
                  </a:lnTo>
                  <a:lnTo>
                    <a:pt x="20185" y="8895"/>
                  </a:lnTo>
                  <a:lnTo>
                    <a:pt x="20193" y="8895"/>
                  </a:lnTo>
                  <a:lnTo>
                    <a:pt x="20229" y="8895"/>
                  </a:lnTo>
                  <a:lnTo>
                    <a:pt x="20246" y="8895"/>
                  </a:lnTo>
                  <a:lnTo>
                    <a:pt x="20264" y="8904"/>
                  </a:lnTo>
                  <a:lnTo>
                    <a:pt x="20273" y="8913"/>
                  </a:lnTo>
                  <a:lnTo>
                    <a:pt x="20282" y="8913"/>
                  </a:lnTo>
                  <a:lnTo>
                    <a:pt x="20290" y="8913"/>
                  </a:lnTo>
                  <a:lnTo>
                    <a:pt x="20308" y="8922"/>
                  </a:lnTo>
                  <a:lnTo>
                    <a:pt x="20317" y="8922"/>
                  </a:lnTo>
                  <a:lnTo>
                    <a:pt x="20326" y="8922"/>
                  </a:lnTo>
                  <a:lnTo>
                    <a:pt x="20335" y="8922"/>
                  </a:lnTo>
                  <a:lnTo>
                    <a:pt x="20335" y="8913"/>
                  </a:lnTo>
                  <a:lnTo>
                    <a:pt x="20352" y="8913"/>
                  </a:lnTo>
                  <a:lnTo>
                    <a:pt x="20361" y="8913"/>
                  </a:lnTo>
                  <a:lnTo>
                    <a:pt x="20370" y="8913"/>
                  </a:lnTo>
                  <a:lnTo>
                    <a:pt x="20387" y="8913"/>
                  </a:lnTo>
                  <a:lnTo>
                    <a:pt x="20432" y="8922"/>
                  </a:lnTo>
                  <a:lnTo>
                    <a:pt x="20449" y="8931"/>
                  </a:lnTo>
                  <a:lnTo>
                    <a:pt x="20485" y="8948"/>
                  </a:lnTo>
                  <a:lnTo>
                    <a:pt x="20502" y="8948"/>
                  </a:lnTo>
                  <a:lnTo>
                    <a:pt x="20520" y="8957"/>
                  </a:lnTo>
                  <a:lnTo>
                    <a:pt x="20537" y="8957"/>
                  </a:lnTo>
                  <a:lnTo>
                    <a:pt x="20555" y="8957"/>
                  </a:lnTo>
                  <a:lnTo>
                    <a:pt x="20599" y="8957"/>
                  </a:lnTo>
                  <a:lnTo>
                    <a:pt x="20617" y="8966"/>
                  </a:lnTo>
                  <a:lnTo>
                    <a:pt x="20635" y="8966"/>
                  </a:lnTo>
                  <a:lnTo>
                    <a:pt x="20643" y="8966"/>
                  </a:lnTo>
                  <a:lnTo>
                    <a:pt x="20652" y="8966"/>
                  </a:lnTo>
                  <a:lnTo>
                    <a:pt x="20661" y="8957"/>
                  </a:lnTo>
                  <a:close/>
                  <a:moveTo>
                    <a:pt x="20096" y="8833"/>
                  </a:moveTo>
                  <a:lnTo>
                    <a:pt x="20096" y="8825"/>
                  </a:lnTo>
                  <a:lnTo>
                    <a:pt x="20088" y="8825"/>
                  </a:lnTo>
                  <a:lnTo>
                    <a:pt x="20088" y="8833"/>
                  </a:lnTo>
                  <a:lnTo>
                    <a:pt x="20088" y="8842"/>
                  </a:lnTo>
                  <a:close/>
                  <a:moveTo>
                    <a:pt x="20123" y="9116"/>
                  </a:moveTo>
                  <a:lnTo>
                    <a:pt x="20114" y="9125"/>
                  </a:lnTo>
                  <a:lnTo>
                    <a:pt x="20123" y="9125"/>
                  </a:lnTo>
                  <a:lnTo>
                    <a:pt x="20132" y="9125"/>
                  </a:lnTo>
                  <a:close/>
                  <a:moveTo>
                    <a:pt x="20238" y="7589"/>
                  </a:moveTo>
                  <a:lnTo>
                    <a:pt x="20229" y="7589"/>
                  </a:lnTo>
                  <a:close/>
                  <a:moveTo>
                    <a:pt x="20193" y="7713"/>
                  </a:moveTo>
                  <a:close/>
                  <a:moveTo>
                    <a:pt x="20167" y="8127"/>
                  </a:moveTo>
                  <a:lnTo>
                    <a:pt x="20167" y="8119"/>
                  </a:lnTo>
                  <a:close/>
                  <a:moveTo>
                    <a:pt x="20202" y="8569"/>
                  </a:moveTo>
                  <a:lnTo>
                    <a:pt x="20211" y="8569"/>
                  </a:lnTo>
                  <a:lnTo>
                    <a:pt x="20220" y="8569"/>
                  </a:lnTo>
                  <a:lnTo>
                    <a:pt x="20211" y="8560"/>
                  </a:lnTo>
                  <a:close/>
                  <a:moveTo>
                    <a:pt x="20132" y="8145"/>
                  </a:moveTo>
                  <a:lnTo>
                    <a:pt x="20132" y="8136"/>
                  </a:lnTo>
                  <a:lnTo>
                    <a:pt x="20140" y="8136"/>
                  </a:lnTo>
                  <a:lnTo>
                    <a:pt x="20132" y="8136"/>
                  </a:lnTo>
                  <a:lnTo>
                    <a:pt x="20132" y="8127"/>
                  </a:lnTo>
                  <a:lnTo>
                    <a:pt x="20123" y="8127"/>
                  </a:lnTo>
                  <a:lnTo>
                    <a:pt x="20123" y="8136"/>
                  </a:lnTo>
                  <a:lnTo>
                    <a:pt x="20132" y="8136"/>
                  </a:lnTo>
                  <a:lnTo>
                    <a:pt x="20123" y="8136"/>
                  </a:lnTo>
                  <a:close/>
                  <a:moveTo>
                    <a:pt x="20026" y="8383"/>
                  </a:moveTo>
                  <a:lnTo>
                    <a:pt x="20017" y="8383"/>
                  </a:lnTo>
                  <a:lnTo>
                    <a:pt x="20026" y="8392"/>
                  </a:lnTo>
                  <a:lnTo>
                    <a:pt x="20026" y="8401"/>
                  </a:lnTo>
                  <a:lnTo>
                    <a:pt x="20035" y="8392"/>
                  </a:lnTo>
                  <a:lnTo>
                    <a:pt x="20043" y="8392"/>
                  </a:lnTo>
                  <a:lnTo>
                    <a:pt x="20043" y="8383"/>
                  </a:lnTo>
                  <a:lnTo>
                    <a:pt x="20035" y="8375"/>
                  </a:lnTo>
                  <a:close/>
                  <a:moveTo>
                    <a:pt x="21852" y="5754"/>
                  </a:moveTo>
                  <a:lnTo>
                    <a:pt x="21852" y="5763"/>
                  </a:lnTo>
                  <a:lnTo>
                    <a:pt x="21861" y="5754"/>
                  </a:lnTo>
                  <a:lnTo>
                    <a:pt x="21861" y="5745"/>
                  </a:lnTo>
                  <a:lnTo>
                    <a:pt x="21852" y="5737"/>
                  </a:lnTo>
                  <a:close/>
                  <a:moveTo>
                    <a:pt x="21861" y="6240"/>
                  </a:moveTo>
                  <a:lnTo>
                    <a:pt x="21870" y="6240"/>
                  </a:lnTo>
                  <a:lnTo>
                    <a:pt x="21870" y="6231"/>
                  </a:lnTo>
                  <a:lnTo>
                    <a:pt x="21878" y="6231"/>
                  </a:lnTo>
                  <a:lnTo>
                    <a:pt x="21878" y="6222"/>
                  </a:lnTo>
                  <a:lnTo>
                    <a:pt x="21887" y="6222"/>
                  </a:lnTo>
                  <a:lnTo>
                    <a:pt x="21896" y="6213"/>
                  </a:lnTo>
                  <a:lnTo>
                    <a:pt x="21887" y="6213"/>
                  </a:lnTo>
                  <a:lnTo>
                    <a:pt x="21878" y="6213"/>
                  </a:lnTo>
                  <a:lnTo>
                    <a:pt x="21878" y="6222"/>
                  </a:lnTo>
                  <a:lnTo>
                    <a:pt x="21870" y="6222"/>
                  </a:lnTo>
                  <a:lnTo>
                    <a:pt x="21861" y="6222"/>
                  </a:lnTo>
                  <a:lnTo>
                    <a:pt x="21861" y="6231"/>
                  </a:lnTo>
                  <a:lnTo>
                    <a:pt x="21852" y="6231"/>
                  </a:lnTo>
                  <a:close/>
                  <a:moveTo>
                    <a:pt x="21887" y="5825"/>
                  </a:moveTo>
                  <a:lnTo>
                    <a:pt x="21878" y="5834"/>
                  </a:lnTo>
                  <a:lnTo>
                    <a:pt x="21887" y="5834"/>
                  </a:lnTo>
                  <a:lnTo>
                    <a:pt x="21896" y="5843"/>
                  </a:lnTo>
                  <a:lnTo>
                    <a:pt x="21905" y="5851"/>
                  </a:lnTo>
                  <a:lnTo>
                    <a:pt x="21914" y="5860"/>
                  </a:lnTo>
                  <a:lnTo>
                    <a:pt x="21905" y="5860"/>
                  </a:lnTo>
                  <a:lnTo>
                    <a:pt x="21896" y="5860"/>
                  </a:lnTo>
                  <a:lnTo>
                    <a:pt x="21896" y="5851"/>
                  </a:lnTo>
                  <a:lnTo>
                    <a:pt x="21887" y="5843"/>
                  </a:lnTo>
                  <a:lnTo>
                    <a:pt x="21887" y="5851"/>
                  </a:lnTo>
                  <a:lnTo>
                    <a:pt x="21887" y="5860"/>
                  </a:lnTo>
                  <a:lnTo>
                    <a:pt x="21896" y="5869"/>
                  </a:lnTo>
                  <a:lnTo>
                    <a:pt x="21896" y="5878"/>
                  </a:lnTo>
                  <a:lnTo>
                    <a:pt x="21896" y="5887"/>
                  </a:lnTo>
                  <a:lnTo>
                    <a:pt x="21905" y="5878"/>
                  </a:lnTo>
                  <a:lnTo>
                    <a:pt x="21914" y="5869"/>
                  </a:lnTo>
                  <a:lnTo>
                    <a:pt x="21923" y="5869"/>
                  </a:lnTo>
                  <a:lnTo>
                    <a:pt x="21931" y="5869"/>
                  </a:lnTo>
                  <a:lnTo>
                    <a:pt x="21931" y="5878"/>
                  </a:lnTo>
                  <a:lnTo>
                    <a:pt x="21940" y="5878"/>
                  </a:lnTo>
                  <a:lnTo>
                    <a:pt x="21940" y="5869"/>
                  </a:lnTo>
                  <a:lnTo>
                    <a:pt x="21940" y="5860"/>
                  </a:lnTo>
                  <a:lnTo>
                    <a:pt x="21931" y="5860"/>
                  </a:lnTo>
                  <a:lnTo>
                    <a:pt x="21923" y="5860"/>
                  </a:lnTo>
                  <a:lnTo>
                    <a:pt x="21923" y="5851"/>
                  </a:lnTo>
                  <a:lnTo>
                    <a:pt x="21923" y="5843"/>
                  </a:lnTo>
                  <a:lnTo>
                    <a:pt x="21923" y="5834"/>
                  </a:lnTo>
                  <a:lnTo>
                    <a:pt x="21931" y="5834"/>
                  </a:lnTo>
                  <a:lnTo>
                    <a:pt x="21940" y="5843"/>
                  </a:lnTo>
                  <a:lnTo>
                    <a:pt x="21949" y="5851"/>
                  </a:lnTo>
                  <a:lnTo>
                    <a:pt x="21949" y="5860"/>
                  </a:lnTo>
                  <a:lnTo>
                    <a:pt x="21958" y="5869"/>
                  </a:lnTo>
                  <a:lnTo>
                    <a:pt x="21949" y="5878"/>
                  </a:lnTo>
                  <a:lnTo>
                    <a:pt x="21958" y="5878"/>
                  </a:lnTo>
                  <a:lnTo>
                    <a:pt x="21958" y="5896"/>
                  </a:lnTo>
                  <a:lnTo>
                    <a:pt x="21949" y="5904"/>
                  </a:lnTo>
                  <a:lnTo>
                    <a:pt x="21940" y="5913"/>
                  </a:lnTo>
                  <a:lnTo>
                    <a:pt x="21940" y="5922"/>
                  </a:lnTo>
                  <a:lnTo>
                    <a:pt x="21931" y="5922"/>
                  </a:lnTo>
                  <a:lnTo>
                    <a:pt x="21931" y="5931"/>
                  </a:lnTo>
                  <a:lnTo>
                    <a:pt x="21931" y="5940"/>
                  </a:lnTo>
                  <a:lnTo>
                    <a:pt x="21923" y="5948"/>
                  </a:lnTo>
                  <a:lnTo>
                    <a:pt x="21931" y="5948"/>
                  </a:lnTo>
                  <a:lnTo>
                    <a:pt x="21931" y="5957"/>
                  </a:lnTo>
                  <a:lnTo>
                    <a:pt x="21940" y="5966"/>
                  </a:lnTo>
                  <a:lnTo>
                    <a:pt x="21931" y="5975"/>
                  </a:lnTo>
                  <a:lnTo>
                    <a:pt x="21923" y="5975"/>
                  </a:lnTo>
                  <a:lnTo>
                    <a:pt x="21931" y="5984"/>
                  </a:lnTo>
                  <a:lnTo>
                    <a:pt x="21931" y="5993"/>
                  </a:lnTo>
                  <a:lnTo>
                    <a:pt x="21940" y="5993"/>
                  </a:lnTo>
                  <a:lnTo>
                    <a:pt x="21958" y="6001"/>
                  </a:lnTo>
                  <a:lnTo>
                    <a:pt x="21958" y="5993"/>
                  </a:lnTo>
                  <a:lnTo>
                    <a:pt x="21958" y="5984"/>
                  </a:lnTo>
                  <a:lnTo>
                    <a:pt x="21949" y="5975"/>
                  </a:lnTo>
                  <a:lnTo>
                    <a:pt x="21958" y="5966"/>
                  </a:lnTo>
                  <a:lnTo>
                    <a:pt x="21958" y="5957"/>
                  </a:lnTo>
                  <a:lnTo>
                    <a:pt x="21967" y="5957"/>
                  </a:lnTo>
                  <a:lnTo>
                    <a:pt x="21976" y="5957"/>
                  </a:lnTo>
                  <a:lnTo>
                    <a:pt x="21967" y="5966"/>
                  </a:lnTo>
                  <a:lnTo>
                    <a:pt x="21967" y="5984"/>
                  </a:lnTo>
                  <a:lnTo>
                    <a:pt x="21967" y="5993"/>
                  </a:lnTo>
                  <a:lnTo>
                    <a:pt x="21967" y="6001"/>
                  </a:lnTo>
                  <a:lnTo>
                    <a:pt x="21967" y="6010"/>
                  </a:lnTo>
                  <a:lnTo>
                    <a:pt x="21976" y="6001"/>
                  </a:lnTo>
                  <a:lnTo>
                    <a:pt x="21993" y="5993"/>
                  </a:lnTo>
                  <a:lnTo>
                    <a:pt x="21993" y="5984"/>
                  </a:lnTo>
                  <a:lnTo>
                    <a:pt x="21993" y="5975"/>
                  </a:lnTo>
                  <a:lnTo>
                    <a:pt x="22002" y="5975"/>
                  </a:lnTo>
                  <a:lnTo>
                    <a:pt x="22011" y="5975"/>
                  </a:lnTo>
                  <a:lnTo>
                    <a:pt x="22020" y="5957"/>
                  </a:lnTo>
                  <a:lnTo>
                    <a:pt x="22020" y="5948"/>
                  </a:lnTo>
                  <a:lnTo>
                    <a:pt x="22020" y="5940"/>
                  </a:lnTo>
                  <a:lnTo>
                    <a:pt x="22020" y="5931"/>
                  </a:lnTo>
                  <a:lnTo>
                    <a:pt x="22028" y="5922"/>
                  </a:lnTo>
                  <a:lnTo>
                    <a:pt x="22028" y="5913"/>
                  </a:lnTo>
                  <a:lnTo>
                    <a:pt x="22028" y="5904"/>
                  </a:lnTo>
                  <a:lnTo>
                    <a:pt x="22037" y="5896"/>
                  </a:lnTo>
                  <a:lnTo>
                    <a:pt x="22037" y="5887"/>
                  </a:lnTo>
                  <a:lnTo>
                    <a:pt x="22055" y="5860"/>
                  </a:lnTo>
                  <a:lnTo>
                    <a:pt x="22064" y="5860"/>
                  </a:lnTo>
                  <a:lnTo>
                    <a:pt x="22064" y="5851"/>
                  </a:lnTo>
                  <a:lnTo>
                    <a:pt x="22055" y="5851"/>
                  </a:lnTo>
                  <a:lnTo>
                    <a:pt x="22055" y="5843"/>
                  </a:lnTo>
                  <a:lnTo>
                    <a:pt x="22046" y="5843"/>
                  </a:lnTo>
                  <a:lnTo>
                    <a:pt x="22046" y="5834"/>
                  </a:lnTo>
                  <a:lnTo>
                    <a:pt x="22055" y="5825"/>
                  </a:lnTo>
                  <a:lnTo>
                    <a:pt x="22037" y="5825"/>
                  </a:lnTo>
                  <a:lnTo>
                    <a:pt x="22028" y="5825"/>
                  </a:lnTo>
                  <a:lnTo>
                    <a:pt x="22028" y="5816"/>
                  </a:lnTo>
                  <a:lnTo>
                    <a:pt x="22037" y="5807"/>
                  </a:lnTo>
                  <a:lnTo>
                    <a:pt x="22037" y="5798"/>
                  </a:lnTo>
                  <a:lnTo>
                    <a:pt x="22028" y="5798"/>
                  </a:lnTo>
                  <a:lnTo>
                    <a:pt x="22020" y="5798"/>
                  </a:lnTo>
                  <a:lnTo>
                    <a:pt x="22011" y="5798"/>
                  </a:lnTo>
                  <a:lnTo>
                    <a:pt x="22002" y="5798"/>
                  </a:lnTo>
                  <a:lnTo>
                    <a:pt x="21993" y="5790"/>
                  </a:lnTo>
                  <a:lnTo>
                    <a:pt x="21984" y="5790"/>
                  </a:lnTo>
                  <a:lnTo>
                    <a:pt x="21984" y="5781"/>
                  </a:lnTo>
                  <a:lnTo>
                    <a:pt x="21976" y="5772"/>
                  </a:lnTo>
                  <a:lnTo>
                    <a:pt x="21967" y="5772"/>
                  </a:lnTo>
                  <a:lnTo>
                    <a:pt x="21958" y="5772"/>
                  </a:lnTo>
                  <a:lnTo>
                    <a:pt x="21949" y="5781"/>
                  </a:lnTo>
                  <a:lnTo>
                    <a:pt x="21949" y="5790"/>
                  </a:lnTo>
                  <a:lnTo>
                    <a:pt x="21940" y="5798"/>
                  </a:lnTo>
                  <a:lnTo>
                    <a:pt x="21931" y="5798"/>
                  </a:lnTo>
                  <a:lnTo>
                    <a:pt x="21923" y="5798"/>
                  </a:lnTo>
                  <a:lnTo>
                    <a:pt x="21923" y="5807"/>
                  </a:lnTo>
                  <a:lnTo>
                    <a:pt x="21905" y="5807"/>
                  </a:lnTo>
                  <a:lnTo>
                    <a:pt x="21896" y="5816"/>
                  </a:lnTo>
                  <a:lnTo>
                    <a:pt x="21905" y="5816"/>
                  </a:lnTo>
                  <a:lnTo>
                    <a:pt x="21905" y="5825"/>
                  </a:lnTo>
                  <a:lnTo>
                    <a:pt x="21887" y="5816"/>
                  </a:lnTo>
                  <a:close/>
                  <a:moveTo>
                    <a:pt x="21279" y="6918"/>
                  </a:moveTo>
                  <a:lnTo>
                    <a:pt x="21287" y="6927"/>
                  </a:lnTo>
                  <a:lnTo>
                    <a:pt x="21287" y="6918"/>
                  </a:lnTo>
                  <a:close/>
                  <a:moveTo>
                    <a:pt x="21755" y="5710"/>
                  </a:moveTo>
                  <a:lnTo>
                    <a:pt x="21764" y="5701"/>
                  </a:lnTo>
                  <a:lnTo>
                    <a:pt x="21764" y="5710"/>
                  </a:lnTo>
                  <a:lnTo>
                    <a:pt x="21773" y="5710"/>
                  </a:lnTo>
                  <a:lnTo>
                    <a:pt x="21773" y="5701"/>
                  </a:lnTo>
                  <a:lnTo>
                    <a:pt x="21773" y="5693"/>
                  </a:lnTo>
                  <a:lnTo>
                    <a:pt x="21764" y="5693"/>
                  </a:lnTo>
                  <a:lnTo>
                    <a:pt x="21755" y="5693"/>
                  </a:lnTo>
                  <a:lnTo>
                    <a:pt x="21755" y="5701"/>
                  </a:lnTo>
                  <a:close/>
                  <a:moveTo>
                    <a:pt x="21746" y="6381"/>
                  </a:moveTo>
                  <a:lnTo>
                    <a:pt x="21737" y="6390"/>
                  </a:lnTo>
                  <a:lnTo>
                    <a:pt x="21737" y="6399"/>
                  </a:lnTo>
                  <a:lnTo>
                    <a:pt x="21746" y="6399"/>
                  </a:lnTo>
                  <a:lnTo>
                    <a:pt x="21755" y="6399"/>
                  </a:lnTo>
                  <a:lnTo>
                    <a:pt x="21746" y="6390"/>
                  </a:lnTo>
                  <a:lnTo>
                    <a:pt x="21755" y="6390"/>
                  </a:lnTo>
                  <a:lnTo>
                    <a:pt x="21755" y="6381"/>
                  </a:lnTo>
                  <a:lnTo>
                    <a:pt x="21755" y="6372"/>
                  </a:lnTo>
                  <a:lnTo>
                    <a:pt x="21764" y="6372"/>
                  </a:lnTo>
                  <a:lnTo>
                    <a:pt x="21773" y="6363"/>
                  </a:lnTo>
                  <a:lnTo>
                    <a:pt x="21781" y="6363"/>
                  </a:lnTo>
                  <a:lnTo>
                    <a:pt x="21781" y="6354"/>
                  </a:lnTo>
                  <a:lnTo>
                    <a:pt x="21790" y="6354"/>
                  </a:lnTo>
                  <a:lnTo>
                    <a:pt x="21790" y="6346"/>
                  </a:lnTo>
                  <a:lnTo>
                    <a:pt x="21781" y="6337"/>
                  </a:lnTo>
                  <a:lnTo>
                    <a:pt x="21781" y="6346"/>
                  </a:lnTo>
                  <a:lnTo>
                    <a:pt x="21773" y="6354"/>
                  </a:lnTo>
                  <a:lnTo>
                    <a:pt x="21764" y="6354"/>
                  </a:lnTo>
                  <a:lnTo>
                    <a:pt x="21755" y="6354"/>
                  </a:lnTo>
                  <a:lnTo>
                    <a:pt x="21755" y="6363"/>
                  </a:lnTo>
                  <a:lnTo>
                    <a:pt x="21764" y="6363"/>
                  </a:lnTo>
                  <a:lnTo>
                    <a:pt x="21755" y="6372"/>
                  </a:lnTo>
                  <a:lnTo>
                    <a:pt x="21746" y="6372"/>
                  </a:lnTo>
                  <a:close/>
                  <a:moveTo>
                    <a:pt x="21746" y="5710"/>
                  </a:moveTo>
                  <a:lnTo>
                    <a:pt x="21746" y="5719"/>
                  </a:lnTo>
                  <a:lnTo>
                    <a:pt x="21755" y="5719"/>
                  </a:lnTo>
                  <a:close/>
                  <a:moveTo>
                    <a:pt x="21896" y="5790"/>
                  </a:moveTo>
                  <a:lnTo>
                    <a:pt x="21896" y="5781"/>
                  </a:lnTo>
                  <a:lnTo>
                    <a:pt x="21887" y="5781"/>
                  </a:lnTo>
                  <a:lnTo>
                    <a:pt x="21887" y="5790"/>
                  </a:lnTo>
                  <a:close/>
                  <a:moveTo>
                    <a:pt x="21861" y="5737"/>
                  </a:moveTo>
                  <a:lnTo>
                    <a:pt x="21870" y="5745"/>
                  </a:lnTo>
                  <a:lnTo>
                    <a:pt x="21870" y="5737"/>
                  </a:lnTo>
                  <a:lnTo>
                    <a:pt x="21878" y="5719"/>
                  </a:lnTo>
                  <a:lnTo>
                    <a:pt x="21870" y="5719"/>
                  </a:lnTo>
                  <a:lnTo>
                    <a:pt x="21878" y="5710"/>
                  </a:lnTo>
                  <a:lnTo>
                    <a:pt x="21870" y="5710"/>
                  </a:lnTo>
                  <a:lnTo>
                    <a:pt x="21861" y="5719"/>
                  </a:lnTo>
                  <a:lnTo>
                    <a:pt x="21861" y="5728"/>
                  </a:lnTo>
                  <a:close/>
                  <a:moveTo>
                    <a:pt x="22672" y="5013"/>
                  </a:moveTo>
                  <a:lnTo>
                    <a:pt x="22664" y="5013"/>
                  </a:lnTo>
                  <a:lnTo>
                    <a:pt x="22655" y="5022"/>
                  </a:lnTo>
                  <a:lnTo>
                    <a:pt x="22646" y="5022"/>
                  </a:lnTo>
                  <a:lnTo>
                    <a:pt x="22646" y="5031"/>
                  </a:lnTo>
                  <a:lnTo>
                    <a:pt x="22637" y="5031"/>
                  </a:lnTo>
                  <a:lnTo>
                    <a:pt x="22637" y="5039"/>
                  </a:lnTo>
                  <a:lnTo>
                    <a:pt x="22637" y="5048"/>
                  </a:lnTo>
                  <a:lnTo>
                    <a:pt x="22637" y="5066"/>
                  </a:lnTo>
                  <a:lnTo>
                    <a:pt x="22646" y="5075"/>
                  </a:lnTo>
                  <a:lnTo>
                    <a:pt x="22655" y="5084"/>
                  </a:lnTo>
                  <a:lnTo>
                    <a:pt x="22655" y="5092"/>
                  </a:lnTo>
                  <a:lnTo>
                    <a:pt x="22655" y="5101"/>
                  </a:lnTo>
                  <a:lnTo>
                    <a:pt x="22646" y="5110"/>
                  </a:lnTo>
                  <a:lnTo>
                    <a:pt x="22646" y="5128"/>
                  </a:lnTo>
                  <a:lnTo>
                    <a:pt x="22655" y="5137"/>
                  </a:lnTo>
                  <a:lnTo>
                    <a:pt x="22664" y="5137"/>
                  </a:lnTo>
                  <a:lnTo>
                    <a:pt x="22672" y="5128"/>
                  </a:lnTo>
                  <a:lnTo>
                    <a:pt x="22681" y="5128"/>
                  </a:lnTo>
                  <a:lnTo>
                    <a:pt x="22681" y="5119"/>
                  </a:lnTo>
                  <a:lnTo>
                    <a:pt x="22690" y="5110"/>
                  </a:lnTo>
                  <a:lnTo>
                    <a:pt x="22699" y="5101"/>
                  </a:lnTo>
                  <a:lnTo>
                    <a:pt x="22708" y="5110"/>
                  </a:lnTo>
                  <a:lnTo>
                    <a:pt x="22717" y="5110"/>
                  </a:lnTo>
                  <a:lnTo>
                    <a:pt x="22725" y="5110"/>
                  </a:lnTo>
                  <a:lnTo>
                    <a:pt x="22734" y="5101"/>
                  </a:lnTo>
                  <a:lnTo>
                    <a:pt x="22725" y="5101"/>
                  </a:lnTo>
                  <a:lnTo>
                    <a:pt x="22717" y="5092"/>
                  </a:lnTo>
                  <a:lnTo>
                    <a:pt x="22699" y="5075"/>
                  </a:lnTo>
                  <a:lnTo>
                    <a:pt x="22690" y="5075"/>
                  </a:lnTo>
                  <a:lnTo>
                    <a:pt x="22681" y="5066"/>
                  </a:lnTo>
                  <a:lnTo>
                    <a:pt x="22672" y="5057"/>
                  </a:lnTo>
                  <a:lnTo>
                    <a:pt x="22672" y="5048"/>
                  </a:lnTo>
                  <a:lnTo>
                    <a:pt x="22672" y="5039"/>
                  </a:lnTo>
                  <a:lnTo>
                    <a:pt x="22681" y="5039"/>
                  </a:lnTo>
                  <a:lnTo>
                    <a:pt x="22690" y="5039"/>
                  </a:lnTo>
                  <a:lnTo>
                    <a:pt x="22699" y="5039"/>
                  </a:lnTo>
                  <a:lnTo>
                    <a:pt x="22708" y="5039"/>
                  </a:lnTo>
                  <a:lnTo>
                    <a:pt x="22717" y="5057"/>
                  </a:lnTo>
                  <a:lnTo>
                    <a:pt x="22752" y="5039"/>
                  </a:lnTo>
                  <a:lnTo>
                    <a:pt x="22787" y="5039"/>
                  </a:lnTo>
                  <a:lnTo>
                    <a:pt x="22805" y="5048"/>
                  </a:lnTo>
                  <a:lnTo>
                    <a:pt x="22831" y="5066"/>
                  </a:lnTo>
                  <a:lnTo>
                    <a:pt x="22858" y="5075"/>
                  </a:lnTo>
                  <a:lnTo>
                    <a:pt x="22875" y="5084"/>
                  </a:lnTo>
                  <a:lnTo>
                    <a:pt x="22884" y="5084"/>
                  </a:lnTo>
                  <a:lnTo>
                    <a:pt x="22893" y="5084"/>
                  </a:lnTo>
                  <a:lnTo>
                    <a:pt x="22893" y="5075"/>
                  </a:lnTo>
                  <a:lnTo>
                    <a:pt x="22893" y="5066"/>
                  </a:lnTo>
                  <a:lnTo>
                    <a:pt x="22893" y="5057"/>
                  </a:lnTo>
                  <a:lnTo>
                    <a:pt x="22902" y="5048"/>
                  </a:lnTo>
                  <a:lnTo>
                    <a:pt x="22911" y="5031"/>
                  </a:lnTo>
                  <a:lnTo>
                    <a:pt x="22928" y="5022"/>
                  </a:lnTo>
                  <a:lnTo>
                    <a:pt x="22937" y="5013"/>
                  </a:lnTo>
                  <a:lnTo>
                    <a:pt x="22955" y="5004"/>
                  </a:lnTo>
                  <a:lnTo>
                    <a:pt x="22964" y="4995"/>
                  </a:lnTo>
                  <a:lnTo>
                    <a:pt x="22981" y="5004"/>
                  </a:lnTo>
                  <a:lnTo>
                    <a:pt x="22990" y="5004"/>
                  </a:lnTo>
                  <a:lnTo>
                    <a:pt x="22999" y="4995"/>
                  </a:lnTo>
                  <a:lnTo>
                    <a:pt x="23008" y="4995"/>
                  </a:lnTo>
                  <a:lnTo>
                    <a:pt x="23017" y="4995"/>
                  </a:lnTo>
                  <a:lnTo>
                    <a:pt x="23025" y="4986"/>
                  </a:lnTo>
                  <a:lnTo>
                    <a:pt x="23034" y="4986"/>
                  </a:lnTo>
                  <a:lnTo>
                    <a:pt x="23043" y="4986"/>
                  </a:lnTo>
                  <a:lnTo>
                    <a:pt x="23043" y="4978"/>
                  </a:lnTo>
                  <a:lnTo>
                    <a:pt x="23052" y="4986"/>
                  </a:lnTo>
                  <a:lnTo>
                    <a:pt x="23052" y="4978"/>
                  </a:lnTo>
                  <a:lnTo>
                    <a:pt x="23061" y="4969"/>
                  </a:lnTo>
                  <a:lnTo>
                    <a:pt x="23069" y="4969"/>
                  </a:lnTo>
                  <a:lnTo>
                    <a:pt x="23078" y="4960"/>
                  </a:lnTo>
                  <a:lnTo>
                    <a:pt x="23069" y="4960"/>
                  </a:lnTo>
                  <a:lnTo>
                    <a:pt x="23061" y="4969"/>
                  </a:lnTo>
                  <a:lnTo>
                    <a:pt x="23052" y="4969"/>
                  </a:lnTo>
                  <a:lnTo>
                    <a:pt x="23043" y="4969"/>
                  </a:lnTo>
                  <a:lnTo>
                    <a:pt x="23034" y="4960"/>
                  </a:lnTo>
                  <a:lnTo>
                    <a:pt x="23034" y="4942"/>
                  </a:lnTo>
                  <a:lnTo>
                    <a:pt x="23025" y="4942"/>
                  </a:lnTo>
                  <a:lnTo>
                    <a:pt x="23025" y="4934"/>
                  </a:lnTo>
                  <a:lnTo>
                    <a:pt x="23025" y="4925"/>
                  </a:lnTo>
                  <a:lnTo>
                    <a:pt x="23034" y="4898"/>
                  </a:lnTo>
                  <a:lnTo>
                    <a:pt x="23043" y="4889"/>
                  </a:lnTo>
                  <a:lnTo>
                    <a:pt x="23043" y="4881"/>
                  </a:lnTo>
                  <a:lnTo>
                    <a:pt x="23025" y="4889"/>
                  </a:lnTo>
                  <a:lnTo>
                    <a:pt x="23008" y="4907"/>
                  </a:lnTo>
                  <a:lnTo>
                    <a:pt x="22999" y="4916"/>
                  </a:lnTo>
                  <a:lnTo>
                    <a:pt x="22990" y="4916"/>
                  </a:lnTo>
                  <a:lnTo>
                    <a:pt x="22981" y="4916"/>
                  </a:lnTo>
                  <a:lnTo>
                    <a:pt x="22946" y="4898"/>
                  </a:lnTo>
                  <a:lnTo>
                    <a:pt x="22937" y="4898"/>
                  </a:lnTo>
                  <a:lnTo>
                    <a:pt x="22928" y="4898"/>
                  </a:lnTo>
                  <a:lnTo>
                    <a:pt x="22920" y="4889"/>
                  </a:lnTo>
                  <a:lnTo>
                    <a:pt x="22911" y="4881"/>
                  </a:lnTo>
                  <a:lnTo>
                    <a:pt x="22893" y="4872"/>
                  </a:lnTo>
                  <a:lnTo>
                    <a:pt x="22875" y="4863"/>
                  </a:lnTo>
                  <a:lnTo>
                    <a:pt x="22858" y="4845"/>
                  </a:lnTo>
                  <a:lnTo>
                    <a:pt x="22849" y="4836"/>
                  </a:lnTo>
                  <a:lnTo>
                    <a:pt x="22822" y="4810"/>
                  </a:lnTo>
                  <a:lnTo>
                    <a:pt x="22805" y="4792"/>
                  </a:lnTo>
                  <a:lnTo>
                    <a:pt x="22796" y="4775"/>
                  </a:lnTo>
                  <a:lnTo>
                    <a:pt x="22787" y="4775"/>
                  </a:lnTo>
                  <a:lnTo>
                    <a:pt x="22778" y="4775"/>
                  </a:lnTo>
                  <a:lnTo>
                    <a:pt x="22778" y="4784"/>
                  </a:lnTo>
                  <a:lnTo>
                    <a:pt x="22770" y="4784"/>
                  </a:lnTo>
                  <a:lnTo>
                    <a:pt x="22770" y="4792"/>
                  </a:lnTo>
                  <a:lnTo>
                    <a:pt x="22761" y="4801"/>
                  </a:lnTo>
                  <a:lnTo>
                    <a:pt x="22770" y="4810"/>
                  </a:lnTo>
                  <a:lnTo>
                    <a:pt x="22778" y="4828"/>
                  </a:lnTo>
                  <a:lnTo>
                    <a:pt x="22778" y="4845"/>
                  </a:lnTo>
                  <a:lnTo>
                    <a:pt x="22778" y="4863"/>
                  </a:lnTo>
                  <a:lnTo>
                    <a:pt x="22778" y="4872"/>
                  </a:lnTo>
                  <a:lnTo>
                    <a:pt x="22770" y="4889"/>
                  </a:lnTo>
                  <a:lnTo>
                    <a:pt x="22770" y="4907"/>
                  </a:lnTo>
                  <a:lnTo>
                    <a:pt x="22770" y="4916"/>
                  </a:lnTo>
                  <a:lnTo>
                    <a:pt x="22752" y="4934"/>
                  </a:lnTo>
                  <a:lnTo>
                    <a:pt x="22752" y="4942"/>
                  </a:lnTo>
                  <a:lnTo>
                    <a:pt x="22752" y="4951"/>
                  </a:lnTo>
                  <a:lnTo>
                    <a:pt x="22752" y="4960"/>
                  </a:lnTo>
                  <a:lnTo>
                    <a:pt x="22752" y="4969"/>
                  </a:lnTo>
                  <a:lnTo>
                    <a:pt x="22743" y="4978"/>
                  </a:lnTo>
                  <a:lnTo>
                    <a:pt x="22734" y="4978"/>
                  </a:lnTo>
                  <a:lnTo>
                    <a:pt x="22717" y="4978"/>
                  </a:lnTo>
                  <a:lnTo>
                    <a:pt x="22708" y="4978"/>
                  </a:lnTo>
                  <a:lnTo>
                    <a:pt x="22690" y="4969"/>
                  </a:lnTo>
                  <a:lnTo>
                    <a:pt x="22681" y="4969"/>
                  </a:lnTo>
                  <a:lnTo>
                    <a:pt x="22672" y="4978"/>
                  </a:lnTo>
                  <a:lnTo>
                    <a:pt x="22681" y="4986"/>
                  </a:lnTo>
                  <a:lnTo>
                    <a:pt x="22681" y="4995"/>
                  </a:lnTo>
                  <a:lnTo>
                    <a:pt x="22681" y="5004"/>
                  </a:lnTo>
                  <a:close/>
                  <a:moveTo>
                    <a:pt x="22734" y="4810"/>
                  </a:moveTo>
                  <a:lnTo>
                    <a:pt x="22743" y="4810"/>
                  </a:lnTo>
                  <a:lnTo>
                    <a:pt x="22743" y="4801"/>
                  </a:lnTo>
                  <a:lnTo>
                    <a:pt x="22734" y="4792"/>
                  </a:lnTo>
                  <a:lnTo>
                    <a:pt x="22734" y="4801"/>
                  </a:lnTo>
                  <a:close/>
                  <a:moveTo>
                    <a:pt x="22725" y="4792"/>
                  </a:moveTo>
                  <a:lnTo>
                    <a:pt x="22725" y="4784"/>
                  </a:lnTo>
                  <a:lnTo>
                    <a:pt x="22725" y="4775"/>
                  </a:lnTo>
                  <a:lnTo>
                    <a:pt x="22717" y="4775"/>
                  </a:lnTo>
                  <a:lnTo>
                    <a:pt x="22717" y="4784"/>
                  </a:lnTo>
                  <a:close/>
                  <a:moveTo>
                    <a:pt x="22778" y="4104"/>
                  </a:moveTo>
                  <a:lnTo>
                    <a:pt x="22778" y="4113"/>
                  </a:lnTo>
                  <a:lnTo>
                    <a:pt x="22770" y="4122"/>
                  </a:lnTo>
                  <a:lnTo>
                    <a:pt x="22770" y="4130"/>
                  </a:lnTo>
                  <a:lnTo>
                    <a:pt x="22770" y="4166"/>
                  </a:lnTo>
                  <a:lnTo>
                    <a:pt x="22778" y="4175"/>
                  </a:lnTo>
                  <a:lnTo>
                    <a:pt x="22778" y="4183"/>
                  </a:lnTo>
                  <a:lnTo>
                    <a:pt x="22778" y="4192"/>
                  </a:lnTo>
                  <a:lnTo>
                    <a:pt x="22787" y="4192"/>
                  </a:lnTo>
                  <a:lnTo>
                    <a:pt x="22796" y="4201"/>
                  </a:lnTo>
                  <a:lnTo>
                    <a:pt x="22805" y="4210"/>
                  </a:lnTo>
                  <a:lnTo>
                    <a:pt x="22814" y="4236"/>
                  </a:lnTo>
                  <a:lnTo>
                    <a:pt x="22814" y="4254"/>
                  </a:lnTo>
                  <a:lnTo>
                    <a:pt x="22805" y="4263"/>
                  </a:lnTo>
                  <a:lnTo>
                    <a:pt x="22805" y="4280"/>
                  </a:lnTo>
                  <a:lnTo>
                    <a:pt x="22796" y="4289"/>
                  </a:lnTo>
                  <a:lnTo>
                    <a:pt x="22796" y="4307"/>
                  </a:lnTo>
                  <a:lnTo>
                    <a:pt x="22805" y="4325"/>
                  </a:lnTo>
                  <a:lnTo>
                    <a:pt x="22805" y="4333"/>
                  </a:lnTo>
                  <a:lnTo>
                    <a:pt x="22805" y="4395"/>
                  </a:lnTo>
                  <a:lnTo>
                    <a:pt x="22805" y="4404"/>
                  </a:lnTo>
                  <a:lnTo>
                    <a:pt x="22796" y="4422"/>
                  </a:lnTo>
                  <a:lnTo>
                    <a:pt x="22796" y="4439"/>
                  </a:lnTo>
                  <a:lnTo>
                    <a:pt x="22796" y="4448"/>
                  </a:lnTo>
                  <a:lnTo>
                    <a:pt x="22787" y="4475"/>
                  </a:lnTo>
                  <a:lnTo>
                    <a:pt x="22787" y="4483"/>
                  </a:lnTo>
                  <a:lnTo>
                    <a:pt x="22796" y="4501"/>
                  </a:lnTo>
                  <a:lnTo>
                    <a:pt x="22805" y="4519"/>
                  </a:lnTo>
                  <a:lnTo>
                    <a:pt x="22805" y="4536"/>
                  </a:lnTo>
                  <a:lnTo>
                    <a:pt x="22805" y="4554"/>
                  </a:lnTo>
                  <a:lnTo>
                    <a:pt x="22805" y="4563"/>
                  </a:lnTo>
                  <a:lnTo>
                    <a:pt x="22796" y="4572"/>
                  </a:lnTo>
                  <a:lnTo>
                    <a:pt x="22796" y="4581"/>
                  </a:lnTo>
                  <a:lnTo>
                    <a:pt x="22796" y="4607"/>
                  </a:lnTo>
                  <a:lnTo>
                    <a:pt x="22796" y="4616"/>
                  </a:lnTo>
                  <a:lnTo>
                    <a:pt x="22796" y="4625"/>
                  </a:lnTo>
                  <a:lnTo>
                    <a:pt x="22796" y="4633"/>
                  </a:lnTo>
                  <a:lnTo>
                    <a:pt x="22787" y="4660"/>
                  </a:lnTo>
                  <a:lnTo>
                    <a:pt x="22778" y="4686"/>
                  </a:lnTo>
                  <a:lnTo>
                    <a:pt x="22787" y="4713"/>
                  </a:lnTo>
                  <a:lnTo>
                    <a:pt x="22787" y="4722"/>
                  </a:lnTo>
                  <a:lnTo>
                    <a:pt x="22796" y="4722"/>
                  </a:lnTo>
                  <a:lnTo>
                    <a:pt x="22796" y="4731"/>
                  </a:lnTo>
                  <a:lnTo>
                    <a:pt x="22805" y="4731"/>
                  </a:lnTo>
                  <a:lnTo>
                    <a:pt x="22814" y="4722"/>
                  </a:lnTo>
                  <a:lnTo>
                    <a:pt x="22814" y="4695"/>
                  </a:lnTo>
                  <a:lnTo>
                    <a:pt x="22822" y="4686"/>
                  </a:lnTo>
                  <a:lnTo>
                    <a:pt x="22822" y="4678"/>
                  </a:lnTo>
                  <a:lnTo>
                    <a:pt x="22831" y="4669"/>
                  </a:lnTo>
                  <a:lnTo>
                    <a:pt x="22840" y="4660"/>
                  </a:lnTo>
                  <a:lnTo>
                    <a:pt x="22849" y="4660"/>
                  </a:lnTo>
                  <a:lnTo>
                    <a:pt x="22849" y="4669"/>
                  </a:lnTo>
                  <a:lnTo>
                    <a:pt x="22858" y="4669"/>
                  </a:lnTo>
                  <a:lnTo>
                    <a:pt x="22875" y="4669"/>
                  </a:lnTo>
                  <a:lnTo>
                    <a:pt x="22893" y="4678"/>
                  </a:lnTo>
                  <a:lnTo>
                    <a:pt x="22893" y="4686"/>
                  </a:lnTo>
                  <a:lnTo>
                    <a:pt x="22893" y="4695"/>
                  </a:lnTo>
                  <a:lnTo>
                    <a:pt x="22902" y="4704"/>
                  </a:lnTo>
                  <a:lnTo>
                    <a:pt x="22902" y="4722"/>
                  </a:lnTo>
                  <a:lnTo>
                    <a:pt x="22902" y="4713"/>
                  </a:lnTo>
                  <a:lnTo>
                    <a:pt x="22902" y="4704"/>
                  </a:lnTo>
                  <a:lnTo>
                    <a:pt x="22911" y="4695"/>
                  </a:lnTo>
                  <a:lnTo>
                    <a:pt x="22911" y="4686"/>
                  </a:lnTo>
                  <a:lnTo>
                    <a:pt x="22911" y="4678"/>
                  </a:lnTo>
                  <a:lnTo>
                    <a:pt x="22902" y="4660"/>
                  </a:lnTo>
                  <a:lnTo>
                    <a:pt x="22902" y="4651"/>
                  </a:lnTo>
                  <a:lnTo>
                    <a:pt x="22893" y="4651"/>
                  </a:lnTo>
                  <a:lnTo>
                    <a:pt x="22884" y="4651"/>
                  </a:lnTo>
                  <a:lnTo>
                    <a:pt x="22875" y="4633"/>
                  </a:lnTo>
                  <a:lnTo>
                    <a:pt x="22867" y="4616"/>
                  </a:lnTo>
                  <a:lnTo>
                    <a:pt x="22867" y="4607"/>
                  </a:lnTo>
                  <a:lnTo>
                    <a:pt x="22858" y="4598"/>
                  </a:lnTo>
                  <a:lnTo>
                    <a:pt x="22849" y="4589"/>
                  </a:lnTo>
                  <a:lnTo>
                    <a:pt x="22840" y="4589"/>
                  </a:lnTo>
                  <a:lnTo>
                    <a:pt x="22840" y="4572"/>
                  </a:lnTo>
                  <a:lnTo>
                    <a:pt x="22840" y="4563"/>
                  </a:lnTo>
                  <a:lnTo>
                    <a:pt x="22831" y="4554"/>
                  </a:lnTo>
                  <a:lnTo>
                    <a:pt x="22840" y="4536"/>
                  </a:lnTo>
                  <a:lnTo>
                    <a:pt x="22840" y="4519"/>
                  </a:lnTo>
                  <a:lnTo>
                    <a:pt x="22867" y="4457"/>
                  </a:lnTo>
                  <a:lnTo>
                    <a:pt x="22867" y="4439"/>
                  </a:lnTo>
                  <a:lnTo>
                    <a:pt x="22875" y="4430"/>
                  </a:lnTo>
                  <a:lnTo>
                    <a:pt x="22884" y="4422"/>
                  </a:lnTo>
                  <a:lnTo>
                    <a:pt x="22893" y="4422"/>
                  </a:lnTo>
                  <a:lnTo>
                    <a:pt x="22920" y="4422"/>
                  </a:lnTo>
                  <a:lnTo>
                    <a:pt x="22928" y="4422"/>
                  </a:lnTo>
                  <a:lnTo>
                    <a:pt x="22937" y="4422"/>
                  </a:lnTo>
                  <a:lnTo>
                    <a:pt x="22946" y="4422"/>
                  </a:lnTo>
                  <a:lnTo>
                    <a:pt x="22955" y="4430"/>
                  </a:lnTo>
                  <a:lnTo>
                    <a:pt x="22964" y="4439"/>
                  </a:lnTo>
                  <a:lnTo>
                    <a:pt x="22972" y="4448"/>
                  </a:lnTo>
                  <a:lnTo>
                    <a:pt x="22981" y="4457"/>
                  </a:lnTo>
                  <a:lnTo>
                    <a:pt x="22990" y="4466"/>
                  </a:lnTo>
                  <a:lnTo>
                    <a:pt x="22990" y="4475"/>
                  </a:lnTo>
                  <a:lnTo>
                    <a:pt x="22999" y="4483"/>
                  </a:lnTo>
                  <a:lnTo>
                    <a:pt x="22990" y="4466"/>
                  </a:lnTo>
                  <a:lnTo>
                    <a:pt x="22990" y="4457"/>
                  </a:lnTo>
                  <a:lnTo>
                    <a:pt x="22972" y="4439"/>
                  </a:lnTo>
                  <a:lnTo>
                    <a:pt x="22964" y="4430"/>
                  </a:lnTo>
                  <a:lnTo>
                    <a:pt x="22964" y="4422"/>
                  </a:lnTo>
                  <a:lnTo>
                    <a:pt x="22964" y="4404"/>
                  </a:lnTo>
                  <a:lnTo>
                    <a:pt x="22955" y="4395"/>
                  </a:lnTo>
                  <a:lnTo>
                    <a:pt x="22955" y="4386"/>
                  </a:lnTo>
                  <a:lnTo>
                    <a:pt x="22946" y="4360"/>
                  </a:lnTo>
                  <a:lnTo>
                    <a:pt x="22928" y="4325"/>
                  </a:lnTo>
                  <a:lnTo>
                    <a:pt x="22920" y="4307"/>
                  </a:lnTo>
                  <a:lnTo>
                    <a:pt x="22911" y="4236"/>
                  </a:lnTo>
                  <a:lnTo>
                    <a:pt x="22902" y="4227"/>
                  </a:lnTo>
                  <a:lnTo>
                    <a:pt x="22902" y="4219"/>
                  </a:lnTo>
                  <a:lnTo>
                    <a:pt x="22902" y="4210"/>
                  </a:lnTo>
                  <a:lnTo>
                    <a:pt x="22902" y="4201"/>
                  </a:lnTo>
                  <a:lnTo>
                    <a:pt x="22893" y="4201"/>
                  </a:lnTo>
                  <a:lnTo>
                    <a:pt x="22893" y="4192"/>
                  </a:lnTo>
                  <a:lnTo>
                    <a:pt x="22893" y="4183"/>
                  </a:lnTo>
                  <a:lnTo>
                    <a:pt x="22884" y="4175"/>
                  </a:lnTo>
                  <a:lnTo>
                    <a:pt x="22884" y="4166"/>
                  </a:lnTo>
                  <a:lnTo>
                    <a:pt x="22884" y="4148"/>
                  </a:lnTo>
                  <a:lnTo>
                    <a:pt x="22884" y="4122"/>
                  </a:lnTo>
                  <a:lnTo>
                    <a:pt x="22884" y="4113"/>
                  </a:lnTo>
                  <a:lnTo>
                    <a:pt x="22893" y="4104"/>
                  </a:lnTo>
                  <a:lnTo>
                    <a:pt x="22893" y="4095"/>
                  </a:lnTo>
                  <a:lnTo>
                    <a:pt x="22893" y="4086"/>
                  </a:lnTo>
                  <a:lnTo>
                    <a:pt x="22893" y="4060"/>
                  </a:lnTo>
                  <a:lnTo>
                    <a:pt x="22893" y="4042"/>
                  </a:lnTo>
                  <a:lnTo>
                    <a:pt x="22884" y="4033"/>
                  </a:lnTo>
                  <a:lnTo>
                    <a:pt x="22875" y="4007"/>
                  </a:lnTo>
                  <a:lnTo>
                    <a:pt x="22867" y="3980"/>
                  </a:lnTo>
                  <a:lnTo>
                    <a:pt x="22858" y="3972"/>
                  </a:lnTo>
                  <a:lnTo>
                    <a:pt x="22867" y="3963"/>
                  </a:lnTo>
                  <a:lnTo>
                    <a:pt x="22867" y="3954"/>
                  </a:lnTo>
                  <a:lnTo>
                    <a:pt x="22867" y="3945"/>
                  </a:lnTo>
                  <a:lnTo>
                    <a:pt x="22849" y="3919"/>
                  </a:lnTo>
                  <a:lnTo>
                    <a:pt x="22840" y="3919"/>
                  </a:lnTo>
                  <a:lnTo>
                    <a:pt x="22840" y="3927"/>
                  </a:lnTo>
                  <a:lnTo>
                    <a:pt x="22822" y="3927"/>
                  </a:lnTo>
                  <a:lnTo>
                    <a:pt x="22831" y="3945"/>
                  </a:lnTo>
                  <a:lnTo>
                    <a:pt x="22840" y="3963"/>
                  </a:lnTo>
                  <a:lnTo>
                    <a:pt x="22849" y="3972"/>
                  </a:lnTo>
                  <a:lnTo>
                    <a:pt x="22849" y="3980"/>
                  </a:lnTo>
                  <a:lnTo>
                    <a:pt x="22840" y="3989"/>
                  </a:lnTo>
                  <a:lnTo>
                    <a:pt x="22849" y="3989"/>
                  </a:lnTo>
                  <a:lnTo>
                    <a:pt x="22840" y="3998"/>
                  </a:lnTo>
                  <a:lnTo>
                    <a:pt x="22831" y="3998"/>
                  </a:lnTo>
                  <a:lnTo>
                    <a:pt x="22840" y="4007"/>
                  </a:lnTo>
                  <a:lnTo>
                    <a:pt x="22831" y="4016"/>
                  </a:lnTo>
                  <a:lnTo>
                    <a:pt x="22822" y="4016"/>
                  </a:lnTo>
                  <a:lnTo>
                    <a:pt x="22805" y="4007"/>
                  </a:lnTo>
                  <a:lnTo>
                    <a:pt x="22796" y="4016"/>
                  </a:lnTo>
                  <a:lnTo>
                    <a:pt x="22787" y="4024"/>
                  </a:lnTo>
                  <a:lnTo>
                    <a:pt x="22778" y="4024"/>
                  </a:lnTo>
                  <a:lnTo>
                    <a:pt x="22787" y="4042"/>
                  </a:lnTo>
                  <a:lnTo>
                    <a:pt x="22787" y="4060"/>
                  </a:lnTo>
                  <a:lnTo>
                    <a:pt x="22787" y="4077"/>
                  </a:lnTo>
                  <a:close/>
                  <a:moveTo>
                    <a:pt x="22611" y="5084"/>
                  </a:moveTo>
                  <a:lnTo>
                    <a:pt x="22611" y="5075"/>
                  </a:lnTo>
                  <a:lnTo>
                    <a:pt x="22620" y="5066"/>
                  </a:lnTo>
                  <a:lnTo>
                    <a:pt x="22611" y="5066"/>
                  </a:lnTo>
                  <a:lnTo>
                    <a:pt x="22602" y="5075"/>
                  </a:lnTo>
                  <a:lnTo>
                    <a:pt x="22611" y="5075"/>
                  </a:lnTo>
                  <a:close/>
                  <a:moveTo>
                    <a:pt x="22161" y="5587"/>
                  </a:moveTo>
                  <a:lnTo>
                    <a:pt x="22161" y="5578"/>
                  </a:lnTo>
                  <a:lnTo>
                    <a:pt x="22152" y="5569"/>
                  </a:lnTo>
                  <a:lnTo>
                    <a:pt x="22152" y="5578"/>
                  </a:lnTo>
                  <a:lnTo>
                    <a:pt x="22143" y="5578"/>
                  </a:lnTo>
                  <a:lnTo>
                    <a:pt x="22152" y="5587"/>
                  </a:lnTo>
                  <a:close/>
                  <a:moveTo>
                    <a:pt x="22126" y="5640"/>
                  </a:moveTo>
                  <a:lnTo>
                    <a:pt x="22117" y="5648"/>
                  </a:lnTo>
                  <a:lnTo>
                    <a:pt x="22108" y="5648"/>
                  </a:lnTo>
                  <a:lnTo>
                    <a:pt x="22108" y="5657"/>
                  </a:lnTo>
                  <a:lnTo>
                    <a:pt x="22090" y="5675"/>
                  </a:lnTo>
                  <a:lnTo>
                    <a:pt x="22081" y="5684"/>
                  </a:lnTo>
                  <a:lnTo>
                    <a:pt x="22073" y="5684"/>
                  </a:lnTo>
                  <a:lnTo>
                    <a:pt x="22064" y="5693"/>
                  </a:lnTo>
                  <a:lnTo>
                    <a:pt x="22055" y="5701"/>
                  </a:lnTo>
                  <a:lnTo>
                    <a:pt x="22046" y="5710"/>
                  </a:lnTo>
                  <a:lnTo>
                    <a:pt x="22037" y="5710"/>
                  </a:lnTo>
                  <a:lnTo>
                    <a:pt x="22028" y="5719"/>
                  </a:lnTo>
                  <a:lnTo>
                    <a:pt x="22020" y="5728"/>
                  </a:lnTo>
                  <a:lnTo>
                    <a:pt x="22011" y="5737"/>
                  </a:lnTo>
                  <a:lnTo>
                    <a:pt x="22002" y="5737"/>
                  </a:lnTo>
                  <a:lnTo>
                    <a:pt x="21993" y="5737"/>
                  </a:lnTo>
                  <a:lnTo>
                    <a:pt x="21984" y="5737"/>
                  </a:lnTo>
                  <a:lnTo>
                    <a:pt x="21976" y="5745"/>
                  </a:lnTo>
                  <a:lnTo>
                    <a:pt x="21984" y="5772"/>
                  </a:lnTo>
                  <a:lnTo>
                    <a:pt x="21984" y="5763"/>
                  </a:lnTo>
                  <a:lnTo>
                    <a:pt x="21993" y="5763"/>
                  </a:lnTo>
                  <a:lnTo>
                    <a:pt x="22002" y="5772"/>
                  </a:lnTo>
                  <a:lnTo>
                    <a:pt x="22011" y="5772"/>
                  </a:lnTo>
                  <a:lnTo>
                    <a:pt x="22020" y="5763"/>
                  </a:lnTo>
                  <a:lnTo>
                    <a:pt x="22037" y="5763"/>
                  </a:lnTo>
                  <a:lnTo>
                    <a:pt x="22046" y="5763"/>
                  </a:lnTo>
                  <a:lnTo>
                    <a:pt x="22064" y="5781"/>
                  </a:lnTo>
                  <a:lnTo>
                    <a:pt x="22073" y="5781"/>
                  </a:lnTo>
                  <a:lnTo>
                    <a:pt x="22073" y="5772"/>
                  </a:lnTo>
                  <a:lnTo>
                    <a:pt x="22073" y="5763"/>
                  </a:lnTo>
                  <a:lnTo>
                    <a:pt x="22081" y="5745"/>
                  </a:lnTo>
                  <a:lnTo>
                    <a:pt x="22081" y="5737"/>
                  </a:lnTo>
                  <a:lnTo>
                    <a:pt x="22090" y="5737"/>
                  </a:lnTo>
                  <a:lnTo>
                    <a:pt x="22099" y="5745"/>
                  </a:lnTo>
                  <a:lnTo>
                    <a:pt x="22108" y="5745"/>
                  </a:lnTo>
                  <a:lnTo>
                    <a:pt x="22117" y="5745"/>
                  </a:lnTo>
                  <a:lnTo>
                    <a:pt x="22134" y="5737"/>
                  </a:lnTo>
                  <a:lnTo>
                    <a:pt x="22143" y="5745"/>
                  </a:lnTo>
                  <a:lnTo>
                    <a:pt x="22152" y="5737"/>
                  </a:lnTo>
                  <a:lnTo>
                    <a:pt x="22161" y="5737"/>
                  </a:lnTo>
                  <a:lnTo>
                    <a:pt x="22170" y="5728"/>
                  </a:lnTo>
                  <a:lnTo>
                    <a:pt x="22178" y="5728"/>
                  </a:lnTo>
                  <a:lnTo>
                    <a:pt x="22187" y="5728"/>
                  </a:lnTo>
                  <a:lnTo>
                    <a:pt x="22196" y="5728"/>
                  </a:lnTo>
                  <a:lnTo>
                    <a:pt x="22205" y="5728"/>
                  </a:lnTo>
                  <a:lnTo>
                    <a:pt x="22214" y="5719"/>
                  </a:lnTo>
                  <a:lnTo>
                    <a:pt x="22223" y="5710"/>
                  </a:lnTo>
                  <a:lnTo>
                    <a:pt x="22231" y="5710"/>
                  </a:lnTo>
                  <a:lnTo>
                    <a:pt x="22240" y="5701"/>
                  </a:lnTo>
                  <a:lnTo>
                    <a:pt x="22249" y="5701"/>
                  </a:lnTo>
                  <a:lnTo>
                    <a:pt x="22258" y="5701"/>
                  </a:lnTo>
                  <a:lnTo>
                    <a:pt x="22267" y="5701"/>
                  </a:lnTo>
                  <a:lnTo>
                    <a:pt x="22275" y="5710"/>
                  </a:lnTo>
                  <a:lnTo>
                    <a:pt x="22284" y="5719"/>
                  </a:lnTo>
                  <a:lnTo>
                    <a:pt x="22293" y="5710"/>
                  </a:lnTo>
                  <a:lnTo>
                    <a:pt x="22311" y="5710"/>
                  </a:lnTo>
                  <a:lnTo>
                    <a:pt x="22311" y="5719"/>
                  </a:lnTo>
                  <a:lnTo>
                    <a:pt x="22311" y="5728"/>
                  </a:lnTo>
                  <a:lnTo>
                    <a:pt x="22302" y="5737"/>
                  </a:lnTo>
                  <a:lnTo>
                    <a:pt x="22293" y="5737"/>
                  </a:lnTo>
                  <a:lnTo>
                    <a:pt x="22284" y="5745"/>
                  </a:lnTo>
                  <a:lnTo>
                    <a:pt x="22293" y="5754"/>
                  </a:lnTo>
                  <a:lnTo>
                    <a:pt x="22293" y="5763"/>
                  </a:lnTo>
                  <a:lnTo>
                    <a:pt x="22293" y="5772"/>
                  </a:lnTo>
                  <a:lnTo>
                    <a:pt x="22302" y="5781"/>
                  </a:lnTo>
                  <a:lnTo>
                    <a:pt x="22302" y="5790"/>
                  </a:lnTo>
                  <a:lnTo>
                    <a:pt x="22311" y="5798"/>
                  </a:lnTo>
                  <a:lnTo>
                    <a:pt x="22311" y="5807"/>
                  </a:lnTo>
                  <a:lnTo>
                    <a:pt x="22328" y="5807"/>
                  </a:lnTo>
                  <a:lnTo>
                    <a:pt x="22346" y="5807"/>
                  </a:lnTo>
                  <a:lnTo>
                    <a:pt x="22364" y="5790"/>
                  </a:lnTo>
                  <a:lnTo>
                    <a:pt x="22373" y="5763"/>
                  </a:lnTo>
                  <a:lnTo>
                    <a:pt x="22381" y="5754"/>
                  </a:lnTo>
                  <a:lnTo>
                    <a:pt x="22390" y="5745"/>
                  </a:lnTo>
                  <a:lnTo>
                    <a:pt x="22417" y="5745"/>
                  </a:lnTo>
                  <a:lnTo>
                    <a:pt x="22417" y="5737"/>
                  </a:lnTo>
                  <a:lnTo>
                    <a:pt x="22417" y="5728"/>
                  </a:lnTo>
                  <a:lnTo>
                    <a:pt x="22399" y="5719"/>
                  </a:lnTo>
                  <a:lnTo>
                    <a:pt x="22390" y="5710"/>
                  </a:lnTo>
                  <a:lnTo>
                    <a:pt x="22399" y="5701"/>
                  </a:lnTo>
                  <a:lnTo>
                    <a:pt x="22408" y="5684"/>
                  </a:lnTo>
                  <a:lnTo>
                    <a:pt x="22417" y="5684"/>
                  </a:lnTo>
                  <a:lnTo>
                    <a:pt x="22417" y="5693"/>
                  </a:lnTo>
                  <a:lnTo>
                    <a:pt x="22417" y="5701"/>
                  </a:lnTo>
                  <a:lnTo>
                    <a:pt x="22417" y="5710"/>
                  </a:lnTo>
                  <a:lnTo>
                    <a:pt x="22425" y="5710"/>
                  </a:lnTo>
                  <a:lnTo>
                    <a:pt x="22425" y="5701"/>
                  </a:lnTo>
                  <a:lnTo>
                    <a:pt x="22434" y="5701"/>
                  </a:lnTo>
                  <a:lnTo>
                    <a:pt x="22443" y="5701"/>
                  </a:lnTo>
                  <a:lnTo>
                    <a:pt x="22452" y="5701"/>
                  </a:lnTo>
                  <a:lnTo>
                    <a:pt x="22452" y="5710"/>
                  </a:lnTo>
                  <a:lnTo>
                    <a:pt x="22434" y="5719"/>
                  </a:lnTo>
                  <a:lnTo>
                    <a:pt x="22452" y="5710"/>
                  </a:lnTo>
                  <a:lnTo>
                    <a:pt x="22470" y="5710"/>
                  </a:lnTo>
                  <a:lnTo>
                    <a:pt x="22478" y="5710"/>
                  </a:lnTo>
                  <a:lnTo>
                    <a:pt x="22487" y="5710"/>
                  </a:lnTo>
                  <a:lnTo>
                    <a:pt x="22496" y="5710"/>
                  </a:lnTo>
                  <a:lnTo>
                    <a:pt x="22514" y="5719"/>
                  </a:lnTo>
                  <a:lnTo>
                    <a:pt x="22523" y="5710"/>
                  </a:lnTo>
                  <a:lnTo>
                    <a:pt x="22523" y="5701"/>
                  </a:lnTo>
                  <a:lnTo>
                    <a:pt x="22531" y="5693"/>
                  </a:lnTo>
                  <a:lnTo>
                    <a:pt x="22540" y="5684"/>
                  </a:lnTo>
                  <a:lnTo>
                    <a:pt x="22540" y="5675"/>
                  </a:lnTo>
                  <a:lnTo>
                    <a:pt x="22558" y="5675"/>
                  </a:lnTo>
                  <a:lnTo>
                    <a:pt x="22567" y="5684"/>
                  </a:lnTo>
                  <a:lnTo>
                    <a:pt x="22558" y="5684"/>
                  </a:lnTo>
                  <a:lnTo>
                    <a:pt x="22558" y="5693"/>
                  </a:lnTo>
                  <a:lnTo>
                    <a:pt x="22558" y="5710"/>
                  </a:lnTo>
                  <a:lnTo>
                    <a:pt x="22567" y="5719"/>
                  </a:lnTo>
                  <a:lnTo>
                    <a:pt x="22575" y="5710"/>
                  </a:lnTo>
                  <a:lnTo>
                    <a:pt x="22584" y="5701"/>
                  </a:lnTo>
                  <a:lnTo>
                    <a:pt x="22584" y="5684"/>
                  </a:lnTo>
                  <a:lnTo>
                    <a:pt x="22584" y="5675"/>
                  </a:lnTo>
                  <a:lnTo>
                    <a:pt x="22584" y="5666"/>
                  </a:lnTo>
                  <a:lnTo>
                    <a:pt x="22593" y="5657"/>
                  </a:lnTo>
                  <a:lnTo>
                    <a:pt x="22602" y="5657"/>
                  </a:lnTo>
                  <a:lnTo>
                    <a:pt x="22611" y="5657"/>
                  </a:lnTo>
                  <a:lnTo>
                    <a:pt x="22620" y="5666"/>
                  </a:lnTo>
                  <a:lnTo>
                    <a:pt x="22620" y="5675"/>
                  </a:lnTo>
                  <a:lnTo>
                    <a:pt x="22628" y="5675"/>
                  </a:lnTo>
                  <a:lnTo>
                    <a:pt x="22628" y="5666"/>
                  </a:lnTo>
                  <a:lnTo>
                    <a:pt x="22628" y="5657"/>
                  </a:lnTo>
                  <a:lnTo>
                    <a:pt x="22620" y="5657"/>
                  </a:lnTo>
                  <a:lnTo>
                    <a:pt x="22620" y="5648"/>
                  </a:lnTo>
                  <a:lnTo>
                    <a:pt x="22628" y="5640"/>
                  </a:lnTo>
                  <a:lnTo>
                    <a:pt x="22628" y="5631"/>
                  </a:lnTo>
                  <a:lnTo>
                    <a:pt x="22637" y="5631"/>
                  </a:lnTo>
                  <a:lnTo>
                    <a:pt x="22646" y="5631"/>
                  </a:lnTo>
                  <a:lnTo>
                    <a:pt x="22655" y="5631"/>
                  </a:lnTo>
                  <a:lnTo>
                    <a:pt x="22655" y="5640"/>
                  </a:lnTo>
                  <a:lnTo>
                    <a:pt x="22646" y="5648"/>
                  </a:lnTo>
                  <a:lnTo>
                    <a:pt x="22637" y="5657"/>
                  </a:lnTo>
                  <a:lnTo>
                    <a:pt x="22637" y="5666"/>
                  </a:lnTo>
                  <a:lnTo>
                    <a:pt x="22637" y="5675"/>
                  </a:lnTo>
                  <a:lnTo>
                    <a:pt x="22637" y="5684"/>
                  </a:lnTo>
                  <a:lnTo>
                    <a:pt x="22637" y="5693"/>
                  </a:lnTo>
                  <a:lnTo>
                    <a:pt x="22646" y="5693"/>
                  </a:lnTo>
                  <a:lnTo>
                    <a:pt x="22655" y="5684"/>
                  </a:lnTo>
                  <a:lnTo>
                    <a:pt x="22664" y="5675"/>
                  </a:lnTo>
                  <a:lnTo>
                    <a:pt x="22672" y="5675"/>
                  </a:lnTo>
                  <a:lnTo>
                    <a:pt x="22672" y="5666"/>
                  </a:lnTo>
                  <a:lnTo>
                    <a:pt x="22681" y="5666"/>
                  </a:lnTo>
                  <a:lnTo>
                    <a:pt x="22681" y="5648"/>
                  </a:lnTo>
                  <a:lnTo>
                    <a:pt x="22681" y="5640"/>
                  </a:lnTo>
                  <a:lnTo>
                    <a:pt x="22690" y="5631"/>
                  </a:lnTo>
                  <a:lnTo>
                    <a:pt x="22699" y="5631"/>
                  </a:lnTo>
                  <a:lnTo>
                    <a:pt x="22717" y="5622"/>
                  </a:lnTo>
                  <a:lnTo>
                    <a:pt x="22708" y="5622"/>
                  </a:lnTo>
                  <a:lnTo>
                    <a:pt x="22708" y="5613"/>
                  </a:lnTo>
                  <a:lnTo>
                    <a:pt x="22690" y="5595"/>
                  </a:lnTo>
                  <a:lnTo>
                    <a:pt x="22690" y="5587"/>
                  </a:lnTo>
                  <a:lnTo>
                    <a:pt x="22690" y="5578"/>
                  </a:lnTo>
                  <a:lnTo>
                    <a:pt x="22690" y="5569"/>
                  </a:lnTo>
                  <a:lnTo>
                    <a:pt x="22690" y="5560"/>
                  </a:lnTo>
                  <a:lnTo>
                    <a:pt x="22699" y="5543"/>
                  </a:lnTo>
                  <a:lnTo>
                    <a:pt x="22708" y="5534"/>
                  </a:lnTo>
                  <a:lnTo>
                    <a:pt x="22708" y="5525"/>
                  </a:lnTo>
                  <a:lnTo>
                    <a:pt x="22717" y="5525"/>
                  </a:lnTo>
                  <a:lnTo>
                    <a:pt x="22717" y="5516"/>
                  </a:lnTo>
                  <a:lnTo>
                    <a:pt x="22725" y="5507"/>
                  </a:lnTo>
                  <a:lnTo>
                    <a:pt x="22725" y="5481"/>
                  </a:lnTo>
                  <a:lnTo>
                    <a:pt x="22725" y="5454"/>
                  </a:lnTo>
                  <a:lnTo>
                    <a:pt x="22717" y="5445"/>
                  </a:lnTo>
                  <a:lnTo>
                    <a:pt x="22717" y="5437"/>
                  </a:lnTo>
                  <a:lnTo>
                    <a:pt x="22717" y="5428"/>
                  </a:lnTo>
                  <a:lnTo>
                    <a:pt x="22717" y="5419"/>
                  </a:lnTo>
                  <a:lnTo>
                    <a:pt x="22725" y="5410"/>
                  </a:lnTo>
                  <a:lnTo>
                    <a:pt x="22725" y="5401"/>
                  </a:lnTo>
                  <a:lnTo>
                    <a:pt x="22743" y="5401"/>
                  </a:lnTo>
                  <a:lnTo>
                    <a:pt x="22752" y="5401"/>
                  </a:lnTo>
                  <a:lnTo>
                    <a:pt x="22761" y="5392"/>
                  </a:lnTo>
                  <a:lnTo>
                    <a:pt x="22761" y="5375"/>
                  </a:lnTo>
                  <a:lnTo>
                    <a:pt x="22761" y="5366"/>
                  </a:lnTo>
                  <a:lnTo>
                    <a:pt x="22770" y="5357"/>
                  </a:lnTo>
                  <a:lnTo>
                    <a:pt x="22770" y="5348"/>
                  </a:lnTo>
                  <a:lnTo>
                    <a:pt x="22778" y="5348"/>
                  </a:lnTo>
                  <a:lnTo>
                    <a:pt x="22778" y="5340"/>
                  </a:lnTo>
                  <a:lnTo>
                    <a:pt x="22787" y="5340"/>
                  </a:lnTo>
                  <a:lnTo>
                    <a:pt x="22787" y="5331"/>
                  </a:lnTo>
                  <a:lnTo>
                    <a:pt x="22796" y="5313"/>
                  </a:lnTo>
                  <a:lnTo>
                    <a:pt x="22796" y="5295"/>
                  </a:lnTo>
                  <a:lnTo>
                    <a:pt x="22796" y="5287"/>
                  </a:lnTo>
                  <a:lnTo>
                    <a:pt x="22796" y="5278"/>
                  </a:lnTo>
                  <a:lnTo>
                    <a:pt x="22787" y="5269"/>
                  </a:lnTo>
                  <a:lnTo>
                    <a:pt x="22787" y="5251"/>
                  </a:lnTo>
                  <a:lnTo>
                    <a:pt x="22778" y="5234"/>
                  </a:lnTo>
                  <a:lnTo>
                    <a:pt x="22770" y="5216"/>
                  </a:lnTo>
                  <a:lnTo>
                    <a:pt x="22761" y="5216"/>
                  </a:lnTo>
                  <a:lnTo>
                    <a:pt x="22752" y="5207"/>
                  </a:lnTo>
                  <a:lnTo>
                    <a:pt x="22752" y="5198"/>
                  </a:lnTo>
                  <a:lnTo>
                    <a:pt x="22752" y="5189"/>
                  </a:lnTo>
                  <a:lnTo>
                    <a:pt x="22752" y="5163"/>
                  </a:lnTo>
                  <a:lnTo>
                    <a:pt x="22752" y="5154"/>
                  </a:lnTo>
                  <a:lnTo>
                    <a:pt x="22752" y="5137"/>
                  </a:lnTo>
                  <a:lnTo>
                    <a:pt x="22743" y="5145"/>
                  </a:lnTo>
                  <a:lnTo>
                    <a:pt x="22734" y="5145"/>
                  </a:lnTo>
                  <a:lnTo>
                    <a:pt x="22725" y="5137"/>
                  </a:lnTo>
                  <a:lnTo>
                    <a:pt x="22717" y="5128"/>
                  </a:lnTo>
                  <a:lnTo>
                    <a:pt x="22717" y="5137"/>
                  </a:lnTo>
                  <a:lnTo>
                    <a:pt x="22708" y="5137"/>
                  </a:lnTo>
                  <a:lnTo>
                    <a:pt x="22708" y="5154"/>
                  </a:lnTo>
                  <a:lnTo>
                    <a:pt x="22708" y="5163"/>
                  </a:lnTo>
                  <a:lnTo>
                    <a:pt x="22725" y="5154"/>
                  </a:lnTo>
                  <a:lnTo>
                    <a:pt x="22734" y="5154"/>
                  </a:lnTo>
                  <a:lnTo>
                    <a:pt x="22743" y="5154"/>
                  </a:lnTo>
                  <a:lnTo>
                    <a:pt x="22743" y="5163"/>
                  </a:lnTo>
                  <a:lnTo>
                    <a:pt x="22734" y="5172"/>
                  </a:lnTo>
                  <a:lnTo>
                    <a:pt x="22734" y="5181"/>
                  </a:lnTo>
                  <a:lnTo>
                    <a:pt x="22717" y="5181"/>
                  </a:lnTo>
                  <a:lnTo>
                    <a:pt x="22708" y="5189"/>
                  </a:lnTo>
                  <a:lnTo>
                    <a:pt x="22699" y="5189"/>
                  </a:lnTo>
                  <a:lnTo>
                    <a:pt x="22699" y="5181"/>
                  </a:lnTo>
                  <a:lnTo>
                    <a:pt x="22699" y="5163"/>
                  </a:lnTo>
                  <a:lnTo>
                    <a:pt x="22690" y="5154"/>
                  </a:lnTo>
                  <a:lnTo>
                    <a:pt x="22681" y="5154"/>
                  </a:lnTo>
                  <a:lnTo>
                    <a:pt x="22672" y="5154"/>
                  </a:lnTo>
                  <a:lnTo>
                    <a:pt x="22672" y="5163"/>
                  </a:lnTo>
                  <a:lnTo>
                    <a:pt x="22672" y="5172"/>
                  </a:lnTo>
                  <a:lnTo>
                    <a:pt x="22672" y="5181"/>
                  </a:lnTo>
                  <a:lnTo>
                    <a:pt x="22672" y="5189"/>
                  </a:lnTo>
                  <a:lnTo>
                    <a:pt x="22664" y="5189"/>
                  </a:lnTo>
                  <a:lnTo>
                    <a:pt x="22655" y="5198"/>
                  </a:lnTo>
                  <a:lnTo>
                    <a:pt x="22646" y="5198"/>
                  </a:lnTo>
                  <a:lnTo>
                    <a:pt x="22646" y="5207"/>
                  </a:lnTo>
                  <a:lnTo>
                    <a:pt x="22646" y="5216"/>
                  </a:lnTo>
                  <a:lnTo>
                    <a:pt x="22646" y="5225"/>
                  </a:lnTo>
                  <a:lnTo>
                    <a:pt x="22646" y="5234"/>
                  </a:lnTo>
                  <a:lnTo>
                    <a:pt x="22646" y="5242"/>
                  </a:lnTo>
                  <a:lnTo>
                    <a:pt x="22646" y="5251"/>
                  </a:lnTo>
                  <a:lnTo>
                    <a:pt x="22637" y="5260"/>
                  </a:lnTo>
                  <a:lnTo>
                    <a:pt x="22628" y="5269"/>
                  </a:lnTo>
                  <a:lnTo>
                    <a:pt x="22637" y="5269"/>
                  </a:lnTo>
                  <a:lnTo>
                    <a:pt x="22646" y="5269"/>
                  </a:lnTo>
                  <a:lnTo>
                    <a:pt x="22646" y="5278"/>
                  </a:lnTo>
                  <a:lnTo>
                    <a:pt x="22655" y="5287"/>
                  </a:lnTo>
                  <a:lnTo>
                    <a:pt x="22655" y="5295"/>
                  </a:lnTo>
                  <a:lnTo>
                    <a:pt x="22655" y="5304"/>
                  </a:lnTo>
                  <a:lnTo>
                    <a:pt x="22655" y="5313"/>
                  </a:lnTo>
                  <a:lnTo>
                    <a:pt x="22646" y="5313"/>
                  </a:lnTo>
                  <a:lnTo>
                    <a:pt x="22646" y="5322"/>
                  </a:lnTo>
                  <a:lnTo>
                    <a:pt x="22646" y="5331"/>
                  </a:lnTo>
                  <a:lnTo>
                    <a:pt x="22637" y="5340"/>
                  </a:lnTo>
                  <a:lnTo>
                    <a:pt x="22637" y="5357"/>
                  </a:lnTo>
                  <a:lnTo>
                    <a:pt x="22628" y="5366"/>
                  </a:lnTo>
                  <a:lnTo>
                    <a:pt x="22620" y="5375"/>
                  </a:lnTo>
                  <a:lnTo>
                    <a:pt x="22620" y="5384"/>
                  </a:lnTo>
                  <a:lnTo>
                    <a:pt x="22611" y="5392"/>
                  </a:lnTo>
                  <a:lnTo>
                    <a:pt x="22611" y="5401"/>
                  </a:lnTo>
                  <a:lnTo>
                    <a:pt x="22611" y="5410"/>
                  </a:lnTo>
                  <a:lnTo>
                    <a:pt x="22602" y="5419"/>
                  </a:lnTo>
                  <a:lnTo>
                    <a:pt x="22602" y="5428"/>
                  </a:lnTo>
                  <a:lnTo>
                    <a:pt x="22593" y="5428"/>
                  </a:lnTo>
                  <a:lnTo>
                    <a:pt x="22567" y="5445"/>
                  </a:lnTo>
                  <a:lnTo>
                    <a:pt x="22558" y="5454"/>
                  </a:lnTo>
                  <a:lnTo>
                    <a:pt x="22558" y="5463"/>
                  </a:lnTo>
                  <a:lnTo>
                    <a:pt x="22549" y="5472"/>
                  </a:lnTo>
                  <a:lnTo>
                    <a:pt x="22549" y="5481"/>
                  </a:lnTo>
                  <a:lnTo>
                    <a:pt x="22540" y="5481"/>
                  </a:lnTo>
                  <a:lnTo>
                    <a:pt x="22523" y="5498"/>
                  </a:lnTo>
                  <a:lnTo>
                    <a:pt x="22514" y="5498"/>
                  </a:lnTo>
                  <a:lnTo>
                    <a:pt x="22505" y="5507"/>
                  </a:lnTo>
                  <a:lnTo>
                    <a:pt x="22496" y="5516"/>
                  </a:lnTo>
                  <a:lnTo>
                    <a:pt x="22470" y="5525"/>
                  </a:lnTo>
                  <a:lnTo>
                    <a:pt x="22461" y="5525"/>
                  </a:lnTo>
                  <a:lnTo>
                    <a:pt x="22452" y="5534"/>
                  </a:lnTo>
                  <a:lnTo>
                    <a:pt x="22443" y="5534"/>
                  </a:lnTo>
                  <a:lnTo>
                    <a:pt x="22434" y="5534"/>
                  </a:lnTo>
                  <a:lnTo>
                    <a:pt x="22425" y="5534"/>
                  </a:lnTo>
                  <a:lnTo>
                    <a:pt x="22425" y="5525"/>
                  </a:lnTo>
                  <a:lnTo>
                    <a:pt x="22425" y="5516"/>
                  </a:lnTo>
                  <a:lnTo>
                    <a:pt x="22417" y="5507"/>
                  </a:lnTo>
                  <a:lnTo>
                    <a:pt x="22425" y="5498"/>
                  </a:lnTo>
                  <a:lnTo>
                    <a:pt x="22434" y="5498"/>
                  </a:lnTo>
                  <a:lnTo>
                    <a:pt x="22443" y="5490"/>
                  </a:lnTo>
                  <a:lnTo>
                    <a:pt x="22452" y="5481"/>
                  </a:lnTo>
                  <a:lnTo>
                    <a:pt x="22452" y="5472"/>
                  </a:lnTo>
                  <a:lnTo>
                    <a:pt x="22443" y="5472"/>
                  </a:lnTo>
                  <a:lnTo>
                    <a:pt x="22425" y="5481"/>
                  </a:lnTo>
                  <a:lnTo>
                    <a:pt x="22417" y="5481"/>
                  </a:lnTo>
                  <a:lnTo>
                    <a:pt x="22408" y="5498"/>
                  </a:lnTo>
                  <a:lnTo>
                    <a:pt x="22408" y="5525"/>
                  </a:lnTo>
                  <a:lnTo>
                    <a:pt x="22408" y="5543"/>
                  </a:lnTo>
                  <a:lnTo>
                    <a:pt x="22399" y="5551"/>
                  </a:lnTo>
                  <a:lnTo>
                    <a:pt x="22381" y="5569"/>
                  </a:lnTo>
                  <a:lnTo>
                    <a:pt x="22373" y="5578"/>
                  </a:lnTo>
                  <a:lnTo>
                    <a:pt x="22364" y="5587"/>
                  </a:lnTo>
                  <a:lnTo>
                    <a:pt x="22355" y="5595"/>
                  </a:lnTo>
                  <a:lnTo>
                    <a:pt x="22355" y="5604"/>
                  </a:lnTo>
                  <a:lnTo>
                    <a:pt x="22355" y="5613"/>
                  </a:lnTo>
                  <a:lnTo>
                    <a:pt x="22364" y="5622"/>
                  </a:lnTo>
                  <a:lnTo>
                    <a:pt x="22355" y="5631"/>
                  </a:lnTo>
                  <a:lnTo>
                    <a:pt x="22346" y="5631"/>
                  </a:lnTo>
                  <a:lnTo>
                    <a:pt x="22337" y="5640"/>
                  </a:lnTo>
                  <a:lnTo>
                    <a:pt x="22328" y="5640"/>
                  </a:lnTo>
                  <a:lnTo>
                    <a:pt x="22302" y="5640"/>
                  </a:lnTo>
                  <a:lnTo>
                    <a:pt x="22302" y="5631"/>
                  </a:lnTo>
                  <a:lnTo>
                    <a:pt x="22302" y="5622"/>
                  </a:lnTo>
                  <a:lnTo>
                    <a:pt x="22293" y="5622"/>
                  </a:lnTo>
                  <a:lnTo>
                    <a:pt x="22275" y="5631"/>
                  </a:lnTo>
                  <a:lnTo>
                    <a:pt x="22240" y="5631"/>
                  </a:lnTo>
                  <a:lnTo>
                    <a:pt x="22231" y="5640"/>
                  </a:lnTo>
                  <a:lnTo>
                    <a:pt x="22223" y="5640"/>
                  </a:lnTo>
                  <a:lnTo>
                    <a:pt x="22205" y="5640"/>
                  </a:lnTo>
                  <a:lnTo>
                    <a:pt x="22196" y="5640"/>
                  </a:lnTo>
                  <a:lnTo>
                    <a:pt x="22187" y="5640"/>
                  </a:lnTo>
                  <a:lnTo>
                    <a:pt x="22178" y="5640"/>
                  </a:lnTo>
                  <a:lnTo>
                    <a:pt x="22170" y="5640"/>
                  </a:lnTo>
                  <a:lnTo>
                    <a:pt x="22170" y="5648"/>
                  </a:lnTo>
                  <a:lnTo>
                    <a:pt x="22161" y="5648"/>
                  </a:lnTo>
                  <a:lnTo>
                    <a:pt x="22152" y="5640"/>
                  </a:lnTo>
                  <a:lnTo>
                    <a:pt x="22143" y="5640"/>
                  </a:lnTo>
                  <a:close/>
                  <a:moveTo>
                    <a:pt x="22523" y="5445"/>
                  </a:moveTo>
                  <a:lnTo>
                    <a:pt x="22514" y="5445"/>
                  </a:lnTo>
                  <a:lnTo>
                    <a:pt x="22523" y="5445"/>
                  </a:lnTo>
                  <a:lnTo>
                    <a:pt x="22540" y="5437"/>
                  </a:lnTo>
                  <a:lnTo>
                    <a:pt x="22540" y="5428"/>
                  </a:lnTo>
                  <a:lnTo>
                    <a:pt x="22531" y="5428"/>
                  </a:lnTo>
                  <a:lnTo>
                    <a:pt x="22531" y="5419"/>
                  </a:lnTo>
                  <a:lnTo>
                    <a:pt x="22540" y="5410"/>
                  </a:lnTo>
                  <a:lnTo>
                    <a:pt x="22540" y="5401"/>
                  </a:lnTo>
                  <a:lnTo>
                    <a:pt x="22531" y="5410"/>
                  </a:lnTo>
                  <a:lnTo>
                    <a:pt x="22523" y="5419"/>
                  </a:lnTo>
                  <a:lnTo>
                    <a:pt x="22523" y="5428"/>
                  </a:lnTo>
                  <a:lnTo>
                    <a:pt x="22523" y="5437"/>
                  </a:lnTo>
                  <a:close/>
                  <a:moveTo>
                    <a:pt x="21870" y="5825"/>
                  </a:moveTo>
                  <a:lnTo>
                    <a:pt x="21870" y="5834"/>
                  </a:lnTo>
                  <a:lnTo>
                    <a:pt x="21878" y="5834"/>
                  </a:lnTo>
                  <a:lnTo>
                    <a:pt x="21878" y="5825"/>
                  </a:lnTo>
                  <a:lnTo>
                    <a:pt x="21878" y="5816"/>
                  </a:lnTo>
                  <a:close/>
                  <a:moveTo>
                    <a:pt x="21323" y="7271"/>
                  </a:moveTo>
                  <a:lnTo>
                    <a:pt x="21323" y="7263"/>
                  </a:lnTo>
                  <a:lnTo>
                    <a:pt x="21323" y="7254"/>
                  </a:lnTo>
                  <a:lnTo>
                    <a:pt x="21331" y="7254"/>
                  </a:lnTo>
                  <a:lnTo>
                    <a:pt x="21331" y="7245"/>
                  </a:lnTo>
                  <a:lnTo>
                    <a:pt x="21323" y="7245"/>
                  </a:lnTo>
                  <a:lnTo>
                    <a:pt x="21314" y="7245"/>
                  </a:lnTo>
                  <a:lnTo>
                    <a:pt x="21314" y="7254"/>
                  </a:lnTo>
                  <a:lnTo>
                    <a:pt x="21314" y="7263"/>
                  </a:lnTo>
                  <a:lnTo>
                    <a:pt x="21323" y="7263"/>
                  </a:lnTo>
                  <a:close/>
                  <a:moveTo>
                    <a:pt x="21720" y="8269"/>
                  </a:moveTo>
                  <a:lnTo>
                    <a:pt x="21728" y="8286"/>
                  </a:lnTo>
                  <a:lnTo>
                    <a:pt x="21737" y="8286"/>
                  </a:lnTo>
                  <a:lnTo>
                    <a:pt x="21737" y="8295"/>
                  </a:lnTo>
                  <a:lnTo>
                    <a:pt x="21728" y="8304"/>
                  </a:lnTo>
                  <a:lnTo>
                    <a:pt x="21737" y="8313"/>
                  </a:lnTo>
                  <a:lnTo>
                    <a:pt x="21737" y="8322"/>
                  </a:lnTo>
                  <a:lnTo>
                    <a:pt x="21737" y="8330"/>
                  </a:lnTo>
                  <a:lnTo>
                    <a:pt x="21746" y="8330"/>
                  </a:lnTo>
                  <a:lnTo>
                    <a:pt x="21746" y="8339"/>
                  </a:lnTo>
                  <a:lnTo>
                    <a:pt x="21746" y="8348"/>
                  </a:lnTo>
                  <a:lnTo>
                    <a:pt x="21746" y="8357"/>
                  </a:lnTo>
                  <a:lnTo>
                    <a:pt x="21746" y="8366"/>
                  </a:lnTo>
                  <a:lnTo>
                    <a:pt x="21746" y="8375"/>
                  </a:lnTo>
                  <a:lnTo>
                    <a:pt x="21755" y="8375"/>
                  </a:lnTo>
                  <a:lnTo>
                    <a:pt x="21755" y="8383"/>
                  </a:lnTo>
                  <a:lnTo>
                    <a:pt x="21764" y="8401"/>
                  </a:lnTo>
                  <a:lnTo>
                    <a:pt x="21773" y="8401"/>
                  </a:lnTo>
                  <a:lnTo>
                    <a:pt x="21781" y="8410"/>
                  </a:lnTo>
                  <a:lnTo>
                    <a:pt x="21790" y="8419"/>
                  </a:lnTo>
                  <a:lnTo>
                    <a:pt x="21799" y="8419"/>
                  </a:lnTo>
                  <a:lnTo>
                    <a:pt x="21790" y="8410"/>
                  </a:lnTo>
                  <a:lnTo>
                    <a:pt x="21781" y="8401"/>
                  </a:lnTo>
                  <a:lnTo>
                    <a:pt x="21773" y="8383"/>
                  </a:lnTo>
                  <a:lnTo>
                    <a:pt x="21764" y="8366"/>
                  </a:lnTo>
                  <a:lnTo>
                    <a:pt x="21755" y="8348"/>
                  </a:lnTo>
                  <a:lnTo>
                    <a:pt x="21764" y="8339"/>
                  </a:lnTo>
                  <a:lnTo>
                    <a:pt x="21755" y="8330"/>
                  </a:lnTo>
                  <a:lnTo>
                    <a:pt x="21755" y="8322"/>
                  </a:lnTo>
                  <a:lnTo>
                    <a:pt x="21764" y="8322"/>
                  </a:lnTo>
                  <a:lnTo>
                    <a:pt x="21764" y="8313"/>
                  </a:lnTo>
                  <a:lnTo>
                    <a:pt x="21773" y="8322"/>
                  </a:lnTo>
                  <a:lnTo>
                    <a:pt x="21781" y="8322"/>
                  </a:lnTo>
                  <a:lnTo>
                    <a:pt x="21790" y="8322"/>
                  </a:lnTo>
                  <a:lnTo>
                    <a:pt x="21799" y="8322"/>
                  </a:lnTo>
                  <a:lnTo>
                    <a:pt x="21808" y="8330"/>
                  </a:lnTo>
                  <a:lnTo>
                    <a:pt x="21834" y="8339"/>
                  </a:lnTo>
                  <a:lnTo>
                    <a:pt x="21826" y="8330"/>
                  </a:lnTo>
                  <a:lnTo>
                    <a:pt x="21817" y="8330"/>
                  </a:lnTo>
                  <a:lnTo>
                    <a:pt x="21817" y="8322"/>
                  </a:lnTo>
                  <a:lnTo>
                    <a:pt x="21817" y="8313"/>
                  </a:lnTo>
                  <a:lnTo>
                    <a:pt x="21808" y="8313"/>
                  </a:lnTo>
                  <a:lnTo>
                    <a:pt x="21799" y="8304"/>
                  </a:lnTo>
                  <a:lnTo>
                    <a:pt x="21781" y="8295"/>
                  </a:lnTo>
                  <a:lnTo>
                    <a:pt x="21790" y="8286"/>
                  </a:lnTo>
                  <a:lnTo>
                    <a:pt x="21808" y="8277"/>
                  </a:lnTo>
                  <a:lnTo>
                    <a:pt x="21817" y="8277"/>
                  </a:lnTo>
                  <a:lnTo>
                    <a:pt x="21817" y="8269"/>
                  </a:lnTo>
                  <a:lnTo>
                    <a:pt x="21817" y="8251"/>
                  </a:lnTo>
                  <a:lnTo>
                    <a:pt x="21817" y="8242"/>
                  </a:lnTo>
                  <a:lnTo>
                    <a:pt x="21817" y="8233"/>
                  </a:lnTo>
                  <a:lnTo>
                    <a:pt x="21808" y="8233"/>
                  </a:lnTo>
                  <a:lnTo>
                    <a:pt x="21799" y="8242"/>
                  </a:lnTo>
                  <a:lnTo>
                    <a:pt x="21781" y="8251"/>
                  </a:lnTo>
                  <a:lnTo>
                    <a:pt x="21781" y="8260"/>
                  </a:lnTo>
                  <a:lnTo>
                    <a:pt x="21781" y="8269"/>
                  </a:lnTo>
                  <a:lnTo>
                    <a:pt x="21773" y="8269"/>
                  </a:lnTo>
                  <a:lnTo>
                    <a:pt x="21764" y="8277"/>
                  </a:lnTo>
                  <a:lnTo>
                    <a:pt x="21764" y="8286"/>
                  </a:lnTo>
                  <a:lnTo>
                    <a:pt x="21755" y="8286"/>
                  </a:lnTo>
                  <a:lnTo>
                    <a:pt x="21755" y="8295"/>
                  </a:lnTo>
                  <a:lnTo>
                    <a:pt x="21746" y="8286"/>
                  </a:lnTo>
                  <a:lnTo>
                    <a:pt x="21737" y="8286"/>
                  </a:lnTo>
                  <a:lnTo>
                    <a:pt x="21737" y="8277"/>
                  </a:lnTo>
                  <a:lnTo>
                    <a:pt x="21755" y="8269"/>
                  </a:lnTo>
                  <a:lnTo>
                    <a:pt x="21764" y="8260"/>
                  </a:lnTo>
                  <a:lnTo>
                    <a:pt x="21764" y="8251"/>
                  </a:lnTo>
                  <a:lnTo>
                    <a:pt x="21764" y="8242"/>
                  </a:lnTo>
                  <a:lnTo>
                    <a:pt x="21764" y="8233"/>
                  </a:lnTo>
                  <a:lnTo>
                    <a:pt x="21764" y="8225"/>
                  </a:lnTo>
                  <a:lnTo>
                    <a:pt x="21755" y="8216"/>
                  </a:lnTo>
                  <a:lnTo>
                    <a:pt x="21755" y="8207"/>
                  </a:lnTo>
                  <a:lnTo>
                    <a:pt x="21773" y="8198"/>
                  </a:lnTo>
                  <a:lnTo>
                    <a:pt x="21773" y="8189"/>
                  </a:lnTo>
                  <a:lnTo>
                    <a:pt x="21764" y="8189"/>
                  </a:lnTo>
                  <a:lnTo>
                    <a:pt x="21755" y="8198"/>
                  </a:lnTo>
                  <a:lnTo>
                    <a:pt x="21746" y="8207"/>
                  </a:lnTo>
                  <a:lnTo>
                    <a:pt x="21737" y="8216"/>
                  </a:lnTo>
                  <a:lnTo>
                    <a:pt x="21737" y="8225"/>
                  </a:lnTo>
                  <a:lnTo>
                    <a:pt x="21737" y="8233"/>
                  </a:lnTo>
                  <a:lnTo>
                    <a:pt x="21728" y="8233"/>
                  </a:lnTo>
                  <a:lnTo>
                    <a:pt x="21728" y="8242"/>
                  </a:lnTo>
                  <a:lnTo>
                    <a:pt x="21720" y="8260"/>
                  </a:lnTo>
                  <a:close/>
                  <a:moveTo>
                    <a:pt x="21455" y="6540"/>
                  </a:moveTo>
                  <a:lnTo>
                    <a:pt x="21464" y="6540"/>
                  </a:lnTo>
                  <a:lnTo>
                    <a:pt x="21455" y="6531"/>
                  </a:lnTo>
                  <a:lnTo>
                    <a:pt x="21455" y="6540"/>
                  </a:lnTo>
                  <a:lnTo>
                    <a:pt x="21446" y="6540"/>
                  </a:lnTo>
                  <a:close/>
                  <a:moveTo>
                    <a:pt x="21349" y="6099"/>
                  </a:moveTo>
                  <a:lnTo>
                    <a:pt x="21349" y="6090"/>
                  </a:lnTo>
                  <a:lnTo>
                    <a:pt x="21331" y="6081"/>
                  </a:lnTo>
                  <a:lnTo>
                    <a:pt x="21323" y="6081"/>
                  </a:lnTo>
                  <a:lnTo>
                    <a:pt x="21323" y="6090"/>
                  </a:lnTo>
                  <a:lnTo>
                    <a:pt x="21340" y="6090"/>
                  </a:lnTo>
                  <a:close/>
                  <a:moveTo>
                    <a:pt x="21323" y="7307"/>
                  </a:moveTo>
                  <a:lnTo>
                    <a:pt x="21340" y="7324"/>
                  </a:lnTo>
                  <a:lnTo>
                    <a:pt x="21340" y="7315"/>
                  </a:lnTo>
                  <a:close/>
                  <a:moveTo>
                    <a:pt x="21270" y="6936"/>
                  </a:moveTo>
                  <a:lnTo>
                    <a:pt x="21261" y="6936"/>
                  </a:lnTo>
                  <a:lnTo>
                    <a:pt x="21270" y="6945"/>
                  </a:lnTo>
                  <a:close/>
                  <a:moveTo>
                    <a:pt x="21173" y="7157"/>
                  </a:moveTo>
                  <a:lnTo>
                    <a:pt x="21173" y="7148"/>
                  </a:lnTo>
                  <a:lnTo>
                    <a:pt x="21164" y="7148"/>
                  </a:lnTo>
                  <a:lnTo>
                    <a:pt x="21164" y="7157"/>
                  </a:lnTo>
                  <a:lnTo>
                    <a:pt x="21164" y="7165"/>
                  </a:lnTo>
                  <a:lnTo>
                    <a:pt x="21164" y="7174"/>
                  </a:lnTo>
                  <a:lnTo>
                    <a:pt x="21164" y="7183"/>
                  </a:lnTo>
                  <a:lnTo>
                    <a:pt x="21173" y="7183"/>
                  </a:lnTo>
                  <a:lnTo>
                    <a:pt x="21173" y="7218"/>
                  </a:lnTo>
                  <a:lnTo>
                    <a:pt x="21182" y="7227"/>
                  </a:lnTo>
                  <a:lnTo>
                    <a:pt x="21182" y="7236"/>
                  </a:lnTo>
                  <a:lnTo>
                    <a:pt x="21182" y="7245"/>
                  </a:lnTo>
                  <a:lnTo>
                    <a:pt x="21182" y="7263"/>
                  </a:lnTo>
                  <a:lnTo>
                    <a:pt x="21190" y="7263"/>
                  </a:lnTo>
                  <a:lnTo>
                    <a:pt x="21199" y="7263"/>
                  </a:lnTo>
                  <a:lnTo>
                    <a:pt x="21199" y="7271"/>
                  </a:lnTo>
                  <a:lnTo>
                    <a:pt x="21208" y="7280"/>
                  </a:lnTo>
                  <a:lnTo>
                    <a:pt x="21208" y="7289"/>
                  </a:lnTo>
                  <a:lnTo>
                    <a:pt x="21217" y="7289"/>
                  </a:lnTo>
                  <a:lnTo>
                    <a:pt x="21226" y="7289"/>
                  </a:lnTo>
                  <a:lnTo>
                    <a:pt x="21217" y="7280"/>
                  </a:lnTo>
                  <a:lnTo>
                    <a:pt x="21217" y="7263"/>
                  </a:lnTo>
                  <a:lnTo>
                    <a:pt x="21217" y="7254"/>
                  </a:lnTo>
                  <a:lnTo>
                    <a:pt x="21226" y="7263"/>
                  </a:lnTo>
                  <a:lnTo>
                    <a:pt x="21234" y="7263"/>
                  </a:lnTo>
                  <a:lnTo>
                    <a:pt x="21243" y="7271"/>
                  </a:lnTo>
                  <a:lnTo>
                    <a:pt x="21252" y="7280"/>
                  </a:lnTo>
                  <a:lnTo>
                    <a:pt x="21243" y="7289"/>
                  </a:lnTo>
                  <a:lnTo>
                    <a:pt x="21226" y="7298"/>
                  </a:lnTo>
                  <a:lnTo>
                    <a:pt x="21226" y="7307"/>
                  </a:lnTo>
                  <a:lnTo>
                    <a:pt x="21226" y="7324"/>
                  </a:lnTo>
                  <a:lnTo>
                    <a:pt x="21226" y="7333"/>
                  </a:lnTo>
                  <a:lnTo>
                    <a:pt x="21234" y="7333"/>
                  </a:lnTo>
                  <a:lnTo>
                    <a:pt x="21243" y="7333"/>
                  </a:lnTo>
                  <a:lnTo>
                    <a:pt x="21243" y="7342"/>
                  </a:lnTo>
                  <a:lnTo>
                    <a:pt x="21252" y="7342"/>
                  </a:lnTo>
                  <a:lnTo>
                    <a:pt x="21261" y="7342"/>
                  </a:lnTo>
                  <a:lnTo>
                    <a:pt x="21270" y="7351"/>
                  </a:lnTo>
                  <a:lnTo>
                    <a:pt x="21279" y="7351"/>
                  </a:lnTo>
                  <a:lnTo>
                    <a:pt x="21287" y="7342"/>
                  </a:lnTo>
                  <a:lnTo>
                    <a:pt x="21287" y="7333"/>
                  </a:lnTo>
                  <a:lnTo>
                    <a:pt x="21296" y="7324"/>
                  </a:lnTo>
                  <a:lnTo>
                    <a:pt x="21305" y="7324"/>
                  </a:lnTo>
                  <a:lnTo>
                    <a:pt x="21331" y="7342"/>
                  </a:lnTo>
                  <a:lnTo>
                    <a:pt x="21340" y="7351"/>
                  </a:lnTo>
                  <a:lnTo>
                    <a:pt x="21349" y="7360"/>
                  </a:lnTo>
                  <a:lnTo>
                    <a:pt x="21358" y="7360"/>
                  </a:lnTo>
                  <a:lnTo>
                    <a:pt x="21358" y="7368"/>
                  </a:lnTo>
                  <a:lnTo>
                    <a:pt x="21367" y="7377"/>
                  </a:lnTo>
                  <a:lnTo>
                    <a:pt x="21367" y="7386"/>
                  </a:lnTo>
                  <a:lnTo>
                    <a:pt x="21376" y="7377"/>
                  </a:lnTo>
                  <a:lnTo>
                    <a:pt x="21376" y="7368"/>
                  </a:lnTo>
                  <a:lnTo>
                    <a:pt x="21367" y="7360"/>
                  </a:lnTo>
                  <a:lnTo>
                    <a:pt x="21367" y="7351"/>
                  </a:lnTo>
                  <a:lnTo>
                    <a:pt x="21358" y="7351"/>
                  </a:lnTo>
                  <a:lnTo>
                    <a:pt x="21358" y="7342"/>
                  </a:lnTo>
                  <a:lnTo>
                    <a:pt x="21358" y="7333"/>
                  </a:lnTo>
                  <a:lnTo>
                    <a:pt x="21358" y="7324"/>
                  </a:lnTo>
                  <a:lnTo>
                    <a:pt x="21367" y="7324"/>
                  </a:lnTo>
                  <a:lnTo>
                    <a:pt x="21384" y="7342"/>
                  </a:lnTo>
                  <a:lnTo>
                    <a:pt x="21384" y="7351"/>
                  </a:lnTo>
                  <a:lnTo>
                    <a:pt x="21393" y="7351"/>
                  </a:lnTo>
                  <a:lnTo>
                    <a:pt x="21411" y="7360"/>
                  </a:lnTo>
                  <a:lnTo>
                    <a:pt x="21411" y="7368"/>
                  </a:lnTo>
                  <a:lnTo>
                    <a:pt x="21420" y="7377"/>
                  </a:lnTo>
                  <a:lnTo>
                    <a:pt x="21420" y="7386"/>
                  </a:lnTo>
                  <a:lnTo>
                    <a:pt x="21420" y="7395"/>
                  </a:lnTo>
                  <a:lnTo>
                    <a:pt x="21429" y="7395"/>
                  </a:lnTo>
                  <a:lnTo>
                    <a:pt x="21446" y="7404"/>
                  </a:lnTo>
                  <a:lnTo>
                    <a:pt x="21455" y="7404"/>
                  </a:lnTo>
                  <a:lnTo>
                    <a:pt x="21464" y="7404"/>
                  </a:lnTo>
                  <a:lnTo>
                    <a:pt x="21464" y="7413"/>
                  </a:lnTo>
                  <a:lnTo>
                    <a:pt x="21464" y="7421"/>
                  </a:lnTo>
                  <a:lnTo>
                    <a:pt x="21473" y="7430"/>
                  </a:lnTo>
                  <a:lnTo>
                    <a:pt x="21481" y="7413"/>
                  </a:lnTo>
                  <a:lnTo>
                    <a:pt x="21481" y="7395"/>
                  </a:lnTo>
                  <a:lnTo>
                    <a:pt x="21473" y="7386"/>
                  </a:lnTo>
                  <a:lnTo>
                    <a:pt x="21464" y="7386"/>
                  </a:lnTo>
                  <a:lnTo>
                    <a:pt x="21455" y="7386"/>
                  </a:lnTo>
                  <a:lnTo>
                    <a:pt x="21455" y="7377"/>
                  </a:lnTo>
                  <a:lnTo>
                    <a:pt x="21455" y="7368"/>
                  </a:lnTo>
                  <a:lnTo>
                    <a:pt x="21446" y="7368"/>
                  </a:lnTo>
                  <a:lnTo>
                    <a:pt x="21446" y="7360"/>
                  </a:lnTo>
                  <a:lnTo>
                    <a:pt x="21437" y="7351"/>
                  </a:lnTo>
                  <a:lnTo>
                    <a:pt x="21446" y="7342"/>
                  </a:lnTo>
                  <a:lnTo>
                    <a:pt x="21455" y="7342"/>
                  </a:lnTo>
                  <a:lnTo>
                    <a:pt x="21464" y="7333"/>
                  </a:lnTo>
                  <a:lnTo>
                    <a:pt x="21455" y="7333"/>
                  </a:lnTo>
                  <a:lnTo>
                    <a:pt x="21446" y="7333"/>
                  </a:lnTo>
                  <a:lnTo>
                    <a:pt x="21429" y="7324"/>
                  </a:lnTo>
                  <a:lnTo>
                    <a:pt x="21429" y="7315"/>
                  </a:lnTo>
                  <a:lnTo>
                    <a:pt x="21420" y="7315"/>
                  </a:lnTo>
                  <a:lnTo>
                    <a:pt x="21420" y="7324"/>
                  </a:lnTo>
                  <a:lnTo>
                    <a:pt x="21420" y="7333"/>
                  </a:lnTo>
                  <a:lnTo>
                    <a:pt x="21420" y="7342"/>
                  </a:lnTo>
                  <a:lnTo>
                    <a:pt x="21402" y="7342"/>
                  </a:lnTo>
                  <a:lnTo>
                    <a:pt x="21402" y="7333"/>
                  </a:lnTo>
                  <a:lnTo>
                    <a:pt x="21402" y="7324"/>
                  </a:lnTo>
                  <a:lnTo>
                    <a:pt x="21402" y="7315"/>
                  </a:lnTo>
                  <a:lnTo>
                    <a:pt x="21393" y="7307"/>
                  </a:lnTo>
                  <a:lnTo>
                    <a:pt x="21384" y="7307"/>
                  </a:lnTo>
                  <a:lnTo>
                    <a:pt x="21384" y="7298"/>
                  </a:lnTo>
                  <a:lnTo>
                    <a:pt x="21367" y="7298"/>
                  </a:lnTo>
                  <a:lnTo>
                    <a:pt x="21358" y="7298"/>
                  </a:lnTo>
                  <a:lnTo>
                    <a:pt x="21349" y="7298"/>
                  </a:lnTo>
                  <a:lnTo>
                    <a:pt x="21349" y="7307"/>
                  </a:lnTo>
                  <a:lnTo>
                    <a:pt x="21340" y="7307"/>
                  </a:lnTo>
                  <a:lnTo>
                    <a:pt x="21340" y="7315"/>
                  </a:lnTo>
                  <a:lnTo>
                    <a:pt x="21349" y="7315"/>
                  </a:lnTo>
                  <a:lnTo>
                    <a:pt x="21349" y="7324"/>
                  </a:lnTo>
                  <a:lnTo>
                    <a:pt x="21340" y="7324"/>
                  </a:lnTo>
                  <a:lnTo>
                    <a:pt x="21331" y="7324"/>
                  </a:lnTo>
                  <a:lnTo>
                    <a:pt x="21323" y="7324"/>
                  </a:lnTo>
                  <a:lnTo>
                    <a:pt x="21314" y="7315"/>
                  </a:lnTo>
                  <a:lnTo>
                    <a:pt x="21305" y="7307"/>
                  </a:lnTo>
                  <a:lnTo>
                    <a:pt x="21296" y="7289"/>
                  </a:lnTo>
                  <a:lnTo>
                    <a:pt x="21296" y="7280"/>
                  </a:lnTo>
                  <a:lnTo>
                    <a:pt x="21296" y="7271"/>
                  </a:lnTo>
                  <a:lnTo>
                    <a:pt x="21305" y="7263"/>
                  </a:lnTo>
                  <a:lnTo>
                    <a:pt x="21296" y="7263"/>
                  </a:lnTo>
                  <a:lnTo>
                    <a:pt x="21287" y="7245"/>
                  </a:lnTo>
                  <a:lnTo>
                    <a:pt x="21287" y="7227"/>
                  </a:lnTo>
                  <a:lnTo>
                    <a:pt x="21279" y="7227"/>
                  </a:lnTo>
                  <a:lnTo>
                    <a:pt x="21279" y="7218"/>
                  </a:lnTo>
                  <a:lnTo>
                    <a:pt x="21287" y="7218"/>
                  </a:lnTo>
                  <a:lnTo>
                    <a:pt x="21287" y="7210"/>
                  </a:lnTo>
                  <a:lnTo>
                    <a:pt x="21296" y="7201"/>
                  </a:lnTo>
                  <a:lnTo>
                    <a:pt x="21296" y="7192"/>
                  </a:lnTo>
                  <a:lnTo>
                    <a:pt x="21296" y="7183"/>
                  </a:lnTo>
                  <a:lnTo>
                    <a:pt x="21296" y="7174"/>
                  </a:lnTo>
                  <a:lnTo>
                    <a:pt x="21305" y="7174"/>
                  </a:lnTo>
                  <a:lnTo>
                    <a:pt x="21305" y="7165"/>
                  </a:lnTo>
                  <a:lnTo>
                    <a:pt x="21323" y="7157"/>
                  </a:lnTo>
                  <a:lnTo>
                    <a:pt x="21331" y="7157"/>
                  </a:lnTo>
                  <a:lnTo>
                    <a:pt x="21340" y="7148"/>
                  </a:lnTo>
                  <a:lnTo>
                    <a:pt x="21340" y="7139"/>
                  </a:lnTo>
                  <a:lnTo>
                    <a:pt x="21358" y="7112"/>
                  </a:lnTo>
                  <a:lnTo>
                    <a:pt x="21358" y="7095"/>
                  </a:lnTo>
                  <a:lnTo>
                    <a:pt x="21367" y="7086"/>
                  </a:lnTo>
                  <a:lnTo>
                    <a:pt x="21358" y="7086"/>
                  </a:lnTo>
                  <a:lnTo>
                    <a:pt x="21358" y="7077"/>
                  </a:lnTo>
                  <a:lnTo>
                    <a:pt x="21349" y="7077"/>
                  </a:lnTo>
                  <a:lnTo>
                    <a:pt x="21349" y="7068"/>
                  </a:lnTo>
                  <a:lnTo>
                    <a:pt x="21340" y="7068"/>
                  </a:lnTo>
                  <a:lnTo>
                    <a:pt x="21340" y="7051"/>
                  </a:lnTo>
                  <a:lnTo>
                    <a:pt x="21340" y="7042"/>
                  </a:lnTo>
                  <a:lnTo>
                    <a:pt x="21340" y="7015"/>
                  </a:lnTo>
                  <a:lnTo>
                    <a:pt x="21340" y="7007"/>
                  </a:lnTo>
                  <a:lnTo>
                    <a:pt x="21349" y="7007"/>
                  </a:lnTo>
                  <a:lnTo>
                    <a:pt x="21349" y="6998"/>
                  </a:lnTo>
                  <a:lnTo>
                    <a:pt x="21349" y="6989"/>
                  </a:lnTo>
                  <a:lnTo>
                    <a:pt x="21340" y="6989"/>
                  </a:lnTo>
                  <a:lnTo>
                    <a:pt x="21340" y="6980"/>
                  </a:lnTo>
                  <a:lnTo>
                    <a:pt x="21331" y="6989"/>
                  </a:lnTo>
                  <a:lnTo>
                    <a:pt x="21331" y="6998"/>
                  </a:lnTo>
                  <a:lnTo>
                    <a:pt x="21323" y="6998"/>
                  </a:lnTo>
                  <a:lnTo>
                    <a:pt x="21314" y="6998"/>
                  </a:lnTo>
                  <a:lnTo>
                    <a:pt x="21305" y="6998"/>
                  </a:lnTo>
                  <a:lnTo>
                    <a:pt x="21296" y="6998"/>
                  </a:lnTo>
                  <a:lnTo>
                    <a:pt x="21270" y="6980"/>
                  </a:lnTo>
                  <a:lnTo>
                    <a:pt x="21261" y="6971"/>
                  </a:lnTo>
                  <a:lnTo>
                    <a:pt x="21252" y="6971"/>
                  </a:lnTo>
                  <a:lnTo>
                    <a:pt x="21243" y="6980"/>
                  </a:lnTo>
                  <a:lnTo>
                    <a:pt x="21234" y="6980"/>
                  </a:lnTo>
                  <a:lnTo>
                    <a:pt x="21226" y="6980"/>
                  </a:lnTo>
                  <a:lnTo>
                    <a:pt x="21217" y="6998"/>
                  </a:lnTo>
                  <a:lnTo>
                    <a:pt x="21217" y="7007"/>
                  </a:lnTo>
                  <a:lnTo>
                    <a:pt x="21208" y="7051"/>
                  </a:lnTo>
                  <a:lnTo>
                    <a:pt x="21208" y="7060"/>
                  </a:lnTo>
                  <a:lnTo>
                    <a:pt x="21208" y="7068"/>
                  </a:lnTo>
                  <a:lnTo>
                    <a:pt x="21208" y="7077"/>
                  </a:lnTo>
                  <a:lnTo>
                    <a:pt x="21208" y="7095"/>
                  </a:lnTo>
                  <a:lnTo>
                    <a:pt x="21208" y="7104"/>
                  </a:lnTo>
                  <a:lnTo>
                    <a:pt x="21199" y="7112"/>
                  </a:lnTo>
                  <a:lnTo>
                    <a:pt x="21199" y="7121"/>
                  </a:lnTo>
                  <a:lnTo>
                    <a:pt x="21199" y="7130"/>
                  </a:lnTo>
                  <a:lnTo>
                    <a:pt x="21199" y="7139"/>
                  </a:lnTo>
                  <a:lnTo>
                    <a:pt x="21208" y="7157"/>
                  </a:lnTo>
                  <a:lnTo>
                    <a:pt x="21208" y="7165"/>
                  </a:lnTo>
                  <a:lnTo>
                    <a:pt x="21199" y="7165"/>
                  </a:lnTo>
                  <a:lnTo>
                    <a:pt x="21190" y="7165"/>
                  </a:lnTo>
                  <a:lnTo>
                    <a:pt x="21182" y="7157"/>
                  </a:lnTo>
                  <a:close/>
                  <a:moveTo>
                    <a:pt x="21331" y="6116"/>
                  </a:moveTo>
                  <a:lnTo>
                    <a:pt x="21340" y="6116"/>
                  </a:lnTo>
                  <a:lnTo>
                    <a:pt x="21331" y="6107"/>
                  </a:lnTo>
                  <a:close/>
                  <a:moveTo>
                    <a:pt x="21234" y="8869"/>
                  </a:moveTo>
                  <a:lnTo>
                    <a:pt x="21226" y="8869"/>
                  </a:lnTo>
                  <a:close/>
                  <a:moveTo>
                    <a:pt x="21579" y="6505"/>
                  </a:moveTo>
                  <a:lnTo>
                    <a:pt x="21570" y="6505"/>
                  </a:lnTo>
                  <a:lnTo>
                    <a:pt x="21570" y="6496"/>
                  </a:lnTo>
                  <a:lnTo>
                    <a:pt x="21561" y="6505"/>
                  </a:lnTo>
                  <a:lnTo>
                    <a:pt x="21570" y="6505"/>
                  </a:lnTo>
                  <a:close/>
                  <a:moveTo>
                    <a:pt x="21631" y="5816"/>
                  </a:moveTo>
                  <a:lnTo>
                    <a:pt x="21631" y="5825"/>
                  </a:lnTo>
                  <a:lnTo>
                    <a:pt x="21631" y="5834"/>
                  </a:lnTo>
                  <a:lnTo>
                    <a:pt x="21640" y="5834"/>
                  </a:lnTo>
                  <a:lnTo>
                    <a:pt x="21658" y="5834"/>
                  </a:lnTo>
                  <a:lnTo>
                    <a:pt x="21667" y="5825"/>
                  </a:lnTo>
                  <a:lnTo>
                    <a:pt x="21684" y="5825"/>
                  </a:lnTo>
                  <a:lnTo>
                    <a:pt x="21684" y="5816"/>
                  </a:lnTo>
                  <a:lnTo>
                    <a:pt x="21684" y="5807"/>
                  </a:lnTo>
                  <a:lnTo>
                    <a:pt x="21676" y="5807"/>
                  </a:lnTo>
                  <a:lnTo>
                    <a:pt x="21667" y="5807"/>
                  </a:lnTo>
                  <a:lnTo>
                    <a:pt x="21640" y="5807"/>
                  </a:lnTo>
                  <a:close/>
                  <a:moveTo>
                    <a:pt x="21676" y="5737"/>
                  </a:moveTo>
                  <a:lnTo>
                    <a:pt x="21667" y="5737"/>
                  </a:lnTo>
                  <a:lnTo>
                    <a:pt x="21667" y="5745"/>
                  </a:lnTo>
                  <a:lnTo>
                    <a:pt x="21676" y="5745"/>
                  </a:lnTo>
                  <a:close/>
                  <a:moveTo>
                    <a:pt x="21490" y="7430"/>
                  </a:moveTo>
                  <a:lnTo>
                    <a:pt x="21499" y="7439"/>
                  </a:lnTo>
                  <a:lnTo>
                    <a:pt x="21499" y="7457"/>
                  </a:lnTo>
                  <a:lnTo>
                    <a:pt x="21508" y="7457"/>
                  </a:lnTo>
                  <a:lnTo>
                    <a:pt x="21508" y="7466"/>
                  </a:lnTo>
                  <a:lnTo>
                    <a:pt x="21517" y="7466"/>
                  </a:lnTo>
                  <a:lnTo>
                    <a:pt x="21526" y="7466"/>
                  </a:lnTo>
                  <a:lnTo>
                    <a:pt x="21526" y="7474"/>
                  </a:lnTo>
                  <a:lnTo>
                    <a:pt x="21534" y="7474"/>
                  </a:lnTo>
                  <a:lnTo>
                    <a:pt x="21534" y="7483"/>
                  </a:lnTo>
                  <a:lnTo>
                    <a:pt x="21543" y="7492"/>
                  </a:lnTo>
                  <a:lnTo>
                    <a:pt x="21543" y="7501"/>
                  </a:lnTo>
                  <a:lnTo>
                    <a:pt x="21543" y="7510"/>
                  </a:lnTo>
                  <a:lnTo>
                    <a:pt x="21552" y="7518"/>
                  </a:lnTo>
                  <a:lnTo>
                    <a:pt x="21552" y="7527"/>
                  </a:lnTo>
                  <a:lnTo>
                    <a:pt x="21561" y="7527"/>
                  </a:lnTo>
                  <a:lnTo>
                    <a:pt x="21561" y="7536"/>
                  </a:lnTo>
                  <a:lnTo>
                    <a:pt x="21570" y="7536"/>
                  </a:lnTo>
                  <a:lnTo>
                    <a:pt x="21579" y="7536"/>
                  </a:lnTo>
                  <a:lnTo>
                    <a:pt x="21587" y="7536"/>
                  </a:lnTo>
                  <a:lnTo>
                    <a:pt x="21596" y="7536"/>
                  </a:lnTo>
                  <a:lnTo>
                    <a:pt x="21596" y="7545"/>
                  </a:lnTo>
                  <a:lnTo>
                    <a:pt x="21596" y="7536"/>
                  </a:lnTo>
                  <a:lnTo>
                    <a:pt x="21587" y="7527"/>
                  </a:lnTo>
                  <a:lnTo>
                    <a:pt x="21587" y="7518"/>
                  </a:lnTo>
                  <a:lnTo>
                    <a:pt x="21579" y="7501"/>
                  </a:lnTo>
                  <a:lnTo>
                    <a:pt x="21579" y="7492"/>
                  </a:lnTo>
                  <a:lnTo>
                    <a:pt x="21579" y="7483"/>
                  </a:lnTo>
                  <a:lnTo>
                    <a:pt x="21579" y="7474"/>
                  </a:lnTo>
                  <a:lnTo>
                    <a:pt x="21587" y="7466"/>
                  </a:lnTo>
                  <a:lnTo>
                    <a:pt x="21579" y="7457"/>
                  </a:lnTo>
                  <a:lnTo>
                    <a:pt x="21587" y="7457"/>
                  </a:lnTo>
                  <a:lnTo>
                    <a:pt x="21579" y="7448"/>
                  </a:lnTo>
                  <a:lnTo>
                    <a:pt x="21570" y="7448"/>
                  </a:lnTo>
                  <a:lnTo>
                    <a:pt x="21570" y="7439"/>
                  </a:lnTo>
                  <a:lnTo>
                    <a:pt x="21561" y="7430"/>
                  </a:lnTo>
                  <a:lnTo>
                    <a:pt x="21534" y="7430"/>
                  </a:lnTo>
                  <a:lnTo>
                    <a:pt x="21517" y="7430"/>
                  </a:lnTo>
                  <a:close/>
                  <a:moveTo>
                    <a:pt x="21481" y="6540"/>
                  </a:moveTo>
                  <a:lnTo>
                    <a:pt x="21490" y="6540"/>
                  </a:lnTo>
                  <a:lnTo>
                    <a:pt x="21490" y="6522"/>
                  </a:lnTo>
                  <a:lnTo>
                    <a:pt x="21499" y="6522"/>
                  </a:lnTo>
                  <a:lnTo>
                    <a:pt x="21490" y="6522"/>
                  </a:lnTo>
                  <a:lnTo>
                    <a:pt x="21490" y="6531"/>
                  </a:lnTo>
                  <a:lnTo>
                    <a:pt x="21481" y="6531"/>
                  </a:lnTo>
                  <a:close/>
                  <a:moveTo>
                    <a:pt x="21473" y="7351"/>
                  </a:moveTo>
                  <a:lnTo>
                    <a:pt x="21481" y="7360"/>
                  </a:lnTo>
                  <a:lnTo>
                    <a:pt x="21490" y="7351"/>
                  </a:lnTo>
                  <a:lnTo>
                    <a:pt x="21499" y="7351"/>
                  </a:lnTo>
                  <a:lnTo>
                    <a:pt x="21499" y="7342"/>
                  </a:lnTo>
                  <a:lnTo>
                    <a:pt x="21499" y="7333"/>
                  </a:lnTo>
                  <a:lnTo>
                    <a:pt x="21499" y="7324"/>
                  </a:lnTo>
                  <a:lnTo>
                    <a:pt x="21490" y="7324"/>
                  </a:lnTo>
                  <a:lnTo>
                    <a:pt x="21490" y="7315"/>
                  </a:lnTo>
                  <a:lnTo>
                    <a:pt x="21481" y="7315"/>
                  </a:lnTo>
                  <a:lnTo>
                    <a:pt x="21481" y="7324"/>
                  </a:lnTo>
                  <a:lnTo>
                    <a:pt x="21481" y="7333"/>
                  </a:lnTo>
                  <a:close/>
                  <a:moveTo>
                    <a:pt x="21526" y="5437"/>
                  </a:moveTo>
                  <a:lnTo>
                    <a:pt x="21517" y="5437"/>
                  </a:lnTo>
                  <a:close/>
                  <a:moveTo>
                    <a:pt x="22134" y="8763"/>
                  </a:moveTo>
                  <a:lnTo>
                    <a:pt x="22126" y="8763"/>
                  </a:lnTo>
                  <a:lnTo>
                    <a:pt x="22126" y="8772"/>
                  </a:lnTo>
                  <a:lnTo>
                    <a:pt x="22126" y="8789"/>
                  </a:lnTo>
                  <a:lnTo>
                    <a:pt x="22126" y="8781"/>
                  </a:lnTo>
                  <a:lnTo>
                    <a:pt x="22134" y="8772"/>
                  </a:lnTo>
                  <a:lnTo>
                    <a:pt x="22143" y="8763"/>
                  </a:lnTo>
                  <a:lnTo>
                    <a:pt x="22143" y="8745"/>
                  </a:lnTo>
                  <a:lnTo>
                    <a:pt x="22143" y="8736"/>
                  </a:lnTo>
                  <a:close/>
                  <a:moveTo>
                    <a:pt x="21640" y="5719"/>
                  </a:moveTo>
                  <a:lnTo>
                    <a:pt x="21631" y="5719"/>
                  </a:lnTo>
                  <a:lnTo>
                    <a:pt x="21631" y="5728"/>
                  </a:lnTo>
                  <a:lnTo>
                    <a:pt x="21623" y="5737"/>
                  </a:lnTo>
                  <a:lnTo>
                    <a:pt x="21631" y="5737"/>
                  </a:lnTo>
                  <a:lnTo>
                    <a:pt x="21640" y="5737"/>
                  </a:lnTo>
                  <a:lnTo>
                    <a:pt x="21640" y="5728"/>
                  </a:lnTo>
                  <a:lnTo>
                    <a:pt x="21649" y="5728"/>
                  </a:lnTo>
                  <a:close/>
                  <a:moveTo>
                    <a:pt x="21623" y="5693"/>
                  </a:moveTo>
                  <a:lnTo>
                    <a:pt x="21623" y="5701"/>
                  </a:lnTo>
                  <a:lnTo>
                    <a:pt x="21631" y="5710"/>
                  </a:lnTo>
                  <a:lnTo>
                    <a:pt x="21631" y="5701"/>
                  </a:lnTo>
                  <a:close/>
                  <a:moveTo>
                    <a:pt x="21667" y="8057"/>
                  </a:moveTo>
                  <a:lnTo>
                    <a:pt x="21667" y="8066"/>
                  </a:lnTo>
                  <a:lnTo>
                    <a:pt x="21676" y="8074"/>
                  </a:lnTo>
                  <a:lnTo>
                    <a:pt x="21676" y="8066"/>
                  </a:lnTo>
                  <a:close/>
                  <a:moveTo>
                    <a:pt x="21314" y="8728"/>
                  </a:moveTo>
                  <a:lnTo>
                    <a:pt x="21314" y="8736"/>
                  </a:lnTo>
                  <a:lnTo>
                    <a:pt x="21314" y="8745"/>
                  </a:lnTo>
                  <a:lnTo>
                    <a:pt x="21323" y="8754"/>
                  </a:lnTo>
                  <a:lnTo>
                    <a:pt x="21331" y="8745"/>
                  </a:lnTo>
                  <a:lnTo>
                    <a:pt x="21331" y="8736"/>
                  </a:lnTo>
                  <a:lnTo>
                    <a:pt x="21331" y="8728"/>
                  </a:lnTo>
                  <a:lnTo>
                    <a:pt x="21323" y="8728"/>
                  </a:lnTo>
                  <a:lnTo>
                    <a:pt x="21323" y="8719"/>
                  </a:lnTo>
                  <a:close/>
                  <a:moveTo>
                    <a:pt x="21614" y="7633"/>
                  </a:moveTo>
                  <a:lnTo>
                    <a:pt x="21614" y="7642"/>
                  </a:lnTo>
                  <a:lnTo>
                    <a:pt x="21614" y="7651"/>
                  </a:lnTo>
                  <a:lnTo>
                    <a:pt x="21623" y="7642"/>
                  </a:lnTo>
                  <a:close/>
                  <a:moveTo>
                    <a:pt x="21693" y="8586"/>
                  </a:moveTo>
                  <a:lnTo>
                    <a:pt x="21684" y="8578"/>
                  </a:lnTo>
                  <a:lnTo>
                    <a:pt x="21676" y="8578"/>
                  </a:lnTo>
                  <a:lnTo>
                    <a:pt x="21658" y="8578"/>
                  </a:lnTo>
                  <a:lnTo>
                    <a:pt x="21640" y="8578"/>
                  </a:lnTo>
                  <a:lnTo>
                    <a:pt x="21631" y="8578"/>
                  </a:lnTo>
                  <a:lnTo>
                    <a:pt x="21623" y="8578"/>
                  </a:lnTo>
                  <a:lnTo>
                    <a:pt x="21623" y="8586"/>
                  </a:lnTo>
                  <a:lnTo>
                    <a:pt x="21623" y="8595"/>
                  </a:lnTo>
                  <a:lnTo>
                    <a:pt x="21623" y="8604"/>
                  </a:lnTo>
                  <a:lnTo>
                    <a:pt x="21631" y="8613"/>
                  </a:lnTo>
                  <a:lnTo>
                    <a:pt x="21649" y="8622"/>
                  </a:lnTo>
                  <a:lnTo>
                    <a:pt x="21658" y="8630"/>
                  </a:lnTo>
                  <a:lnTo>
                    <a:pt x="21667" y="8630"/>
                  </a:lnTo>
                  <a:lnTo>
                    <a:pt x="21676" y="8630"/>
                  </a:lnTo>
                  <a:lnTo>
                    <a:pt x="21684" y="8630"/>
                  </a:lnTo>
                  <a:lnTo>
                    <a:pt x="21702" y="8622"/>
                  </a:lnTo>
                  <a:lnTo>
                    <a:pt x="21711" y="8613"/>
                  </a:lnTo>
                  <a:lnTo>
                    <a:pt x="21711" y="8604"/>
                  </a:lnTo>
                  <a:lnTo>
                    <a:pt x="21711" y="8595"/>
                  </a:lnTo>
                  <a:lnTo>
                    <a:pt x="21702" y="8595"/>
                  </a:lnTo>
                  <a:lnTo>
                    <a:pt x="21702" y="8586"/>
                  </a:lnTo>
                  <a:close/>
                  <a:moveTo>
                    <a:pt x="21667" y="8057"/>
                  </a:moveTo>
                  <a:lnTo>
                    <a:pt x="21676" y="8057"/>
                  </a:lnTo>
                  <a:lnTo>
                    <a:pt x="21684" y="8048"/>
                  </a:lnTo>
                  <a:lnTo>
                    <a:pt x="21684" y="8039"/>
                  </a:lnTo>
                  <a:lnTo>
                    <a:pt x="21684" y="8030"/>
                  </a:lnTo>
                  <a:lnTo>
                    <a:pt x="21684" y="8022"/>
                  </a:lnTo>
                  <a:lnTo>
                    <a:pt x="21676" y="8022"/>
                  </a:lnTo>
                  <a:lnTo>
                    <a:pt x="21676" y="8030"/>
                  </a:lnTo>
                  <a:lnTo>
                    <a:pt x="21676" y="8039"/>
                  </a:lnTo>
                  <a:lnTo>
                    <a:pt x="21676" y="8048"/>
                  </a:lnTo>
                  <a:close/>
                  <a:moveTo>
                    <a:pt x="21676" y="8074"/>
                  </a:moveTo>
                  <a:lnTo>
                    <a:pt x="21684" y="8074"/>
                  </a:lnTo>
                  <a:lnTo>
                    <a:pt x="21676" y="8066"/>
                  </a:lnTo>
                  <a:close/>
                  <a:moveTo>
                    <a:pt x="21367" y="7448"/>
                  </a:moveTo>
                  <a:lnTo>
                    <a:pt x="21376" y="7448"/>
                  </a:lnTo>
                  <a:lnTo>
                    <a:pt x="21376" y="7439"/>
                  </a:lnTo>
                  <a:lnTo>
                    <a:pt x="21367" y="7430"/>
                  </a:lnTo>
                  <a:lnTo>
                    <a:pt x="21358" y="7430"/>
                  </a:lnTo>
                  <a:lnTo>
                    <a:pt x="21358" y="7439"/>
                  </a:lnTo>
                  <a:close/>
                  <a:moveTo>
                    <a:pt x="21349" y="7430"/>
                  </a:moveTo>
                  <a:lnTo>
                    <a:pt x="21340" y="7430"/>
                  </a:lnTo>
                  <a:close/>
                  <a:moveTo>
                    <a:pt x="21437" y="7439"/>
                  </a:moveTo>
                  <a:lnTo>
                    <a:pt x="21429" y="7430"/>
                  </a:lnTo>
                  <a:lnTo>
                    <a:pt x="21420" y="7430"/>
                  </a:lnTo>
                  <a:lnTo>
                    <a:pt x="21420" y="7439"/>
                  </a:lnTo>
                  <a:lnTo>
                    <a:pt x="21420" y="7448"/>
                  </a:lnTo>
                  <a:lnTo>
                    <a:pt x="21411" y="7466"/>
                  </a:lnTo>
                  <a:lnTo>
                    <a:pt x="21411" y="7474"/>
                  </a:lnTo>
                  <a:lnTo>
                    <a:pt x="21420" y="7466"/>
                  </a:lnTo>
                  <a:lnTo>
                    <a:pt x="21429" y="7457"/>
                  </a:lnTo>
                  <a:lnTo>
                    <a:pt x="21437" y="7457"/>
                  </a:lnTo>
                  <a:lnTo>
                    <a:pt x="21446" y="7466"/>
                  </a:lnTo>
                  <a:lnTo>
                    <a:pt x="21455" y="7474"/>
                  </a:lnTo>
                  <a:lnTo>
                    <a:pt x="21464" y="7474"/>
                  </a:lnTo>
                  <a:lnTo>
                    <a:pt x="21473" y="7483"/>
                  </a:lnTo>
                  <a:lnTo>
                    <a:pt x="21473" y="7492"/>
                  </a:lnTo>
                  <a:lnTo>
                    <a:pt x="21473" y="7483"/>
                  </a:lnTo>
                  <a:lnTo>
                    <a:pt x="21473" y="7474"/>
                  </a:lnTo>
                  <a:lnTo>
                    <a:pt x="21464" y="7457"/>
                  </a:lnTo>
                  <a:lnTo>
                    <a:pt x="21455" y="7448"/>
                  </a:lnTo>
                  <a:close/>
                  <a:moveTo>
                    <a:pt x="21702" y="8375"/>
                  </a:moveTo>
                  <a:lnTo>
                    <a:pt x="21702" y="8383"/>
                  </a:lnTo>
                  <a:lnTo>
                    <a:pt x="21702" y="8392"/>
                  </a:lnTo>
                  <a:lnTo>
                    <a:pt x="21711" y="8383"/>
                  </a:lnTo>
                  <a:lnTo>
                    <a:pt x="21711" y="8375"/>
                  </a:lnTo>
                  <a:lnTo>
                    <a:pt x="21711" y="8366"/>
                  </a:lnTo>
                  <a:close/>
                  <a:moveTo>
                    <a:pt x="21455" y="7439"/>
                  </a:moveTo>
                  <a:lnTo>
                    <a:pt x="21446" y="7421"/>
                  </a:lnTo>
                  <a:lnTo>
                    <a:pt x="21437" y="7421"/>
                  </a:lnTo>
                  <a:lnTo>
                    <a:pt x="21446" y="7430"/>
                  </a:lnTo>
                  <a:close/>
                  <a:moveTo>
                    <a:pt x="21323" y="7360"/>
                  </a:moveTo>
                  <a:lnTo>
                    <a:pt x="21314" y="7351"/>
                  </a:lnTo>
                  <a:lnTo>
                    <a:pt x="21314" y="7368"/>
                  </a:lnTo>
                  <a:lnTo>
                    <a:pt x="21314" y="7377"/>
                  </a:lnTo>
                  <a:lnTo>
                    <a:pt x="21323" y="7377"/>
                  </a:lnTo>
                  <a:lnTo>
                    <a:pt x="21331" y="7377"/>
                  </a:lnTo>
                  <a:lnTo>
                    <a:pt x="21331" y="7368"/>
                  </a:lnTo>
                  <a:lnTo>
                    <a:pt x="21331" y="7360"/>
                  </a:lnTo>
                  <a:close/>
                  <a:moveTo>
                    <a:pt x="21331" y="7474"/>
                  </a:moveTo>
                  <a:lnTo>
                    <a:pt x="21323" y="7474"/>
                  </a:lnTo>
                  <a:lnTo>
                    <a:pt x="21323" y="7483"/>
                  </a:lnTo>
                  <a:lnTo>
                    <a:pt x="21314" y="7483"/>
                  </a:lnTo>
                  <a:lnTo>
                    <a:pt x="21323" y="7492"/>
                  </a:lnTo>
                  <a:lnTo>
                    <a:pt x="21331" y="7492"/>
                  </a:lnTo>
                  <a:lnTo>
                    <a:pt x="21331" y="7501"/>
                  </a:lnTo>
                  <a:lnTo>
                    <a:pt x="21331" y="7518"/>
                  </a:lnTo>
                  <a:lnTo>
                    <a:pt x="21331" y="7536"/>
                  </a:lnTo>
                  <a:lnTo>
                    <a:pt x="21323" y="7545"/>
                  </a:lnTo>
                  <a:lnTo>
                    <a:pt x="21323" y="7554"/>
                  </a:lnTo>
                  <a:lnTo>
                    <a:pt x="21323" y="7563"/>
                  </a:lnTo>
                  <a:lnTo>
                    <a:pt x="21323" y="7571"/>
                  </a:lnTo>
                  <a:lnTo>
                    <a:pt x="21323" y="7580"/>
                  </a:lnTo>
                  <a:lnTo>
                    <a:pt x="21323" y="7589"/>
                  </a:lnTo>
                  <a:lnTo>
                    <a:pt x="21323" y="7580"/>
                  </a:lnTo>
                  <a:lnTo>
                    <a:pt x="21331" y="7580"/>
                  </a:lnTo>
                  <a:lnTo>
                    <a:pt x="21331" y="7571"/>
                  </a:lnTo>
                  <a:lnTo>
                    <a:pt x="21340" y="7571"/>
                  </a:lnTo>
                  <a:lnTo>
                    <a:pt x="21367" y="7571"/>
                  </a:lnTo>
                  <a:lnTo>
                    <a:pt x="21376" y="7563"/>
                  </a:lnTo>
                  <a:lnTo>
                    <a:pt x="21384" y="7554"/>
                  </a:lnTo>
                  <a:lnTo>
                    <a:pt x="21384" y="7545"/>
                  </a:lnTo>
                  <a:lnTo>
                    <a:pt x="21393" y="7536"/>
                  </a:lnTo>
                  <a:lnTo>
                    <a:pt x="21402" y="7536"/>
                  </a:lnTo>
                  <a:lnTo>
                    <a:pt x="21402" y="7527"/>
                  </a:lnTo>
                  <a:lnTo>
                    <a:pt x="21411" y="7527"/>
                  </a:lnTo>
                  <a:lnTo>
                    <a:pt x="21411" y="7518"/>
                  </a:lnTo>
                  <a:lnTo>
                    <a:pt x="21411" y="7510"/>
                  </a:lnTo>
                  <a:lnTo>
                    <a:pt x="21411" y="7501"/>
                  </a:lnTo>
                  <a:lnTo>
                    <a:pt x="21402" y="7501"/>
                  </a:lnTo>
                  <a:lnTo>
                    <a:pt x="21393" y="7510"/>
                  </a:lnTo>
                  <a:lnTo>
                    <a:pt x="21384" y="7501"/>
                  </a:lnTo>
                  <a:lnTo>
                    <a:pt x="21376" y="7501"/>
                  </a:lnTo>
                  <a:lnTo>
                    <a:pt x="21367" y="7501"/>
                  </a:lnTo>
                  <a:lnTo>
                    <a:pt x="21358" y="7501"/>
                  </a:lnTo>
                  <a:lnTo>
                    <a:pt x="21358" y="7492"/>
                  </a:lnTo>
                  <a:lnTo>
                    <a:pt x="21349" y="7483"/>
                  </a:lnTo>
                  <a:lnTo>
                    <a:pt x="21331" y="7483"/>
                  </a:lnTo>
                  <a:close/>
                  <a:moveTo>
                    <a:pt x="21393" y="7810"/>
                  </a:moveTo>
                  <a:lnTo>
                    <a:pt x="21384" y="7810"/>
                  </a:lnTo>
                  <a:lnTo>
                    <a:pt x="21384" y="7819"/>
                  </a:lnTo>
                  <a:close/>
                  <a:moveTo>
                    <a:pt x="21596" y="7642"/>
                  </a:moveTo>
                  <a:lnTo>
                    <a:pt x="21587" y="7633"/>
                  </a:lnTo>
                  <a:lnTo>
                    <a:pt x="21579" y="7633"/>
                  </a:lnTo>
                  <a:lnTo>
                    <a:pt x="21579" y="7642"/>
                  </a:lnTo>
                  <a:lnTo>
                    <a:pt x="21587" y="7668"/>
                  </a:lnTo>
                  <a:lnTo>
                    <a:pt x="21587" y="7677"/>
                  </a:lnTo>
                  <a:lnTo>
                    <a:pt x="21579" y="7695"/>
                  </a:lnTo>
                  <a:lnTo>
                    <a:pt x="21570" y="7695"/>
                  </a:lnTo>
                  <a:lnTo>
                    <a:pt x="21561" y="7686"/>
                  </a:lnTo>
                  <a:lnTo>
                    <a:pt x="21561" y="7695"/>
                  </a:lnTo>
                  <a:lnTo>
                    <a:pt x="21552" y="7704"/>
                  </a:lnTo>
                  <a:lnTo>
                    <a:pt x="21543" y="7695"/>
                  </a:lnTo>
                  <a:lnTo>
                    <a:pt x="21534" y="7695"/>
                  </a:lnTo>
                  <a:lnTo>
                    <a:pt x="21526" y="7704"/>
                  </a:lnTo>
                  <a:lnTo>
                    <a:pt x="21526" y="7713"/>
                  </a:lnTo>
                  <a:lnTo>
                    <a:pt x="21526" y="7721"/>
                  </a:lnTo>
                  <a:lnTo>
                    <a:pt x="21517" y="7730"/>
                  </a:lnTo>
                  <a:lnTo>
                    <a:pt x="21508" y="7721"/>
                  </a:lnTo>
                  <a:lnTo>
                    <a:pt x="21499" y="7721"/>
                  </a:lnTo>
                  <a:lnTo>
                    <a:pt x="21499" y="7730"/>
                  </a:lnTo>
                  <a:lnTo>
                    <a:pt x="21490" y="7739"/>
                  </a:lnTo>
                  <a:lnTo>
                    <a:pt x="21490" y="7748"/>
                  </a:lnTo>
                  <a:lnTo>
                    <a:pt x="21481" y="7748"/>
                  </a:lnTo>
                  <a:lnTo>
                    <a:pt x="21473" y="7757"/>
                  </a:lnTo>
                  <a:lnTo>
                    <a:pt x="21464" y="7757"/>
                  </a:lnTo>
                  <a:lnTo>
                    <a:pt x="21455" y="7766"/>
                  </a:lnTo>
                  <a:lnTo>
                    <a:pt x="21464" y="7757"/>
                  </a:lnTo>
                  <a:lnTo>
                    <a:pt x="21464" y="7748"/>
                  </a:lnTo>
                  <a:lnTo>
                    <a:pt x="21464" y="7739"/>
                  </a:lnTo>
                  <a:lnTo>
                    <a:pt x="21464" y="7730"/>
                  </a:lnTo>
                  <a:lnTo>
                    <a:pt x="21455" y="7721"/>
                  </a:lnTo>
                  <a:lnTo>
                    <a:pt x="21446" y="7721"/>
                  </a:lnTo>
                  <a:lnTo>
                    <a:pt x="21437" y="7721"/>
                  </a:lnTo>
                  <a:lnTo>
                    <a:pt x="21437" y="7713"/>
                  </a:lnTo>
                  <a:lnTo>
                    <a:pt x="21429" y="7713"/>
                  </a:lnTo>
                  <a:lnTo>
                    <a:pt x="21429" y="7721"/>
                  </a:lnTo>
                  <a:lnTo>
                    <a:pt x="21420" y="7721"/>
                  </a:lnTo>
                  <a:lnTo>
                    <a:pt x="21411" y="7730"/>
                  </a:lnTo>
                  <a:lnTo>
                    <a:pt x="21402" y="7730"/>
                  </a:lnTo>
                  <a:lnTo>
                    <a:pt x="21402" y="7739"/>
                  </a:lnTo>
                  <a:lnTo>
                    <a:pt x="21402" y="7748"/>
                  </a:lnTo>
                  <a:lnTo>
                    <a:pt x="21393" y="7757"/>
                  </a:lnTo>
                  <a:lnTo>
                    <a:pt x="21384" y="7757"/>
                  </a:lnTo>
                  <a:lnTo>
                    <a:pt x="21376" y="7757"/>
                  </a:lnTo>
                  <a:lnTo>
                    <a:pt x="21367" y="7757"/>
                  </a:lnTo>
                  <a:lnTo>
                    <a:pt x="21349" y="7766"/>
                  </a:lnTo>
                  <a:lnTo>
                    <a:pt x="21340" y="7766"/>
                  </a:lnTo>
                  <a:lnTo>
                    <a:pt x="21331" y="7783"/>
                  </a:lnTo>
                  <a:lnTo>
                    <a:pt x="21331" y="7792"/>
                  </a:lnTo>
                  <a:lnTo>
                    <a:pt x="21331" y="7810"/>
                  </a:lnTo>
                  <a:lnTo>
                    <a:pt x="21323" y="7819"/>
                  </a:lnTo>
                  <a:lnTo>
                    <a:pt x="21323" y="7827"/>
                  </a:lnTo>
                  <a:lnTo>
                    <a:pt x="21314" y="7836"/>
                  </a:lnTo>
                  <a:lnTo>
                    <a:pt x="21323" y="7845"/>
                  </a:lnTo>
                  <a:lnTo>
                    <a:pt x="21331" y="7845"/>
                  </a:lnTo>
                  <a:lnTo>
                    <a:pt x="21340" y="7836"/>
                  </a:lnTo>
                  <a:lnTo>
                    <a:pt x="21340" y="7827"/>
                  </a:lnTo>
                  <a:lnTo>
                    <a:pt x="21349" y="7810"/>
                  </a:lnTo>
                  <a:lnTo>
                    <a:pt x="21358" y="7801"/>
                  </a:lnTo>
                  <a:lnTo>
                    <a:pt x="21358" y="7792"/>
                  </a:lnTo>
                  <a:lnTo>
                    <a:pt x="21367" y="7783"/>
                  </a:lnTo>
                  <a:lnTo>
                    <a:pt x="21376" y="7783"/>
                  </a:lnTo>
                  <a:lnTo>
                    <a:pt x="21384" y="7783"/>
                  </a:lnTo>
                  <a:lnTo>
                    <a:pt x="21384" y="7801"/>
                  </a:lnTo>
                  <a:lnTo>
                    <a:pt x="21393" y="7801"/>
                  </a:lnTo>
                  <a:lnTo>
                    <a:pt x="21402" y="7801"/>
                  </a:lnTo>
                  <a:lnTo>
                    <a:pt x="21402" y="7792"/>
                  </a:lnTo>
                  <a:lnTo>
                    <a:pt x="21402" y="7783"/>
                  </a:lnTo>
                  <a:lnTo>
                    <a:pt x="21411" y="7792"/>
                  </a:lnTo>
                  <a:lnTo>
                    <a:pt x="21411" y="7801"/>
                  </a:lnTo>
                  <a:lnTo>
                    <a:pt x="21420" y="7801"/>
                  </a:lnTo>
                  <a:lnTo>
                    <a:pt x="21429" y="7810"/>
                  </a:lnTo>
                  <a:lnTo>
                    <a:pt x="21437" y="7792"/>
                  </a:lnTo>
                  <a:lnTo>
                    <a:pt x="21437" y="7783"/>
                  </a:lnTo>
                  <a:lnTo>
                    <a:pt x="21437" y="7774"/>
                  </a:lnTo>
                  <a:lnTo>
                    <a:pt x="21446" y="7774"/>
                  </a:lnTo>
                  <a:lnTo>
                    <a:pt x="21446" y="7783"/>
                  </a:lnTo>
                  <a:lnTo>
                    <a:pt x="21455" y="7783"/>
                  </a:lnTo>
                  <a:lnTo>
                    <a:pt x="21473" y="7792"/>
                  </a:lnTo>
                  <a:lnTo>
                    <a:pt x="21473" y="7801"/>
                  </a:lnTo>
                  <a:lnTo>
                    <a:pt x="21481" y="7810"/>
                  </a:lnTo>
                  <a:lnTo>
                    <a:pt x="21490" y="7810"/>
                  </a:lnTo>
                  <a:lnTo>
                    <a:pt x="21490" y="7819"/>
                  </a:lnTo>
                  <a:lnTo>
                    <a:pt x="21481" y="7827"/>
                  </a:lnTo>
                  <a:lnTo>
                    <a:pt x="21473" y="7827"/>
                  </a:lnTo>
                  <a:lnTo>
                    <a:pt x="21473" y="7836"/>
                  </a:lnTo>
                  <a:lnTo>
                    <a:pt x="21473" y="7845"/>
                  </a:lnTo>
                  <a:lnTo>
                    <a:pt x="21473" y="7863"/>
                  </a:lnTo>
                  <a:lnTo>
                    <a:pt x="21473" y="7871"/>
                  </a:lnTo>
                  <a:lnTo>
                    <a:pt x="21481" y="7880"/>
                  </a:lnTo>
                  <a:lnTo>
                    <a:pt x="21490" y="7898"/>
                  </a:lnTo>
                  <a:lnTo>
                    <a:pt x="21499" y="7907"/>
                  </a:lnTo>
                  <a:lnTo>
                    <a:pt x="21517" y="7916"/>
                  </a:lnTo>
                  <a:lnTo>
                    <a:pt x="21543" y="7924"/>
                  </a:lnTo>
                  <a:lnTo>
                    <a:pt x="21552" y="7924"/>
                  </a:lnTo>
                  <a:lnTo>
                    <a:pt x="21552" y="7916"/>
                  </a:lnTo>
                  <a:lnTo>
                    <a:pt x="21561" y="7907"/>
                  </a:lnTo>
                  <a:lnTo>
                    <a:pt x="21561" y="7916"/>
                  </a:lnTo>
                  <a:lnTo>
                    <a:pt x="21561" y="7924"/>
                  </a:lnTo>
                  <a:lnTo>
                    <a:pt x="21561" y="7933"/>
                  </a:lnTo>
                  <a:lnTo>
                    <a:pt x="21570" y="7942"/>
                  </a:lnTo>
                  <a:lnTo>
                    <a:pt x="21579" y="7933"/>
                  </a:lnTo>
                  <a:lnTo>
                    <a:pt x="21587" y="7924"/>
                  </a:lnTo>
                  <a:lnTo>
                    <a:pt x="21596" y="7916"/>
                  </a:lnTo>
                  <a:lnTo>
                    <a:pt x="21596" y="7898"/>
                  </a:lnTo>
                  <a:lnTo>
                    <a:pt x="21587" y="7880"/>
                  </a:lnTo>
                  <a:lnTo>
                    <a:pt x="21587" y="7871"/>
                  </a:lnTo>
                  <a:lnTo>
                    <a:pt x="21579" y="7871"/>
                  </a:lnTo>
                  <a:lnTo>
                    <a:pt x="21570" y="7863"/>
                  </a:lnTo>
                  <a:lnTo>
                    <a:pt x="21579" y="7854"/>
                  </a:lnTo>
                  <a:lnTo>
                    <a:pt x="21579" y="7845"/>
                  </a:lnTo>
                  <a:lnTo>
                    <a:pt x="21587" y="7836"/>
                  </a:lnTo>
                  <a:lnTo>
                    <a:pt x="21596" y="7827"/>
                  </a:lnTo>
                  <a:lnTo>
                    <a:pt x="21596" y="7819"/>
                  </a:lnTo>
                  <a:lnTo>
                    <a:pt x="21605" y="7819"/>
                  </a:lnTo>
                  <a:lnTo>
                    <a:pt x="21614" y="7827"/>
                  </a:lnTo>
                  <a:lnTo>
                    <a:pt x="21614" y="7836"/>
                  </a:lnTo>
                  <a:lnTo>
                    <a:pt x="21614" y="7845"/>
                  </a:lnTo>
                  <a:lnTo>
                    <a:pt x="21623" y="7854"/>
                  </a:lnTo>
                  <a:lnTo>
                    <a:pt x="21623" y="7863"/>
                  </a:lnTo>
                  <a:lnTo>
                    <a:pt x="21631" y="7880"/>
                  </a:lnTo>
                  <a:lnTo>
                    <a:pt x="21631" y="7889"/>
                  </a:lnTo>
                  <a:lnTo>
                    <a:pt x="21631" y="7880"/>
                  </a:lnTo>
                  <a:lnTo>
                    <a:pt x="21640" y="7863"/>
                  </a:lnTo>
                  <a:lnTo>
                    <a:pt x="21631" y="7854"/>
                  </a:lnTo>
                  <a:lnTo>
                    <a:pt x="21631" y="7845"/>
                  </a:lnTo>
                  <a:lnTo>
                    <a:pt x="21640" y="7845"/>
                  </a:lnTo>
                  <a:lnTo>
                    <a:pt x="21649" y="7836"/>
                  </a:lnTo>
                  <a:lnTo>
                    <a:pt x="21658" y="7827"/>
                  </a:lnTo>
                  <a:lnTo>
                    <a:pt x="21658" y="7819"/>
                  </a:lnTo>
                  <a:lnTo>
                    <a:pt x="21667" y="7801"/>
                  </a:lnTo>
                  <a:lnTo>
                    <a:pt x="21658" y="7792"/>
                  </a:lnTo>
                  <a:lnTo>
                    <a:pt x="21658" y="7783"/>
                  </a:lnTo>
                  <a:lnTo>
                    <a:pt x="21649" y="7774"/>
                  </a:lnTo>
                  <a:lnTo>
                    <a:pt x="21649" y="7757"/>
                  </a:lnTo>
                  <a:lnTo>
                    <a:pt x="21649" y="7748"/>
                  </a:lnTo>
                  <a:lnTo>
                    <a:pt x="21649" y="7739"/>
                  </a:lnTo>
                  <a:lnTo>
                    <a:pt x="21649" y="7730"/>
                  </a:lnTo>
                  <a:lnTo>
                    <a:pt x="21640" y="7730"/>
                  </a:lnTo>
                  <a:lnTo>
                    <a:pt x="21631" y="7721"/>
                  </a:lnTo>
                  <a:lnTo>
                    <a:pt x="21631" y="7713"/>
                  </a:lnTo>
                  <a:lnTo>
                    <a:pt x="21640" y="7713"/>
                  </a:lnTo>
                  <a:lnTo>
                    <a:pt x="21640" y="7704"/>
                  </a:lnTo>
                  <a:lnTo>
                    <a:pt x="21640" y="7695"/>
                  </a:lnTo>
                  <a:lnTo>
                    <a:pt x="21631" y="7686"/>
                  </a:lnTo>
                  <a:lnTo>
                    <a:pt x="21631" y="7668"/>
                  </a:lnTo>
                  <a:lnTo>
                    <a:pt x="21623" y="7668"/>
                  </a:lnTo>
                  <a:lnTo>
                    <a:pt x="21614" y="7660"/>
                  </a:lnTo>
                  <a:lnTo>
                    <a:pt x="21614" y="7651"/>
                  </a:lnTo>
                  <a:close/>
                  <a:moveTo>
                    <a:pt x="23449" y="9134"/>
                  </a:moveTo>
                  <a:lnTo>
                    <a:pt x="23449" y="9125"/>
                  </a:lnTo>
                  <a:lnTo>
                    <a:pt x="23440" y="9125"/>
                  </a:lnTo>
                  <a:lnTo>
                    <a:pt x="23440" y="9134"/>
                  </a:lnTo>
                  <a:close/>
                  <a:moveTo>
                    <a:pt x="21490" y="7510"/>
                  </a:moveTo>
                  <a:lnTo>
                    <a:pt x="21499" y="7510"/>
                  </a:lnTo>
                  <a:lnTo>
                    <a:pt x="21499" y="7518"/>
                  </a:lnTo>
                  <a:lnTo>
                    <a:pt x="21499" y="7536"/>
                  </a:lnTo>
                  <a:lnTo>
                    <a:pt x="21508" y="7554"/>
                  </a:lnTo>
                  <a:lnTo>
                    <a:pt x="21517" y="7545"/>
                  </a:lnTo>
                  <a:lnTo>
                    <a:pt x="21526" y="7554"/>
                  </a:lnTo>
                  <a:lnTo>
                    <a:pt x="21526" y="7563"/>
                  </a:lnTo>
                  <a:lnTo>
                    <a:pt x="21534" y="7563"/>
                  </a:lnTo>
                  <a:lnTo>
                    <a:pt x="21534" y="7571"/>
                  </a:lnTo>
                  <a:lnTo>
                    <a:pt x="21526" y="7589"/>
                  </a:lnTo>
                  <a:lnTo>
                    <a:pt x="21534" y="7598"/>
                  </a:lnTo>
                  <a:lnTo>
                    <a:pt x="21526" y="7607"/>
                  </a:lnTo>
                  <a:lnTo>
                    <a:pt x="21534" y="7607"/>
                  </a:lnTo>
                  <a:lnTo>
                    <a:pt x="21543" y="7616"/>
                  </a:lnTo>
                  <a:lnTo>
                    <a:pt x="21543" y="7607"/>
                  </a:lnTo>
                  <a:lnTo>
                    <a:pt x="21543" y="7589"/>
                  </a:lnTo>
                  <a:lnTo>
                    <a:pt x="21552" y="7598"/>
                  </a:lnTo>
                  <a:lnTo>
                    <a:pt x="21552" y="7607"/>
                  </a:lnTo>
                  <a:lnTo>
                    <a:pt x="21552" y="7598"/>
                  </a:lnTo>
                  <a:lnTo>
                    <a:pt x="21561" y="7598"/>
                  </a:lnTo>
                  <a:lnTo>
                    <a:pt x="21561" y="7589"/>
                  </a:lnTo>
                  <a:lnTo>
                    <a:pt x="21561" y="7580"/>
                  </a:lnTo>
                  <a:lnTo>
                    <a:pt x="21561" y="7571"/>
                  </a:lnTo>
                  <a:lnTo>
                    <a:pt x="21552" y="7571"/>
                  </a:lnTo>
                  <a:lnTo>
                    <a:pt x="21552" y="7563"/>
                  </a:lnTo>
                  <a:lnTo>
                    <a:pt x="21543" y="7563"/>
                  </a:lnTo>
                  <a:lnTo>
                    <a:pt x="21552" y="7545"/>
                  </a:lnTo>
                  <a:lnTo>
                    <a:pt x="21552" y="7536"/>
                  </a:lnTo>
                  <a:lnTo>
                    <a:pt x="21543" y="7527"/>
                  </a:lnTo>
                  <a:lnTo>
                    <a:pt x="21543" y="7518"/>
                  </a:lnTo>
                  <a:lnTo>
                    <a:pt x="21534" y="7518"/>
                  </a:lnTo>
                  <a:lnTo>
                    <a:pt x="21526" y="7518"/>
                  </a:lnTo>
                  <a:lnTo>
                    <a:pt x="21517" y="7518"/>
                  </a:lnTo>
                  <a:lnTo>
                    <a:pt x="21508" y="7518"/>
                  </a:lnTo>
                  <a:lnTo>
                    <a:pt x="21508" y="7510"/>
                  </a:lnTo>
                  <a:lnTo>
                    <a:pt x="21499" y="7510"/>
                  </a:lnTo>
                  <a:lnTo>
                    <a:pt x="21499" y="7501"/>
                  </a:lnTo>
                  <a:close/>
                  <a:moveTo>
                    <a:pt x="23105" y="4863"/>
                  </a:moveTo>
                  <a:lnTo>
                    <a:pt x="23096" y="4863"/>
                  </a:lnTo>
                  <a:lnTo>
                    <a:pt x="23087" y="4881"/>
                  </a:lnTo>
                  <a:lnTo>
                    <a:pt x="23078" y="4889"/>
                  </a:lnTo>
                  <a:lnTo>
                    <a:pt x="23069" y="4898"/>
                  </a:lnTo>
                  <a:lnTo>
                    <a:pt x="23061" y="4907"/>
                  </a:lnTo>
                  <a:lnTo>
                    <a:pt x="23052" y="4925"/>
                  </a:lnTo>
                  <a:lnTo>
                    <a:pt x="23043" y="4925"/>
                  </a:lnTo>
                  <a:lnTo>
                    <a:pt x="23052" y="4934"/>
                  </a:lnTo>
                  <a:lnTo>
                    <a:pt x="23061" y="4942"/>
                  </a:lnTo>
                  <a:lnTo>
                    <a:pt x="23061" y="4925"/>
                  </a:lnTo>
                  <a:lnTo>
                    <a:pt x="23069" y="4916"/>
                  </a:lnTo>
                  <a:lnTo>
                    <a:pt x="23078" y="4907"/>
                  </a:lnTo>
                  <a:lnTo>
                    <a:pt x="23087" y="4898"/>
                  </a:lnTo>
                  <a:lnTo>
                    <a:pt x="23096" y="4889"/>
                  </a:lnTo>
                  <a:lnTo>
                    <a:pt x="23105" y="4881"/>
                  </a:lnTo>
                  <a:lnTo>
                    <a:pt x="23114" y="4881"/>
                  </a:lnTo>
                  <a:lnTo>
                    <a:pt x="23122" y="4872"/>
                  </a:lnTo>
                  <a:lnTo>
                    <a:pt x="23131" y="4872"/>
                  </a:lnTo>
                  <a:lnTo>
                    <a:pt x="23114" y="4872"/>
                  </a:lnTo>
                  <a:close/>
                  <a:moveTo>
                    <a:pt x="23449" y="9063"/>
                  </a:moveTo>
                  <a:lnTo>
                    <a:pt x="23449" y="9054"/>
                  </a:lnTo>
                  <a:lnTo>
                    <a:pt x="23449" y="9045"/>
                  </a:lnTo>
                  <a:lnTo>
                    <a:pt x="23440" y="9045"/>
                  </a:lnTo>
                  <a:lnTo>
                    <a:pt x="23440" y="9036"/>
                  </a:lnTo>
                  <a:lnTo>
                    <a:pt x="23431" y="9045"/>
                  </a:lnTo>
                  <a:lnTo>
                    <a:pt x="23422" y="9036"/>
                  </a:lnTo>
                  <a:lnTo>
                    <a:pt x="23414" y="9036"/>
                  </a:lnTo>
                  <a:lnTo>
                    <a:pt x="23414" y="9045"/>
                  </a:lnTo>
                  <a:lnTo>
                    <a:pt x="23422" y="9054"/>
                  </a:lnTo>
                  <a:lnTo>
                    <a:pt x="23414" y="9054"/>
                  </a:lnTo>
                  <a:lnTo>
                    <a:pt x="23422" y="9054"/>
                  </a:lnTo>
                  <a:lnTo>
                    <a:pt x="23431" y="9063"/>
                  </a:lnTo>
                  <a:lnTo>
                    <a:pt x="23440" y="9063"/>
                  </a:lnTo>
                  <a:close/>
                  <a:moveTo>
                    <a:pt x="23149" y="4925"/>
                  </a:moveTo>
                  <a:lnTo>
                    <a:pt x="23131" y="4925"/>
                  </a:lnTo>
                  <a:lnTo>
                    <a:pt x="23131" y="4934"/>
                  </a:lnTo>
                  <a:lnTo>
                    <a:pt x="23140" y="4934"/>
                  </a:lnTo>
                  <a:lnTo>
                    <a:pt x="23158" y="4925"/>
                  </a:lnTo>
                  <a:close/>
                  <a:moveTo>
                    <a:pt x="23467" y="8966"/>
                  </a:moveTo>
                  <a:lnTo>
                    <a:pt x="23458" y="8966"/>
                  </a:lnTo>
                  <a:lnTo>
                    <a:pt x="23458" y="8975"/>
                  </a:lnTo>
                  <a:lnTo>
                    <a:pt x="23467" y="8975"/>
                  </a:lnTo>
                  <a:lnTo>
                    <a:pt x="23467" y="8984"/>
                  </a:lnTo>
                  <a:lnTo>
                    <a:pt x="23458" y="8992"/>
                  </a:lnTo>
                  <a:lnTo>
                    <a:pt x="23467" y="8992"/>
                  </a:lnTo>
                  <a:lnTo>
                    <a:pt x="23467" y="8975"/>
                  </a:lnTo>
                  <a:close/>
                  <a:moveTo>
                    <a:pt x="23405" y="9045"/>
                  </a:moveTo>
                  <a:lnTo>
                    <a:pt x="23414" y="9036"/>
                  </a:lnTo>
                  <a:lnTo>
                    <a:pt x="23405" y="9028"/>
                  </a:lnTo>
                  <a:lnTo>
                    <a:pt x="23396" y="9028"/>
                  </a:lnTo>
                  <a:lnTo>
                    <a:pt x="23387" y="9036"/>
                  </a:lnTo>
                  <a:close/>
                  <a:moveTo>
                    <a:pt x="23219" y="8516"/>
                  </a:moveTo>
                  <a:lnTo>
                    <a:pt x="23219" y="8525"/>
                  </a:lnTo>
                  <a:lnTo>
                    <a:pt x="23228" y="8525"/>
                  </a:lnTo>
                  <a:lnTo>
                    <a:pt x="23228" y="8516"/>
                  </a:lnTo>
                  <a:close/>
                  <a:moveTo>
                    <a:pt x="23219" y="8754"/>
                  </a:moveTo>
                  <a:lnTo>
                    <a:pt x="23219" y="8763"/>
                  </a:lnTo>
                  <a:lnTo>
                    <a:pt x="23228" y="8772"/>
                  </a:lnTo>
                  <a:lnTo>
                    <a:pt x="23237" y="8772"/>
                  </a:lnTo>
                  <a:lnTo>
                    <a:pt x="23237" y="8781"/>
                  </a:lnTo>
                  <a:lnTo>
                    <a:pt x="23237" y="8772"/>
                  </a:lnTo>
                  <a:lnTo>
                    <a:pt x="23246" y="8763"/>
                  </a:lnTo>
                  <a:lnTo>
                    <a:pt x="23237" y="8763"/>
                  </a:lnTo>
                  <a:lnTo>
                    <a:pt x="23228" y="8754"/>
                  </a:lnTo>
                  <a:close/>
                  <a:moveTo>
                    <a:pt x="21940" y="5896"/>
                  </a:moveTo>
                  <a:lnTo>
                    <a:pt x="21949" y="5887"/>
                  </a:lnTo>
                  <a:lnTo>
                    <a:pt x="21940" y="5887"/>
                  </a:lnTo>
                  <a:lnTo>
                    <a:pt x="21931" y="5896"/>
                  </a:lnTo>
                  <a:close/>
                  <a:moveTo>
                    <a:pt x="21826" y="5869"/>
                  </a:moveTo>
                  <a:lnTo>
                    <a:pt x="21817" y="5869"/>
                  </a:lnTo>
                  <a:lnTo>
                    <a:pt x="21817" y="5878"/>
                  </a:lnTo>
                  <a:lnTo>
                    <a:pt x="21826" y="5887"/>
                  </a:lnTo>
                  <a:lnTo>
                    <a:pt x="21826" y="5878"/>
                  </a:lnTo>
                  <a:lnTo>
                    <a:pt x="21834" y="5878"/>
                  </a:lnTo>
                  <a:close/>
                  <a:moveTo>
                    <a:pt x="21817" y="5684"/>
                  </a:moveTo>
                  <a:lnTo>
                    <a:pt x="21808" y="5693"/>
                  </a:lnTo>
                  <a:lnTo>
                    <a:pt x="21799" y="5693"/>
                  </a:lnTo>
                  <a:lnTo>
                    <a:pt x="21808" y="5701"/>
                  </a:lnTo>
                  <a:lnTo>
                    <a:pt x="21817" y="5710"/>
                  </a:lnTo>
                  <a:lnTo>
                    <a:pt x="21817" y="5701"/>
                  </a:lnTo>
                  <a:close/>
                  <a:moveTo>
                    <a:pt x="21790" y="8172"/>
                  </a:moveTo>
                  <a:lnTo>
                    <a:pt x="21781" y="8180"/>
                  </a:lnTo>
                  <a:lnTo>
                    <a:pt x="21781" y="8198"/>
                  </a:lnTo>
                  <a:lnTo>
                    <a:pt x="21790" y="8207"/>
                  </a:lnTo>
                  <a:lnTo>
                    <a:pt x="21799" y="8198"/>
                  </a:lnTo>
                  <a:lnTo>
                    <a:pt x="21808" y="8198"/>
                  </a:lnTo>
                  <a:lnTo>
                    <a:pt x="21808" y="8189"/>
                  </a:lnTo>
                  <a:lnTo>
                    <a:pt x="21817" y="8172"/>
                  </a:lnTo>
                  <a:lnTo>
                    <a:pt x="21808" y="8163"/>
                  </a:lnTo>
                  <a:lnTo>
                    <a:pt x="21799" y="8163"/>
                  </a:lnTo>
                  <a:close/>
                  <a:moveTo>
                    <a:pt x="21720" y="8304"/>
                  </a:moveTo>
                  <a:lnTo>
                    <a:pt x="21728" y="8304"/>
                  </a:lnTo>
                  <a:lnTo>
                    <a:pt x="21728" y="8295"/>
                  </a:lnTo>
                  <a:lnTo>
                    <a:pt x="21720" y="8295"/>
                  </a:lnTo>
                  <a:close/>
                  <a:moveTo>
                    <a:pt x="21852" y="5843"/>
                  </a:moveTo>
                  <a:lnTo>
                    <a:pt x="21843" y="5843"/>
                  </a:lnTo>
                  <a:lnTo>
                    <a:pt x="21843" y="5851"/>
                  </a:lnTo>
                  <a:lnTo>
                    <a:pt x="21843" y="5860"/>
                  </a:lnTo>
                  <a:lnTo>
                    <a:pt x="21852" y="5851"/>
                  </a:lnTo>
                  <a:close/>
                  <a:moveTo>
                    <a:pt x="21720" y="8286"/>
                  </a:moveTo>
                  <a:lnTo>
                    <a:pt x="21711" y="8286"/>
                  </a:lnTo>
                  <a:lnTo>
                    <a:pt x="21711" y="8295"/>
                  </a:lnTo>
                  <a:lnTo>
                    <a:pt x="21720" y="8295"/>
                  </a:lnTo>
                  <a:close/>
                  <a:moveTo>
                    <a:pt x="21834" y="6257"/>
                  </a:moveTo>
                  <a:lnTo>
                    <a:pt x="21834" y="6266"/>
                  </a:lnTo>
                  <a:lnTo>
                    <a:pt x="21834" y="6275"/>
                  </a:lnTo>
                  <a:lnTo>
                    <a:pt x="21843" y="6275"/>
                  </a:lnTo>
                  <a:lnTo>
                    <a:pt x="21843" y="6266"/>
                  </a:lnTo>
                  <a:lnTo>
                    <a:pt x="21834" y="6266"/>
                  </a:lnTo>
                  <a:close/>
                  <a:moveTo>
                    <a:pt x="21976" y="5472"/>
                  </a:moveTo>
                  <a:lnTo>
                    <a:pt x="21976" y="5481"/>
                  </a:lnTo>
                  <a:lnTo>
                    <a:pt x="21984" y="5481"/>
                  </a:lnTo>
                  <a:lnTo>
                    <a:pt x="21984" y="5472"/>
                  </a:lnTo>
                  <a:close/>
                  <a:moveTo>
                    <a:pt x="21526" y="7677"/>
                  </a:moveTo>
                  <a:lnTo>
                    <a:pt x="21517" y="7677"/>
                  </a:lnTo>
                  <a:lnTo>
                    <a:pt x="21517" y="7686"/>
                  </a:lnTo>
                  <a:lnTo>
                    <a:pt x="21526" y="7686"/>
                  </a:lnTo>
                  <a:lnTo>
                    <a:pt x="21534" y="7677"/>
                  </a:lnTo>
                  <a:close/>
                  <a:moveTo>
                    <a:pt x="21199" y="7466"/>
                  </a:moveTo>
                  <a:lnTo>
                    <a:pt x="21199" y="7457"/>
                  </a:lnTo>
                  <a:lnTo>
                    <a:pt x="21190" y="7457"/>
                  </a:lnTo>
                  <a:lnTo>
                    <a:pt x="21182" y="7457"/>
                  </a:lnTo>
                  <a:lnTo>
                    <a:pt x="21173" y="7448"/>
                  </a:lnTo>
                  <a:lnTo>
                    <a:pt x="21173" y="7457"/>
                  </a:lnTo>
                  <a:lnTo>
                    <a:pt x="21164" y="7457"/>
                  </a:lnTo>
                  <a:lnTo>
                    <a:pt x="21173" y="7457"/>
                  </a:lnTo>
                  <a:lnTo>
                    <a:pt x="21173" y="7466"/>
                  </a:lnTo>
                  <a:lnTo>
                    <a:pt x="21182" y="7466"/>
                  </a:lnTo>
                  <a:lnTo>
                    <a:pt x="21182" y="7474"/>
                  </a:lnTo>
                  <a:lnTo>
                    <a:pt x="21190" y="7466"/>
                  </a:lnTo>
                  <a:lnTo>
                    <a:pt x="21199" y="7474"/>
                  </a:lnTo>
                  <a:close/>
                  <a:moveTo>
                    <a:pt x="21164" y="6443"/>
                  </a:moveTo>
                  <a:lnTo>
                    <a:pt x="21164" y="6434"/>
                  </a:lnTo>
                  <a:lnTo>
                    <a:pt x="21155" y="6434"/>
                  </a:lnTo>
                  <a:lnTo>
                    <a:pt x="21155" y="6443"/>
                  </a:lnTo>
                  <a:lnTo>
                    <a:pt x="21155" y="6452"/>
                  </a:lnTo>
                  <a:lnTo>
                    <a:pt x="21164" y="6452"/>
                  </a:lnTo>
                  <a:close/>
                  <a:moveTo>
                    <a:pt x="21199" y="7342"/>
                  </a:moveTo>
                  <a:lnTo>
                    <a:pt x="21190" y="7333"/>
                  </a:lnTo>
                  <a:lnTo>
                    <a:pt x="21182" y="7333"/>
                  </a:lnTo>
                  <a:lnTo>
                    <a:pt x="21182" y="7342"/>
                  </a:lnTo>
                  <a:close/>
                  <a:moveTo>
                    <a:pt x="21508" y="7510"/>
                  </a:moveTo>
                  <a:lnTo>
                    <a:pt x="21517" y="7510"/>
                  </a:lnTo>
                  <a:lnTo>
                    <a:pt x="21517" y="7501"/>
                  </a:lnTo>
                  <a:lnTo>
                    <a:pt x="21508" y="7492"/>
                  </a:lnTo>
                  <a:lnTo>
                    <a:pt x="21499" y="7492"/>
                  </a:lnTo>
                  <a:lnTo>
                    <a:pt x="21499" y="7501"/>
                  </a:lnTo>
                  <a:close/>
                  <a:moveTo>
                    <a:pt x="21164" y="7510"/>
                  </a:moveTo>
                  <a:lnTo>
                    <a:pt x="21155" y="7510"/>
                  </a:lnTo>
                  <a:lnTo>
                    <a:pt x="21164" y="7518"/>
                  </a:lnTo>
                  <a:lnTo>
                    <a:pt x="21173" y="7510"/>
                  </a:lnTo>
                  <a:close/>
                  <a:moveTo>
                    <a:pt x="21305" y="8383"/>
                  </a:moveTo>
                  <a:lnTo>
                    <a:pt x="21296" y="8392"/>
                  </a:lnTo>
                  <a:lnTo>
                    <a:pt x="21305" y="8392"/>
                  </a:lnTo>
                  <a:lnTo>
                    <a:pt x="21305" y="8383"/>
                  </a:lnTo>
                  <a:lnTo>
                    <a:pt x="21314" y="8383"/>
                  </a:lnTo>
                  <a:lnTo>
                    <a:pt x="21314" y="8392"/>
                  </a:lnTo>
                  <a:lnTo>
                    <a:pt x="21314" y="8383"/>
                  </a:lnTo>
                  <a:close/>
                  <a:moveTo>
                    <a:pt x="21173" y="7977"/>
                  </a:moveTo>
                  <a:lnTo>
                    <a:pt x="21182" y="7977"/>
                  </a:lnTo>
                  <a:lnTo>
                    <a:pt x="21190" y="7969"/>
                  </a:lnTo>
                  <a:lnTo>
                    <a:pt x="21190" y="7977"/>
                  </a:lnTo>
                  <a:lnTo>
                    <a:pt x="21190" y="7969"/>
                  </a:lnTo>
                  <a:lnTo>
                    <a:pt x="21199" y="7969"/>
                  </a:lnTo>
                  <a:lnTo>
                    <a:pt x="21190" y="7960"/>
                  </a:lnTo>
                  <a:lnTo>
                    <a:pt x="21182" y="7969"/>
                  </a:lnTo>
                  <a:lnTo>
                    <a:pt x="21173" y="7969"/>
                  </a:lnTo>
                  <a:lnTo>
                    <a:pt x="21164" y="7977"/>
                  </a:lnTo>
                  <a:close/>
                  <a:moveTo>
                    <a:pt x="21173" y="7580"/>
                  </a:moveTo>
                  <a:lnTo>
                    <a:pt x="21182" y="7580"/>
                  </a:lnTo>
                  <a:lnTo>
                    <a:pt x="21173" y="7571"/>
                  </a:lnTo>
                  <a:lnTo>
                    <a:pt x="21164" y="7571"/>
                  </a:lnTo>
                  <a:lnTo>
                    <a:pt x="21164" y="7580"/>
                  </a:lnTo>
                  <a:lnTo>
                    <a:pt x="21164" y="7589"/>
                  </a:lnTo>
                  <a:close/>
                  <a:moveTo>
                    <a:pt x="21182" y="7474"/>
                  </a:moveTo>
                  <a:lnTo>
                    <a:pt x="21173" y="7474"/>
                  </a:lnTo>
                  <a:lnTo>
                    <a:pt x="21164" y="7474"/>
                  </a:lnTo>
                  <a:lnTo>
                    <a:pt x="21173" y="7483"/>
                  </a:lnTo>
                  <a:lnTo>
                    <a:pt x="21173" y="7492"/>
                  </a:lnTo>
                  <a:lnTo>
                    <a:pt x="21182" y="7492"/>
                  </a:lnTo>
                  <a:lnTo>
                    <a:pt x="21182" y="7483"/>
                  </a:lnTo>
                  <a:close/>
                  <a:moveTo>
                    <a:pt x="20979" y="7739"/>
                  </a:moveTo>
                  <a:lnTo>
                    <a:pt x="20979" y="7748"/>
                  </a:lnTo>
                  <a:lnTo>
                    <a:pt x="20987" y="7748"/>
                  </a:lnTo>
                  <a:close/>
                  <a:moveTo>
                    <a:pt x="20899" y="8586"/>
                  </a:moveTo>
                  <a:lnTo>
                    <a:pt x="20890" y="8595"/>
                  </a:lnTo>
                  <a:lnTo>
                    <a:pt x="20890" y="8604"/>
                  </a:lnTo>
                  <a:lnTo>
                    <a:pt x="20882" y="8613"/>
                  </a:lnTo>
                  <a:lnTo>
                    <a:pt x="20882" y="8622"/>
                  </a:lnTo>
                  <a:lnTo>
                    <a:pt x="20890" y="8630"/>
                  </a:lnTo>
                  <a:lnTo>
                    <a:pt x="20890" y="8648"/>
                  </a:lnTo>
                  <a:lnTo>
                    <a:pt x="20908" y="8630"/>
                  </a:lnTo>
                  <a:lnTo>
                    <a:pt x="20908" y="8622"/>
                  </a:lnTo>
                  <a:lnTo>
                    <a:pt x="20908" y="8613"/>
                  </a:lnTo>
                  <a:lnTo>
                    <a:pt x="20908" y="8604"/>
                  </a:lnTo>
                  <a:lnTo>
                    <a:pt x="20899" y="8595"/>
                  </a:lnTo>
                  <a:lnTo>
                    <a:pt x="20908" y="8586"/>
                  </a:lnTo>
                  <a:close/>
                  <a:moveTo>
                    <a:pt x="20996" y="8101"/>
                  </a:moveTo>
                  <a:lnTo>
                    <a:pt x="20996" y="8110"/>
                  </a:lnTo>
                  <a:lnTo>
                    <a:pt x="21005" y="8110"/>
                  </a:lnTo>
                  <a:lnTo>
                    <a:pt x="21005" y="8101"/>
                  </a:lnTo>
                  <a:close/>
                  <a:moveTo>
                    <a:pt x="20917" y="8604"/>
                  </a:moveTo>
                  <a:lnTo>
                    <a:pt x="20908" y="8613"/>
                  </a:lnTo>
                  <a:close/>
                  <a:moveTo>
                    <a:pt x="20934" y="8966"/>
                  </a:moveTo>
                  <a:lnTo>
                    <a:pt x="20934" y="8957"/>
                  </a:lnTo>
                  <a:lnTo>
                    <a:pt x="20917" y="8948"/>
                  </a:lnTo>
                  <a:lnTo>
                    <a:pt x="20908" y="8957"/>
                  </a:lnTo>
                  <a:lnTo>
                    <a:pt x="20899" y="8957"/>
                  </a:lnTo>
                  <a:lnTo>
                    <a:pt x="20890" y="8966"/>
                  </a:lnTo>
                  <a:lnTo>
                    <a:pt x="20890" y="8984"/>
                  </a:lnTo>
                  <a:lnTo>
                    <a:pt x="20890" y="8992"/>
                  </a:lnTo>
                  <a:lnTo>
                    <a:pt x="20882" y="8992"/>
                  </a:lnTo>
                  <a:lnTo>
                    <a:pt x="20873" y="8992"/>
                  </a:lnTo>
                  <a:lnTo>
                    <a:pt x="20873" y="9001"/>
                  </a:lnTo>
                  <a:lnTo>
                    <a:pt x="20882" y="9001"/>
                  </a:lnTo>
                  <a:lnTo>
                    <a:pt x="20899" y="9001"/>
                  </a:lnTo>
                  <a:lnTo>
                    <a:pt x="20908" y="9001"/>
                  </a:lnTo>
                  <a:lnTo>
                    <a:pt x="20926" y="9001"/>
                  </a:lnTo>
                  <a:lnTo>
                    <a:pt x="20934" y="8984"/>
                  </a:lnTo>
                  <a:close/>
                  <a:moveTo>
                    <a:pt x="20961" y="7819"/>
                  </a:moveTo>
                  <a:lnTo>
                    <a:pt x="20961" y="7827"/>
                  </a:lnTo>
                  <a:lnTo>
                    <a:pt x="20970" y="7827"/>
                  </a:lnTo>
                  <a:lnTo>
                    <a:pt x="20979" y="7827"/>
                  </a:lnTo>
                  <a:lnTo>
                    <a:pt x="20979" y="7819"/>
                  </a:lnTo>
                  <a:lnTo>
                    <a:pt x="20979" y="7810"/>
                  </a:lnTo>
                  <a:lnTo>
                    <a:pt x="20970" y="7819"/>
                  </a:lnTo>
                  <a:close/>
                  <a:moveTo>
                    <a:pt x="20961" y="7766"/>
                  </a:moveTo>
                  <a:lnTo>
                    <a:pt x="20952" y="7766"/>
                  </a:lnTo>
                  <a:lnTo>
                    <a:pt x="20952" y="7774"/>
                  </a:lnTo>
                  <a:lnTo>
                    <a:pt x="20961" y="7783"/>
                  </a:lnTo>
                  <a:lnTo>
                    <a:pt x="20961" y="7774"/>
                  </a:lnTo>
                  <a:lnTo>
                    <a:pt x="20961" y="7757"/>
                  </a:lnTo>
                  <a:close/>
                  <a:moveTo>
                    <a:pt x="21014" y="8057"/>
                  </a:moveTo>
                  <a:lnTo>
                    <a:pt x="21023" y="8057"/>
                  </a:lnTo>
                  <a:lnTo>
                    <a:pt x="21023" y="8048"/>
                  </a:lnTo>
                  <a:lnTo>
                    <a:pt x="21014" y="8039"/>
                  </a:lnTo>
                  <a:lnTo>
                    <a:pt x="21005" y="8039"/>
                  </a:lnTo>
                  <a:lnTo>
                    <a:pt x="21005" y="8048"/>
                  </a:lnTo>
                  <a:close/>
                  <a:moveTo>
                    <a:pt x="21137" y="8419"/>
                  </a:moveTo>
                  <a:lnTo>
                    <a:pt x="21129" y="8445"/>
                  </a:lnTo>
                  <a:lnTo>
                    <a:pt x="21129" y="8454"/>
                  </a:lnTo>
                  <a:lnTo>
                    <a:pt x="21129" y="8463"/>
                  </a:lnTo>
                  <a:lnTo>
                    <a:pt x="21129" y="8472"/>
                  </a:lnTo>
                  <a:lnTo>
                    <a:pt x="21129" y="8480"/>
                  </a:lnTo>
                  <a:lnTo>
                    <a:pt x="21129" y="8489"/>
                  </a:lnTo>
                  <a:lnTo>
                    <a:pt x="21120" y="8498"/>
                  </a:lnTo>
                  <a:lnTo>
                    <a:pt x="21120" y="8507"/>
                  </a:lnTo>
                  <a:lnTo>
                    <a:pt x="21111" y="8516"/>
                  </a:lnTo>
                  <a:lnTo>
                    <a:pt x="21111" y="8525"/>
                  </a:lnTo>
                  <a:lnTo>
                    <a:pt x="21111" y="8533"/>
                  </a:lnTo>
                  <a:lnTo>
                    <a:pt x="21102" y="8542"/>
                  </a:lnTo>
                  <a:lnTo>
                    <a:pt x="21093" y="8542"/>
                  </a:lnTo>
                  <a:lnTo>
                    <a:pt x="21093" y="8551"/>
                  </a:lnTo>
                  <a:lnTo>
                    <a:pt x="21084" y="8551"/>
                  </a:lnTo>
                  <a:lnTo>
                    <a:pt x="21093" y="8560"/>
                  </a:lnTo>
                  <a:lnTo>
                    <a:pt x="21093" y="8569"/>
                  </a:lnTo>
                  <a:lnTo>
                    <a:pt x="21093" y="8578"/>
                  </a:lnTo>
                  <a:lnTo>
                    <a:pt x="21093" y="8595"/>
                  </a:lnTo>
                  <a:lnTo>
                    <a:pt x="21102" y="8604"/>
                  </a:lnTo>
                  <a:lnTo>
                    <a:pt x="21102" y="8613"/>
                  </a:lnTo>
                  <a:lnTo>
                    <a:pt x="21120" y="8604"/>
                  </a:lnTo>
                  <a:lnTo>
                    <a:pt x="21129" y="8604"/>
                  </a:lnTo>
                  <a:lnTo>
                    <a:pt x="21137" y="8604"/>
                  </a:lnTo>
                  <a:lnTo>
                    <a:pt x="21137" y="8613"/>
                  </a:lnTo>
                  <a:lnTo>
                    <a:pt x="21137" y="8622"/>
                  </a:lnTo>
                  <a:lnTo>
                    <a:pt x="21137" y="8630"/>
                  </a:lnTo>
                  <a:lnTo>
                    <a:pt x="21146" y="8639"/>
                  </a:lnTo>
                  <a:lnTo>
                    <a:pt x="21146" y="8648"/>
                  </a:lnTo>
                  <a:lnTo>
                    <a:pt x="21146" y="8675"/>
                  </a:lnTo>
                  <a:lnTo>
                    <a:pt x="21146" y="8683"/>
                  </a:lnTo>
                  <a:lnTo>
                    <a:pt x="21146" y="8692"/>
                  </a:lnTo>
                  <a:lnTo>
                    <a:pt x="21146" y="8701"/>
                  </a:lnTo>
                  <a:lnTo>
                    <a:pt x="21146" y="8710"/>
                  </a:lnTo>
                  <a:lnTo>
                    <a:pt x="21137" y="8719"/>
                  </a:lnTo>
                  <a:lnTo>
                    <a:pt x="21137" y="8728"/>
                  </a:lnTo>
                  <a:lnTo>
                    <a:pt x="21129" y="8736"/>
                  </a:lnTo>
                  <a:lnTo>
                    <a:pt x="21129" y="8745"/>
                  </a:lnTo>
                  <a:lnTo>
                    <a:pt x="21137" y="8754"/>
                  </a:lnTo>
                  <a:lnTo>
                    <a:pt x="21146" y="8763"/>
                  </a:lnTo>
                  <a:lnTo>
                    <a:pt x="21155" y="8772"/>
                  </a:lnTo>
                  <a:lnTo>
                    <a:pt x="21164" y="8763"/>
                  </a:lnTo>
                  <a:lnTo>
                    <a:pt x="21173" y="8763"/>
                  </a:lnTo>
                  <a:lnTo>
                    <a:pt x="21182" y="8763"/>
                  </a:lnTo>
                  <a:lnTo>
                    <a:pt x="21190" y="8754"/>
                  </a:lnTo>
                  <a:lnTo>
                    <a:pt x="21199" y="8754"/>
                  </a:lnTo>
                  <a:lnTo>
                    <a:pt x="21208" y="8763"/>
                  </a:lnTo>
                  <a:lnTo>
                    <a:pt x="21208" y="8754"/>
                  </a:lnTo>
                  <a:lnTo>
                    <a:pt x="21208" y="8745"/>
                  </a:lnTo>
                  <a:lnTo>
                    <a:pt x="21199" y="8728"/>
                  </a:lnTo>
                  <a:lnTo>
                    <a:pt x="21199" y="8710"/>
                  </a:lnTo>
                  <a:lnTo>
                    <a:pt x="21208" y="8701"/>
                  </a:lnTo>
                  <a:lnTo>
                    <a:pt x="21208" y="8692"/>
                  </a:lnTo>
                  <a:lnTo>
                    <a:pt x="21208" y="8675"/>
                  </a:lnTo>
                  <a:lnTo>
                    <a:pt x="21208" y="8648"/>
                  </a:lnTo>
                  <a:lnTo>
                    <a:pt x="21208" y="8630"/>
                  </a:lnTo>
                  <a:lnTo>
                    <a:pt x="21208" y="8622"/>
                  </a:lnTo>
                  <a:lnTo>
                    <a:pt x="21208" y="8595"/>
                  </a:lnTo>
                  <a:lnTo>
                    <a:pt x="21208" y="8586"/>
                  </a:lnTo>
                  <a:lnTo>
                    <a:pt x="21199" y="8578"/>
                  </a:lnTo>
                  <a:lnTo>
                    <a:pt x="21199" y="8569"/>
                  </a:lnTo>
                  <a:lnTo>
                    <a:pt x="21199" y="8560"/>
                  </a:lnTo>
                  <a:lnTo>
                    <a:pt x="21217" y="8551"/>
                  </a:lnTo>
                  <a:lnTo>
                    <a:pt x="21226" y="8542"/>
                  </a:lnTo>
                  <a:lnTo>
                    <a:pt x="21234" y="8542"/>
                  </a:lnTo>
                  <a:lnTo>
                    <a:pt x="21243" y="8542"/>
                  </a:lnTo>
                  <a:lnTo>
                    <a:pt x="21252" y="8542"/>
                  </a:lnTo>
                  <a:lnTo>
                    <a:pt x="21252" y="8551"/>
                  </a:lnTo>
                  <a:lnTo>
                    <a:pt x="21252" y="8560"/>
                  </a:lnTo>
                  <a:lnTo>
                    <a:pt x="21261" y="8569"/>
                  </a:lnTo>
                  <a:lnTo>
                    <a:pt x="21252" y="8586"/>
                  </a:lnTo>
                  <a:lnTo>
                    <a:pt x="21243" y="8604"/>
                  </a:lnTo>
                  <a:lnTo>
                    <a:pt x="21243" y="8613"/>
                  </a:lnTo>
                  <a:lnTo>
                    <a:pt x="21279" y="8639"/>
                  </a:lnTo>
                  <a:lnTo>
                    <a:pt x="21287" y="8648"/>
                  </a:lnTo>
                  <a:lnTo>
                    <a:pt x="21296" y="8648"/>
                  </a:lnTo>
                  <a:lnTo>
                    <a:pt x="21296" y="8657"/>
                  </a:lnTo>
                  <a:lnTo>
                    <a:pt x="21296" y="8666"/>
                  </a:lnTo>
                  <a:lnTo>
                    <a:pt x="21287" y="8666"/>
                  </a:lnTo>
                  <a:lnTo>
                    <a:pt x="21287" y="8683"/>
                  </a:lnTo>
                  <a:lnTo>
                    <a:pt x="21287" y="8692"/>
                  </a:lnTo>
                  <a:lnTo>
                    <a:pt x="21296" y="8701"/>
                  </a:lnTo>
                  <a:lnTo>
                    <a:pt x="21305" y="8701"/>
                  </a:lnTo>
                  <a:lnTo>
                    <a:pt x="21323" y="8710"/>
                  </a:lnTo>
                  <a:lnTo>
                    <a:pt x="21331" y="8701"/>
                  </a:lnTo>
                  <a:lnTo>
                    <a:pt x="21331" y="8692"/>
                  </a:lnTo>
                  <a:lnTo>
                    <a:pt x="21331" y="8683"/>
                  </a:lnTo>
                  <a:lnTo>
                    <a:pt x="21340" y="8683"/>
                  </a:lnTo>
                  <a:lnTo>
                    <a:pt x="21358" y="8675"/>
                  </a:lnTo>
                  <a:lnTo>
                    <a:pt x="21367" y="8675"/>
                  </a:lnTo>
                  <a:lnTo>
                    <a:pt x="21376" y="8675"/>
                  </a:lnTo>
                  <a:lnTo>
                    <a:pt x="21376" y="8666"/>
                  </a:lnTo>
                  <a:lnTo>
                    <a:pt x="21384" y="8675"/>
                  </a:lnTo>
                  <a:lnTo>
                    <a:pt x="21393" y="8675"/>
                  </a:lnTo>
                  <a:lnTo>
                    <a:pt x="21393" y="8666"/>
                  </a:lnTo>
                  <a:lnTo>
                    <a:pt x="21393" y="8657"/>
                  </a:lnTo>
                  <a:lnTo>
                    <a:pt x="21393" y="8648"/>
                  </a:lnTo>
                  <a:lnTo>
                    <a:pt x="21384" y="8648"/>
                  </a:lnTo>
                  <a:lnTo>
                    <a:pt x="21376" y="8648"/>
                  </a:lnTo>
                  <a:lnTo>
                    <a:pt x="21367" y="8639"/>
                  </a:lnTo>
                  <a:lnTo>
                    <a:pt x="21367" y="8630"/>
                  </a:lnTo>
                  <a:lnTo>
                    <a:pt x="21358" y="8622"/>
                  </a:lnTo>
                  <a:lnTo>
                    <a:pt x="21349" y="8622"/>
                  </a:lnTo>
                  <a:lnTo>
                    <a:pt x="21340" y="8613"/>
                  </a:lnTo>
                  <a:lnTo>
                    <a:pt x="21349" y="8595"/>
                  </a:lnTo>
                  <a:lnTo>
                    <a:pt x="21349" y="8586"/>
                  </a:lnTo>
                  <a:lnTo>
                    <a:pt x="21358" y="8586"/>
                  </a:lnTo>
                  <a:lnTo>
                    <a:pt x="21349" y="8578"/>
                  </a:lnTo>
                  <a:lnTo>
                    <a:pt x="21349" y="8569"/>
                  </a:lnTo>
                  <a:lnTo>
                    <a:pt x="21349" y="8560"/>
                  </a:lnTo>
                  <a:lnTo>
                    <a:pt x="21331" y="8551"/>
                  </a:lnTo>
                  <a:lnTo>
                    <a:pt x="21323" y="8542"/>
                  </a:lnTo>
                  <a:lnTo>
                    <a:pt x="21323" y="8533"/>
                  </a:lnTo>
                  <a:lnTo>
                    <a:pt x="21314" y="8525"/>
                  </a:lnTo>
                  <a:lnTo>
                    <a:pt x="21305" y="8516"/>
                  </a:lnTo>
                  <a:lnTo>
                    <a:pt x="21296" y="8507"/>
                  </a:lnTo>
                  <a:lnTo>
                    <a:pt x="21287" y="8498"/>
                  </a:lnTo>
                  <a:lnTo>
                    <a:pt x="21279" y="8498"/>
                  </a:lnTo>
                  <a:lnTo>
                    <a:pt x="21279" y="8489"/>
                  </a:lnTo>
                  <a:lnTo>
                    <a:pt x="21287" y="8489"/>
                  </a:lnTo>
                  <a:lnTo>
                    <a:pt x="21296" y="8489"/>
                  </a:lnTo>
                  <a:lnTo>
                    <a:pt x="21305" y="8489"/>
                  </a:lnTo>
                  <a:lnTo>
                    <a:pt x="21305" y="8480"/>
                  </a:lnTo>
                  <a:lnTo>
                    <a:pt x="21314" y="8472"/>
                  </a:lnTo>
                  <a:lnTo>
                    <a:pt x="21340" y="8472"/>
                  </a:lnTo>
                  <a:lnTo>
                    <a:pt x="21340" y="8463"/>
                  </a:lnTo>
                  <a:lnTo>
                    <a:pt x="21349" y="8463"/>
                  </a:lnTo>
                  <a:lnTo>
                    <a:pt x="21358" y="8454"/>
                  </a:lnTo>
                  <a:lnTo>
                    <a:pt x="21376" y="8436"/>
                  </a:lnTo>
                  <a:lnTo>
                    <a:pt x="21376" y="8427"/>
                  </a:lnTo>
                  <a:lnTo>
                    <a:pt x="21384" y="8419"/>
                  </a:lnTo>
                  <a:lnTo>
                    <a:pt x="21393" y="8419"/>
                  </a:lnTo>
                  <a:lnTo>
                    <a:pt x="21402" y="8419"/>
                  </a:lnTo>
                  <a:lnTo>
                    <a:pt x="21411" y="8419"/>
                  </a:lnTo>
                  <a:lnTo>
                    <a:pt x="21411" y="8427"/>
                  </a:lnTo>
                  <a:lnTo>
                    <a:pt x="21420" y="8427"/>
                  </a:lnTo>
                  <a:lnTo>
                    <a:pt x="21429" y="8427"/>
                  </a:lnTo>
                  <a:lnTo>
                    <a:pt x="21429" y="8419"/>
                  </a:lnTo>
                  <a:lnTo>
                    <a:pt x="21429" y="8410"/>
                  </a:lnTo>
                  <a:lnTo>
                    <a:pt x="21429" y="8401"/>
                  </a:lnTo>
                  <a:lnTo>
                    <a:pt x="21420" y="8392"/>
                  </a:lnTo>
                  <a:lnTo>
                    <a:pt x="21411" y="8392"/>
                  </a:lnTo>
                  <a:lnTo>
                    <a:pt x="21402" y="8392"/>
                  </a:lnTo>
                  <a:lnTo>
                    <a:pt x="21393" y="8401"/>
                  </a:lnTo>
                  <a:lnTo>
                    <a:pt x="21384" y="8401"/>
                  </a:lnTo>
                  <a:lnTo>
                    <a:pt x="21393" y="8401"/>
                  </a:lnTo>
                  <a:lnTo>
                    <a:pt x="21393" y="8410"/>
                  </a:lnTo>
                  <a:lnTo>
                    <a:pt x="21376" y="8410"/>
                  </a:lnTo>
                  <a:lnTo>
                    <a:pt x="21367" y="8410"/>
                  </a:lnTo>
                  <a:lnTo>
                    <a:pt x="21349" y="8410"/>
                  </a:lnTo>
                  <a:lnTo>
                    <a:pt x="21340" y="8410"/>
                  </a:lnTo>
                  <a:lnTo>
                    <a:pt x="21331" y="8410"/>
                  </a:lnTo>
                  <a:lnTo>
                    <a:pt x="21331" y="8419"/>
                  </a:lnTo>
                  <a:lnTo>
                    <a:pt x="21323" y="8419"/>
                  </a:lnTo>
                  <a:lnTo>
                    <a:pt x="21314" y="8419"/>
                  </a:lnTo>
                  <a:lnTo>
                    <a:pt x="21305" y="8419"/>
                  </a:lnTo>
                  <a:lnTo>
                    <a:pt x="21296" y="8410"/>
                  </a:lnTo>
                  <a:lnTo>
                    <a:pt x="21287" y="8410"/>
                  </a:lnTo>
                  <a:lnTo>
                    <a:pt x="21287" y="8419"/>
                  </a:lnTo>
                  <a:lnTo>
                    <a:pt x="21270" y="8436"/>
                  </a:lnTo>
                  <a:lnTo>
                    <a:pt x="21261" y="8445"/>
                  </a:lnTo>
                  <a:lnTo>
                    <a:pt x="21252" y="8454"/>
                  </a:lnTo>
                  <a:lnTo>
                    <a:pt x="21243" y="8454"/>
                  </a:lnTo>
                  <a:lnTo>
                    <a:pt x="21234" y="8454"/>
                  </a:lnTo>
                  <a:lnTo>
                    <a:pt x="21226" y="8454"/>
                  </a:lnTo>
                  <a:lnTo>
                    <a:pt x="21226" y="8445"/>
                  </a:lnTo>
                  <a:lnTo>
                    <a:pt x="21217" y="8427"/>
                  </a:lnTo>
                  <a:lnTo>
                    <a:pt x="21208" y="8419"/>
                  </a:lnTo>
                  <a:lnTo>
                    <a:pt x="21199" y="8419"/>
                  </a:lnTo>
                  <a:lnTo>
                    <a:pt x="21182" y="8401"/>
                  </a:lnTo>
                  <a:lnTo>
                    <a:pt x="21182" y="8392"/>
                  </a:lnTo>
                  <a:lnTo>
                    <a:pt x="21182" y="8383"/>
                  </a:lnTo>
                  <a:lnTo>
                    <a:pt x="21182" y="8375"/>
                  </a:lnTo>
                  <a:lnTo>
                    <a:pt x="21182" y="8366"/>
                  </a:lnTo>
                  <a:lnTo>
                    <a:pt x="21182" y="8357"/>
                  </a:lnTo>
                  <a:lnTo>
                    <a:pt x="21182" y="8348"/>
                  </a:lnTo>
                  <a:lnTo>
                    <a:pt x="21190" y="8339"/>
                  </a:lnTo>
                  <a:lnTo>
                    <a:pt x="21190" y="8330"/>
                  </a:lnTo>
                  <a:lnTo>
                    <a:pt x="21199" y="8322"/>
                  </a:lnTo>
                  <a:lnTo>
                    <a:pt x="21208" y="8322"/>
                  </a:lnTo>
                  <a:lnTo>
                    <a:pt x="21208" y="8313"/>
                  </a:lnTo>
                  <a:lnTo>
                    <a:pt x="21217" y="8313"/>
                  </a:lnTo>
                  <a:lnTo>
                    <a:pt x="21226" y="8313"/>
                  </a:lnTo>
                  <a:lnTo>
                    <a:pt x="21243" y="8322"/>
                  </a:lnTo>
                  <a:lnTo>
                    <a:pt x="21252" y="8322"/>
                  </a:lnTo>
                  <a:lnTo>
                    <a:pt x="21279" y="8313"/>
                  </a:lnTo>
                  <a:lnTo>
                    <a:pt x="21287" y="8313"/>
                  </a:lnTo>
                  <a:lnTo>
                    <a:pt x="21296" y="8313"/>
                  </a:lnTo>
                  <a:lnTo>
                    <a:pt x="21305" y="8322"/>
                  </a:lnTo>
                  <a:lnTo>
                    <a:pt x="21314" y="8322"/>
                  </a:lnTo>
                  <a:lnTo>
                    <a:pt x="21331" y="8313"/>
                  </a:lnTo>
                  <a:lnTo>
                    <a:pt x="21349" y="8313"/>
                  </a:lnTo>
                  <a:lnTo>
                    <a:pt x="21393" y="8313"/>
                  </a:lnTo>
                  <a:lnTo>
                    <a:pt x="21402" y="8313"/>
                  </a:lnTo>
                  <a:lnTo>
                    <a:pt x="21411" y="8322"/>
                  </a:lnTo>
                  <a:lnTo>
                    <a:pt x="21420" y="8330"/>
                  </a:lnTo>
                  <a:lnTo>
                    <a:pt x="21437" y="8330"/>
                  </a:lnTo>
                  <a:lnTo>
                    <a:pt x="21446" y="8330"/>
                  </a:lnTo>
                  <a:lnTo>
                    <a:pt x="21455" y="8330"/>
                  </a:lnTo>
                  <a:lnTo>
                    <a:pt x="21481" y="8322"/>
                  </a:lnTo>
                  <a:lnTo>
                    <a:pt x="21490" y="8322"/>
                  </a:lnTo>
                  <a:lnTo>
                    <a:pt x="21499" y="8322"/>
                  </a:lnTo>
                  <a:lnTo>
                    <a:pt x="21499" y="8313"/>
                  </a:lnTo>
                  <a:lnTo>
                    <a:pt x="21508" y="8313"/>
                  </a:lnTo>
                  <a:lnTo>
                    <a:pt x="21517" y="8304"/>
                  </a:lnTo>
                  <a:lnTo>
                    <a:pt x="21517" y="8295"/>
                  </a:lnTo>
                  <a:lnTo>
                    <a:pt x="21526" y="8295"/>
                  </a:lnTo>
                  <a:lnTo>
                    <a:pt x="21534" y="8277"/>
                  </a:lnTo>
                  <a:lnTo>
                    <a:pt x="21543" y="8269"/>
                  </a:lnTo>
                  <a:lnTo>
                    <a:pt x="21552" y="8251"/>
                  </a:lnTo>
                  <a:lnTo>
                    <a:pt x="21561" y="8242"/>
                  </a:lnTo>
                  <a:lnTo>
                    <a:pt x="21561" y="8233"/>
                  </a:lnTo>
                  <a:lnTo>
                    <a:pt x="21552" y="8225"/>
                  </a:lnTo>
                  <a:lnTo>
                    <a:pt x="21543" y="8225"/>
                  </a:lnTo>
                  <a:lnTo>
                    <a:pt x="21543" y="8233"/>
                  </a:lnTo>
                  <a:lnTo>
                    <a:pt x="21534" y="8233"/>
                  </a:lnTo>
                  <a:lnTo>
                    <a:pt x="21526" y="8242"/>
                  </a:lnTo>
                  <a:lnTo>
                    <a:pt x="21517" y="8251"/>
                  </a:lnTo>
                  <a:lnTo>
                    <a:pt x="21517" y="8260"/>
                  </a:lnTo>
                  <a:lnTo>
                    <a:pt x="21508" y="8260"/>
                  </a:lnTo>
                  <a:lnTo>
                    <a:pt x="21499" y="8269"/>
                  </a:lnTo>
                  <a:lnTo>
                    <a:pt x="21490" y="8277"/>
                  </a:lnTo>
                  <a:lnTo>
                    <a:pt x="21464" y="8286"/>
                  </a:lnTo>
                  <a:lnTo>
                    <a:pt x="21420" y="8286"/>
                  </a:lnTo>
                  <a:lnTo>
                    <a:pt x="21402" y="8286"/>
                  </a:lnTo>
                  <a:lnTo>
                    <a:pt x="21393" y="8286"/>
                  </a:lnTo>
                  <a:lnTo>
                    <a:pt x="21384" y="8286"/>
                  </a:lnTo>
                  <a:lnTo>
                    <a:pt x="21376" y="8286"/>
                  </a:lnTo>
                  <a:lnTo>
                    <a:pt x="21367" y="8277"/>
                  </a:lnTo>
                  <a:lnTo>
                    <a:pt x="21358" y="8277"/>
                  </a:lnTo>
                  <a:lnTo>
                    <a:pt x="21331" y="8277"/>
                  </a:lnTo>
                  <a:lnTo>
                    <a:pt x="21314" y="8269"/>
                  </a:lnTo>
                  <a:lnTo>
                    <a:pt x="21296" y="8277"/>
                  </a:lnTo>
                  <a:lnTo>
                    <a:pt x="21296" y="8269"/>
                  </a:lnTo>
                  <a:lnTo>
                    <a:pt x="21287" y="8269"/>
                  </a:lnTo>
                  <a:lnTo>
                    <a:pt x="21287" y="8260"/>
                  </a:lnTo>
                  <a:lnTo>
                    <a:pt x="21279" y="8260"/>
                  </a:lnTo>
                  <a:lnTo>
                    <a:pt x="21270" y="8260"/>
                  </a:lnTo>
                  <a:lnTo>
                    <a:pt x="21261" y="8251"/>
                  </a:lnTo>
                  <a:lnTo>
                    <a:pt x="21252" y="8251"/>
                  </a:lnTo>
                  <a:lnTo>
                    <a:pt x="21243" y="8260"/>
                  </a:lnTo>
                  <a:lnTo>
                    <a:pt x="21234" y="8269"/>
                  </a:lnTo>
                  <a:lnTo>
                    <a:pt x="21234" y="8277"/>
                  </a:lnTo>
                  <a:lnTo>
                    <a:pt x="21226" y="8286"/>
                  </a:lnTo>
                  <a:lnTo>
                    <a:pt x="21217" y="8295"/>
                  </a:lnTo>
                  <a:lnTo>
                    <a:pt x="21208" y="8286"/>
                  </a:lnTo>
                  <a:lnTo>
                    <a:pt x="21199" y="8277"/>
                  </a:lnTo>
                  <a:lnTo>
                    <a:pt x="21199" y="8286"/>
                  </a:lnTo>
                  <a:lnTo>
                    <a:pt x="21190" y="8295"/>
                  </a:lnTo>
                  <a:lnTo>
                    <a:pt x="21182" y="8295"/>
                  </a:lnTo>
                  <a:lnTo>
                    <a:pt x="21182" y="8304"/>
                  </a:lnTo>
                  <a:lnTo>
                    <a:pt x="21182" y="8313"/>
                  </a:lnTo>
                  <a:lnTo>
                    <a:pt x="21173" y="8322"/>
                  </a:lnTo>
                  <a:lnTo>
                    <a:pt x="21164" y="8330"/>
                  </a:lnTo>
                  <a:lnTo>
                    <a:pt x="21164" y="8339"/>
                  </a:lnTo>
                  <a:lnTo>
                    <a:pt x="21164" y="8348"/>
                  </a:lnTo>
                  <a:lnTo>
                    <a:pt x="21164" y="8357"/>
                  </a:lnTo>
                  <a:lnTo>
                    <a:pt x="21155" y="8357"/>
                  </a:lnTo>
                  <a:lnTo>
                    <a:pt x="21164" y="8383"/>
                  </a:lnTo>
                  <a:lnTo>
                    <a:pt x="21164" y="8401"/>
                  </a:lnTo>
                  <a:lnTo>
                    <a:pt x="21164" y="8410"/>
                  </a:lnTo>
                  <a:lnTo>
                    <a:pt x="21155" y="8401"/>
                  </a:lnTo>
                  <a:close/>
                  <a:moveTo>
                    <a:pt x="21358" y="7624"/>
                  </a:moveTo>
                  <a:lnTo>
                    <a:pt x="21358" y="7633"/>
                  </a:lnTo>
                  <a:lnTo>
                    <a:pt x="21358" y="7642"/>
                  </a:lnTo>
                  <a:lnTo>
                    <a:pt x="21367" y="7660"/>
                  </a:lnTo>
                  <a:lnTo>
                    <a:pt x="21376" y="7660"/>
                  </a:lnTo>
                  <a:lnTo>
                    <a:pt x="21384" y="7668"/>
                  </a:lnTo>
                  <a:lnTo>
                    <a:pt x="21393" y="7686"/>
                  </a:lnTo>
                  <a:lnTo>
                    <a:pt x="21402" y="7686"/>
                  </a:lnTo>
                  <a:lnTo>
                    <a:pt x="21411" y="7686"/>
                  </a:lnTo>
                  <a:lnTo>
                    <a:pt x="21420" y="7677"/>
                  </a:lnTo>
                  <a:lnTo>
                    <a:pt x="21420" y="7668"/>
                  </a:lnTo>
                  <a:lnTo>
                    <a:pt x="21411" y="7651"/>
                  </a:lnTo>
                  <a:lnTo>
                    <a:pt x="21411" y="7642"/>
                  </a:lnTo>
                  <a:lnTo>
                    <a:pt x="21411" y="7624"/>
                  </a:lnTo>
                  <a:lnTo>
                    <a:pt x="21420" y="7616"/>
                  </a:lnTo>
                  <a:lnTo>
                    <a:pt x="21420" y="7607"/>
                  </a:lnTo>
                  <a:lnTo>
                    <a:pt x="21420" y="7598"/>
                  </a:lnTo>
                  <a:lnTo>
                    <a:pt x="21429" y="7580"/>
                  </a:lnTo>
                  <a:lnTo>
                    <a:pt x="21437" y="7571"/>
                  </a:lnTo>
                  <a:lnTo>
                    <a:pt x="21437" y="7563"/>
                  </a:lnTo>
                  <a:lnTo>
                    <a:pt x="21437" y="7554"/>
                  </a:lnTo>
                  <a:lnTo>
                    <a:pt x="21420" y="7545"/>
                  </a:lnTo>
                  <a:lnTo>
                    <a:pt x="21411" y="7545"/>
                  </a:lnTo>
                  <a:lnTo>
                    <a:pt x="21402" y="7554"/>
                  </a:lnTo>
                  <a:lnTo>
                    <a:pt x="21393" y="7554"/>
                  </a:lnTo>
                  <a:lnTo>
                    <a:pt x="21393" y="7563"/>
                  </a:lnTo>
                  <a:lnTo>
                    <a:pt x="21393" y="7571"/>
                  </a:lnTo>
                  <a:lnTo>
                    <a:pt x="21384" y="7580"/>
                  </a:lnTo>
                  <a:lnTo>
                    <a:pt x="21384" y="7589"/>
                  </a:lnTo>
                  <a:lnTo>
                    <a:pt x="21384" y="7598"/>
                  </a:lnTo>
                  <a:lnTo>
                    <a:pt x="21384" y="7607"/>
                  </a:lnTo>
                  <a:lnTo>
                    <a:pt x="21384" y="7616"/>
                  </a:lnTo>
                  <a:lnTo>
                    <a:pt x="21376" y="7616"/>
                  </a:lnTo>
                  <a:lnTo>
                    <a:pt x="21367" y="7616"/>
                  </a:lnTo>
                  <a:close/>
                  <a:moveTo>
                    <a:pt x="21473" y="7527"/>
                  </a:moveTo>
                  <a:lnTo>
                    <a:pt x="21473" y="7536"/>
                  </a:lnTo>
                  <a:lnTo>
                    <a:pt x="21464" y="7545"/>
                  </a:lnTo>
                  <a:lnTo>
                    <a:pt x="21464" y="7563"/>
                  </a:lnTo>
                  <a:lnTo>
                    <a:pt x="21455" y="7580"/>
                  </a:lnTo>
                  <a:lnTo>
                    <a:pt x="21446" y="7598"/>
                  </a:lnTo>
                  <a:lnTo>
                    <a:pt x="21437" y="7607"/>
                  </a:lnTo>
                  <a:lnTo>
                    <a:pt x="21429" y="7624"/>
                  </a:lnTo>
                  <a:lnTo>
                    <a:pt x="21420" y="7651"/>
                  </a:lnTo>
                  <a:lnTo>
                    <a:pt x="21420" y="7660"/>
                  </a:lnTo>
                  <a:lnTo>
                    <a:pt x="21429" y="7660"/>
                  </a:lnTo>
                  <a:lnTo>
                    <a:pt x="21437" y="7651"/>
                  </a:lnTo>
                  <a:lnTo>
                    <a:pt x="21446" y="7624"/>
                  </a:lnTo>
                  <a:lnTo>
                    <a:pt x="21446" y="7616"/>
                  </a:lnTo>
                  <a:lnTo>
                    <a:pt x="21446" y="7607"/>
                  </a:lnTo>
                  <a:lnTo>
                    <a:pt x="21455" y="7598"/>
                  </a:lnTo>
                  <a:lnTo>
                    <a:pt x="21464" y="7598"/>
                  </a:lnTo>
                  <a:lnTo>
                    <a:pt x="21473" y="7598"/>
                  </a:lnTo>
                  <a:lnTo>
                    <a:pt x="21473" y="7589"/>
                  </a:lnTo>
                  <a:lnTo>
                    <a:pt x="21473" y="7571"/>
                  </a:lnTo>
                  <a:lnTo>
                    <a:pt x="21473" y="7563"/>
                  </a:lnTo>
                  <a:lnTo>
                    <a:pt x="21473" y="7554"/>
                  </a:lnTo>
                  <a:lnTo>
                    <a:pt x="21473" y="7545"/>
                  </a:lnTo>
                  <a:lnTo>
                    <a:pt x="21473" y="7536"/>
                  </a:lnTo>
                  <a:close/>
                  <a:moveTo>
                    <a:pt x="21446" y="7668"/>
                  </a:moveTo>
                  <a:lnTo>
                    <a:pt x="21437" y="7677"/>
                  </a:lnTo>
                  <a:lnTo>
                    <a:pt x="21437" y="7686"/>
                  </a:lnTo>
                  <a:lnTo>
                    <a:pt x="21446" y="7686"/>
                  </a:lnTo>
                  <a:lnTo>
                    <a:pt x="21446" y="7677"/>
                  </a:lnTo>
                  <a:close/>
                  <a:moveTo>
                    <a:pt x="21499" y="7571"/>
                  </a:moveTo>
                  <a:lnTo>
                    <a:pt x="21499" y="7563"/>
                  </a:lnTo>
                  <a:lnTo>
                    <a:pt x="21490" y="7571"/>
                  </a:lnTo>
                  <a:close/>
                  <a:moveTo>
                    <a:pt x="21481" y="7616"/>
                  </a:moveTo>
                  <a:lnTo>
                    <a:pt x="21473" y="7616"/>
                  </a:lnTo>
                  <a:lnTo>
                    <a:pt x="21464" y="7624"/>
                  </a:lnTo>
                  <a:lnTo>
                    <a:pt x="21455" y="7633"/>
                  </a:lnTo>
                  <a:lnTo>
                    <a:pt x="21464" y="7633"/>
                  </a:lnTo>
                  <a:lnTo>
                    <a:pt x="21464" y="7642"/>
                  </a:lnTo>
                  <a:lnTo>
                    <a:pt x="21481" y="7651"/>
                  </a:lnTo>
                  <a:lnTo>
                    <a:pt x="21499" y="7642"/>
                  </a:lnTo>
                  <a:lnTo>
                    <a:pt x="21508" y="7633"/>
                  </a:lnTo>
                  <a:lnTo>
                    <a:pt x="21517" y="7633"/>
                  </a:lnTo>
                  <a:lnTo>
                    <a:pt x="21517" y="7624"/>
                  </a:lnTo>
                  <a:lnTo>
                    <a:pt x="21517" y="7616"/>
                  </a:lnTo>
                  <a:lnTo>
                    <a:pt x="21508" y="7616"/>
                  </a:lnTo>
                  <a:lnTo>
                    <a:pt x="21499" y="7607"/>
                  </a:lnTo>
                  <a:lnTo>
                    <a:pt x="21481" y="7607"/>
                  </a:lnTo>
                  <a:close/>
                  <a:moveTo>
                    <a:pt x="21534" y="7501"/>
                  </a:moveTo>
                  <a:lnTo>
                    <a:pt x="21526" y="7492"/>
                  </a:lnTo>
                  <a:lnTo>
                    <a:pt x="21526" y="7501"/>
                  </a:lnTo>
                  <a:close/>
                  <a:moveTo>
                    <a:pt x="23175" y="8745"/>
                  </a:moveTo>
                  <a:lnTo>
                    <a:pt x="23175" y="8736"/>
                  </a:lnTo>
                  <a:lnTo>
                    <a:pt x="23175" y="8728"/>
                  </a:lnTo>
                  <a:lnTo>
                    <a:pt x="23167" y="8736"/>
                  </a:lnTo>
                  <a:lnTo>
                    <a:pt x="23167" y="8745"/>
                  </a:lnTo>
                  <a:close/>
                  <a:moveTo>
                    <a:pt x="21561" y="7607"/>
                  </a:moveTo>
                  <a:lnTo>
                    <a:pt x="21552" y="7607"/>
                  </a:lnTo>
                  <a:lnTo>
                    <a:pt x="21561" y="7616"/>
                  </a:lnTo>
                  <a:lnTo>
                    <a:pt x="21570" y="7624"/>
                  </a:lnTo>
                  <a:lnTo>
                    <a:pt x="21570" y="7616"/>
                  </a:lnTo>
                  <a:close/>
                  <a:moveTo>
                    <a:pt x="21331" y="7421"/>
                  </a:moveTo>
                  <a:lnTo>
                    <a:pt x="21323" y="7430"/>
                  </a:lnTo>
                  <a:lnTo>
                    <a:pt x="21323" y="7439"/>
                  </a:lnTo>
                  <a:lnTo>
                    <a:pt x="21323" y="7448"/>
                  </a:lnTo>
                  <a:lnTo>
                    <a:pt x="21323" y="7457"/>
                  </a:lnTo>
                  <a:lnTo>
                    <a:pt x="21323" y="7466"/>
                  </a:lnTo>
                  <a:lnTo>
                    <a:pt x="21331" y="7448"/>
                  </a:lnTo>
                  <a:lnTo>
                    <a:pt x="21331" y="7430"/>
                  </a:lnTo>
                  <a:close/>
                  <a:moveTo>
                    <a:pt x="21314" y="7871"/>
                  </a:moveTo>
                  <a:lnTo>
                    <a:pt x="21323" y="7880"/>
                  </a:lnTo>
                  <a:lnTo>
                    <a:pt x="21331" y="7880"/>
                  </a:lnTo>
                  <a:lnTo>
                    <a:pt x="21340" y="7880"/>
                  </a:lnTo>
                  <a:lnTo>
                    <a:pt x="21340" y="7871"/>
                  </a:lnTo>
                  <a:lnTo>
                    <a:pt x="21349" y="7871"/>
                  </a:lnTo>
                  <a:lnTo>
                    <a:pt x="21349" y="7863"/>
                  </a:lnTo>
                  <a:lnTo>
                    <a:pt x="21331" y="7854"/>
                  </a:lnTo>
                  <a:lnTo>
                    <a:pt x="21323" y="7863"/>
                  </a:lnTo>
                  <a:lnTo>
                    <a:pt x="21314" y="7863"/>
                  </a:lnTo>
                  <a:close/>
                  <a:moveTo>
                    <a:pt x="21596" y="7589"/>
                  </a:moveTo>
                  <a:lnTo>
                    <a:pt x="21587" y="7589"/>
                  </a:lnTo>
                  <a:lnTo>
                    <a:pt x="21587" y="7598"/>
                  </a:lnTo>
                  <a:lnTo>
                    <a:pt x="21587" y="7607"/>
                  </a:lnTo>
                  <a:lnTo>
                    <a:pt x="21579" y="7607"/>
                  </a:lnTo>
                  <a:lnTo>
                    <a:pt x="21587" y="7616"/>
                  </a:lnTo>
                  <a:lnTo>
                    <a:pt x="21596" y="7624"/>
                  </a:lnTo>
                  <a:lnTo>
                    <a:pt x="21596" y="7616"/>
                  </a:lnTo>
                  <a:lnTo>
                    <a:pt x="21596" y="7598"/>
                  </a:lnTo>
                  <a:close/>
                  <a:moveTo>
                    <a:pt x="21287" y="7430"/>
                  </a:moveTo>
                  <a:lnTo>
                    <a:pt x="21287" y="7421"/>
                  </a:lnTo>
                  <a:lnTo>
                    <a:pt x="21287" y="7413"/>
                  </a:lnTo>
                  <a:lnTo>
                    <a:pt x="21287" y="7404"/>
                  </a:lnTo>
                  <a:lnTo>
                    <a:pt x="21287" y="7395"/>
                  </a:lnTo>
                  <a:lnTo>
                    <a:pt x="21287" y="7386"/>
                  </a:lnTo>
                  <a:lnTo>
                    <a:pt x="21279" y="7377"/>
                  </a:lnTo>
                  <a:lnTo>
                    <a:pt x="21270" y="7368"/>
                  </a:lnTo>
                  <a:lnTo>
                    <a:pt x="21261" y="7368"/>
                  </a:lnTo>
                  <a:lnTo>
                    <a:pt x="21252" y="7368"/>
                  </a:lnTo>
                  <a:lnTo>
                    <a:pt x="21252" y="7360"/>
                  </a:lnTo>
                  <a:lnTo>
                    <a:pt x="21243" y="7360"/>
                  </a:lnTo>
                  <a:lnTo>
                    <a:pt x="21234" y="7360"/>
                  </a:lnTo>
                  <a:lnTo>
                    <a:pt x="21226" y="7360"/>
                  </a:lnTo>
                  <a:lnTo>
                    <a:pt x="21208" y="7360"/>
                  </a:lnTo>
                  <a:lnTo>
                    <a:pt x="21199" y="7368"/>
                  </a:lnTo>
                  <a:lnTo>
                    <a:pt x="21208" y="7368"/>
                  </a:lnTo>
                  <a:lnTo>
                    <a:pt x="21217" y="7377"/>
                  </a:lnTo>
                  <a:lnTo>
                    <a:pt x="21226" y="7386"/>
                  </a:lnTo>
                  <a:lnTo>
                    <a:pt x="21234" y="7395"/>
                  </a:lnTo>
                  <a:lnTo>
                    <a:pt x="21234" y="7404"/>
                  </a:lnTo>
                  <a:lnTo>
                    <a:pt x="21234" y="7413"/>
                  </a:lnTo>
                  <a:lnTo>
                    <a:pt x="21243" y="7421"/>
                  </a:lnTo>
                  <a:lnTo>
                    <a:pt x="21243" y="7430"/>
                  </a:lnTo>
                  <a:lnTo>
                    <a:pt x="21252" y="7439"/>
                  </a:lnTo>
                  <a:lnTo>
                    <a:pt x="21252" y="7448"/>
                  </a:lnTo>
                  <a:lnTo>
                    <a:pt x="21261" y="7448"/>
                  </a:lnTo>
                  <a:lnTo>
                    <a:pt x="21261" y="7457"/>
                  </a:lnTo>
                  <a:lnTo>
                    <a:pt x="21270" y="7457"/>
                  </a:lnTo>
                  <a:lnTo>
                    <a:pt x="21270" y="7448"/>
                  </a:lnTo>
                  <a:lnTo>
                    <a:pt x="21279" y="7448"/>
                  </a:lnTo>
                  <a:lnTo>
                    <a:pt x="21279" y="7439"/>
                  </a:lnTo>
                  <a:close/>
                  <a:moveTo>
                    <a:pt x="21270" y="7907"/>
                  </a:moveTo>
                  <a:lnTo>
                    <a:pt x="21270" y="7916"/>
                  </a:lnTo>
                  <a:lnTo>
                    <a:pt x="21261" y="7907"/>
                  </a:lnTo>
                  <a:lnTo>
                    <a:pt x="21252" y="7907"/>
                  </a:lnTo>
                  <a:lnTo>
                    <a:pt x="21243" y="7916"/>
                  </a:lnTo>
                  <a:lnTo>
                    <a:pt x="21252" y="7916"/>
                  </a:lnTo>
                  <a:lnTo>
                    <a:pt x="21261" y="7924"/>
                  </a:lnTo>
                  <a:lnTo>
                    <a:pt x="21270" y="7916"/>
                  </a:lnTo>
                  <a:lnTo>
                    <a:pt x="21270" y="7924"/>
                  </a:lnTo>
                  <a:lnTo>
                    <a:pt x="21279" y="7916"/>
                  </a:lnTo>
                  <a:close/>
                  <a:moveTo>
                    <a:pt x="21455" y="7536"/>
                  </a:moveTo>
                  <a:lnTo>
                    <a:pt x="21455" y="7527"/>
                  </a:lnTo>
                  <a:lnTo>
                    <a:pt x="21446" y="7527"/>
                  </a:lnTo>
                  <a:close/>
                  <a:moveTo>
                    <a:pt x="21411" y="7404"/>
                  </a:moveTo>
                  <a:lnTo>
                    <a:pt x="21402" y="7386"/>
                  </a:lnTo>
                  <a:lnTo>
                    <a:pt x="21393" y="7386"/>
                  </a:lnTo>
                  <a:lnTo>
                    <a:pt x="21393" y="7395"/>
                  </a:lnTo>
                  <a:lnTo>
                    <a:pt x="21402" y="7395"/>
                  </a:lnTo>
                  <a:lnTo>
                    <a:pt x="21411" y="7404"/>
                  </a:lnTo>
                  <a:lnTo>
                    <a:pt x="21420" y="7413"/>
                  </a:lnTo>
                  <a:lnTo>
                    <a:pt x="21429" y="7421"/>
                  </a:lnTo>
                  <a:lnTo>
                    <a:pt x="21420" y="7404"/>
                  </a:lnTo>
                  <a:close/>
                  <a:moveTo>
                    <a:pt x="21367" y="7580"/>
                  </a:moveTo>
                  <a:lnTo>
                    <a:pt x="21376" y="7580"/>
                  </a:lnTo>
                  <a:lnTo>
                    <a:pt x="21376" y="7571"/>
                  </a:lnTo>
                  <a:lnTo>
                    <a:pt x="21376" y="7563"/>
                  </a:lnTo>
                  <a:lnTo>
                    <a:pt x="21367" y="7563"/>
                  </a:lnTo>
                  <a:lnTo>
                    <a:pt x="21367" y="7571"/>
                  </a:lnTo>
                  <a:lnTo>
                    <a:pt x="21367" y="7580"/>
                  </a:lnTo>
                  <a:lnTo>
                    <a:pt x="21367" y="7589"/>
                  </a:lnTo>
                  <a:close/>
                  <a:moveTo>
                    <a:pt x="21623" y="7633"/>
                  </a:moveTo>
                  <a:lnTo>
                    <a:pt x="21631" y="7633"/>
                  </a:lnTo>
                  <a:lnTo>
                    <a:pt x="21631" y="7624"/>
                  </a:lnTo>
                  <a:lnTo>
                    <a:pt x="21623" y="7616"/>
                  </a:lnTo>
                  <a:lnTo>
                    <a:pt x="21623" y="7624"/>
                  </a:lnTo>
                  <a:close/>
                  <a:moveTo>
                    <a:pt x="21596" y="8101"/>
                  </a:moveTo>
                  <a:lnTo>
                    <a:pt x="21587" y="8092"/>
                  </a:lnTo>
                  <a:lnTo>
                    <a:pt x="21587" y="8083"/>
                  </a:lnTo>
                  <a:lnTo>
                    <a:pt x="21579" y="8074"/>
                  </a:lnTo>
                  <a:lnTo>
                    <a:pt x="21579" y="8083"/>
                  </a:lnTo>
                  <a:lnTo>
                    <a:pt x="21579" y="8092"/>
                  </a:lnTo>
                  <a:lnTo>
                    <a:pt x="21587" y="8092"/>
                  </a:lnTo>
                  <a:lnTo>
                    <a:pt x="21587" y="8101"/>
                  </a:lnTo>
                  <a:close/>
                  <a:moveTo>
                    <a:pt x="21579" y="8145"/>
                  </a:moveTo>
                  <a:lnTo>
                    <a:pt x="21570" y="8154"/>
                  </a:lnTo>
                  <a:lnTo>
                    <a:pt x="21579" y="8163"/>
                  </a:lnTo>
                  <a:lnTo>
                    <a:pt x="21579" y="8154"/>
                  </a:lnTo>
                  <a:close/>
                  <a:moveTo>
                    <a:pt x="21605" y="8931"/>
                  </a:moveTo>
                  <a:lnTo>
                    <a:pt x="21605" y="8939"/>
                  </a:lnTo>
                  <a:lnTo>
                    <a:pt x="21614" y="8931"/>
                  </a:lnTo>
                  <a:lnTo>
                    <a:pt x="21623" y="8931"/>
                  </a:lnTo>
                  <a:lnTo>
                    <a:pt x="21631" y="8931"/>
                  </a:lnTo>
                  <a:lnTo>
                    <a:pt x="21640" y="8931"/>
                  </a:lnTo>
                  <a:lnTo>
                    <a:pt x="21658" y="8931"/>
                  </a:lnTo>
                  <a:lnTo>
                    <a:pt x="21658" y="8922"/>
                  </a:lnTo>
                  <a:lnTo>
                    <a:pt x="21667" y="8922"/>
                  </a:lnTo>
                  <a:lnTo>
                    <a:pt x="21676" y="8922"/>
                  </a:lnTo>
                  <a:lnTo>
                    <a:pt x="21676" y="8913"/>
                  </a:lnTo>
                  <a:lnTo>
                    <a:pt x="21667" y="8904"/>
                  </a:lnTo>
                  <a:lnTo>
                    <a:pt x="21649" y="8904"/>
                  </a:lnTo>
                  <a:lnTo>
                    <a:pt x="21649" y="8913"/>
                  </a:lnTo>
                  <a:lnTo>
                    <a:pt x="21631" y="8913"/>
                  </a:lnTo>
                  <a:lnTo>
                    <a:pt x="21623" y="8913"/>
                  </a:lnTo>
                  <a:lnTo>
                    <a:pt x="21614" y="8913"/>
                  </a:lnTo>
                  <a:lnTo>
                    <a:pt x="21605" y="8922"/>
                  </a:lnTo>
                  <a:close/>
                  <a:moveTo>
                    <a:pt x="21711" y="8410"/>
                  </a:moveTo>
                  <a:lnTo>
                    <a:pt x="21711" y="8401"/>
                  </a:lnTo>
                  <a:lnTo>
                    <a:pt x="21711" y="8392"/>
                  </a:lnTo>
                  <a:lnTo>
                    <a:pt x="21702" y="8410"/>
                  </a:lnTo>
                  <a:close/>
                  <a:moveTo>
                    <a:pt x="21728" y="8401"/>
                  </a:moveTo>
                  <a:lnTo>
                    <a:pt x="21728" y="8410"/>
                  </a:lnTo>
                  <a:lnTo>
                    <a:pt x="21737" y="8410"/>
                  </a:lnTo>
                  <a:lnTo>
                    <a:pt x="21746" y="8419"/>
                  </a:lnTo>
                  <a:lnTo>
                    <a:pt x="21755" y="8410"/>
                  </a:lnTo>
                  <a:lnTo>
                    <a:pt x="21755" y="8401"/>
                  </a:lnTo>
                  <a:lnTo>
                    <a:pt x="21737" y="8401"/>
                  </a:lnTo>
                  <a:lnTo>
                    <a:pt x="21737" y="8392"/>
                  </a:lnTo>
                  <a:lnTo>
                    <a:pt x="21746" y="8383"/>
                  </a:lnTo>
                  <a:lnTo>
                    <a:pt x="21737" y="8375"/>
                  </a:lnTo>
                  <a:lnTo>
                    <a:pt x="21728" y="8375"/>
                  </a:lnTo>
                  <a:lnTo>
                    <a:pt x="21728" y="8383"/>
                  </a:lnTo>
                  <a:lnTo>
                    <a:pt x="21720" y="8375"/>
                  </a:lnTo>
                  <a:lnTo>
                    <a:pt x="21720" y="8383"/>
                  </a:lnTo>
                  <a:lnTo>
                    <a:pt x="21711" y="8383"/>
                  </a:lnTo>
                  <a:lnTo>
                    <a:pt x="21720" y="8392"/>
                  </a:lnTo>
                  <a:close/>
                  <a:moveTo>
                    <a:pt x="21931" y="8357"/>
                  </a:moveTo>
                  <a:lnTo>
                    <a:pt x="21931" y="8366"/>
                  </a:lnTo>
                  <a:lnTo>
                    <a:pt x="21940" y="8375"/>
                  </a:lnTo>
                  <a:lnTo>
                    <a:pt x="21949" y="8375"/>
                  </a:lnTo>
                  <a:lnTo>
                    <a:pt x="21958" y="8375"/>
                  </a:lnTo>
                  <a:lnTo>
                    <a:pt x="21967" y="8375"/>
                  </a:lnTo>
                  <a:lnTo>
                    <a:pt x="21967" y="8383"/>
                  </a:lnTo>
                  <a:lnTo>
                    <a:pt x="21976" y="8383"/>
                  </a:lnTo>
                  <a:lnTo>
                    <a:pt x="21976" y="8375"/>
                  </a:lnTo>
                  <a:lnTo>
                    <a:pt x="21967" y="8375"/>
                  </a:lnTo>
                  <a:lnTo>
                    <a:pt x="21967" y="8366"/>
                  </a:lnTo>
                  <a:lnTo>
                    <a:pt x="21958" y="8366"/>
                  </a:lnTo>
                  <a:lnTo>
                    <a:pt x="21958" y="8357"/>
                  </a:lnTo>
                  <a:lnTo>
                    <a:pt x="21967" y="8357"/>
                  </a:lnTo>
                  <a:lnTo>
                    <a:pt x="21976" y="8366"/>
                  </a:lnTo>
                  <a:lnTo>
                    <a:pt x="21976" y="8375"/>
                  </a:lnTo>
                  <a:lnTo>
                    <a:pt x="21984" y="8375"/>
                  </a:lnTo>
                  <a:lnTo>
                    <a:pt x="21993" y="8375"/>
                  </a:lnTo>
                  <a:lnTo>
                    <a:pt x="22002" y="8375"/>
                  </a:lnTo>
                  <a:lnTo>
                    <a:pt x="22011" y="8375"/>
                  </a:lnTo>
                  <a:lnTo>
                    <a:pt x="22011" y="8366"/>
                  </a:lnTo>
                  <a:lnTo>
                    <a:pt x="21984" y="8357"/>
                  </a:lnTo>
                  <a:lnTo>
                    <a:pt x="21976" y="8348"/>
                  </a:lnTo>
                  <a:lnTo>
                    <a:pt x="21967" y="8357"/>
                  </a:lnTo>
                  <a:lnTo>
                    <a:pt x="21958" y="8357"/>
                  </a:lnTo>
                  <a:lnTo>
                    <a:pt x="21949" y="8357"/>
                  </a:lnTo>
                  <a:lnTo>
                    <a:pt x="21940" y="8357"/>
                  </a:lnTo>
                  <a:close/>
                  <a:moveTo>
                    <a:pt x="21605" y="7845"/>
                  </a:moveTo>
                  <a:lnTo>
                    <a:pt x="21605" y="7827"/>
                  </a:lnTo>
                  <a:lnTo>
                    <a:pt x="21596" y="7827"/>
                  </a:lnTo>
                  <a:lnTo>
                    <a:pt x="21596" y="7836"/>
                  </a:lnTo>
                  <a:close/>
                  <a:moveTo>
                    <a:pt x="21623" y="8533"/>
                  </a:moveTo>
                  <a:lnTo>
                    <a:pt x="21623" y="8525"/>
                  </a:lnTo>
                  <a:lnTo>
                    <a:pt x="21614" y="8507"/>
                  </a:lnTo>
                  <a:lnTo>
                    <a:pt x="21623" y="8498"/>
                  </a:lnTo>
                  <a:lnTo>
                    <a:pt x="21614" y="8498"/>
                  </a:lnTo>
                  <a:lnTo>
                    <a:pt x="21605" y="8507"/>
                  </a:lnTo>
                  <a:lnTo>
                    <a:pt x="21614" y="8516"/>
                  </a:lnTo>
                  <a:lnTo>
                    <a:pt x="21614" y="8525"/>
                  </a:lnTo>
                  <a:close/>
                  <a:moveTo>
                    <a:pt x="21579" y="8957"/>
                  </a:moveTo>
                  <a:lnTo>
                    <a:pt x="21587" y="8957"/>
                  </a:lnTo>
                  <a:lnTo>
                    <a:pt x="21596" y="8948"/>
                  </a:lnTo>
                  <a:lnTo>
                    <a:pt x="21587" y="8948"/>
                  </a:lnTo>
                  <a:close/>
                  <a:moveTo>
                    <a:pt x="21870" y="8357"/>
                  </a:moveTo>
                  <a:lnTo>
                    <a:pt x="21878" y="8366"/>
                  </a:lnTo>
                  <a:lnTo>
                    <a:pt x="21861" y="8348"/>
                  </a:lnTo>
                  <a:close/>
                  <a:moveTo>
                    <a:pt x="21861" y="6240"/>
                  </a:moveTo>
                  <a:lnTo>
                    <a:pt x="21852" y="6240"/>
                  </a:lnTo>
                  <a:lnTo>
                    <a:pt x="21861" y="6240"/>
                  </a:lnTo>
                  <a:lnTo>
                    <a:pt x="21861" y="6249"/>
                  </a:lnTo>
                  <a:close/>
                  <a:moveTo>
                    <a:pt x="21914" y="5913"/>
                  </a:moveTo>
                  <a:lnTo>
                    <a:pt x="21923" y="5913"/>
                  </a:lnTo>
                  <a:lnTo>
                    <a:pt x="21931" y="5904"/>
                  </a:lnTo>
                  <a:lnTo>
                    <a:pt x="21931" y="5887"/>
                  </a:lnTo>
                  <a:lnTo>
                    <a:pt x="21923" y="5887"/>
                  </a:lnTo>
                  <a:lnTo>
                    <a:pt x="21914" y="5887"/>
                  </a:lnTo>
                  <a:lnTo>
                    <a:pt x="21914" y="5896"/>
                  </a:lnTo>
                  <a:lnTo>
                    <a:pt x="21914" y="5904"/>
                  </a:lnTo>
                  <a:close/>
                  <a:moveTo>
                    <a:pt x="21896" y="8489"/>
                  </a:moveTo>
                  <a:lnTo>
                    <a:pt x="21905" y="8498"/>
                  </a:lnTo>
                  <a:lnTo>
                    <a:pt x="21923" y="8498"/>
                  </a:lnTo>
                  <a:lnTo>
                    <a:pt x="21931" y="8498"/>
                  </a:lnTo>
                  <a:lnTo>
                    <a:pt x="21940" y="8498"/>
                  </a:lnTo>
                  <a:lnTo>
                    <a:pt x="21940" y="8489"/>
                  </a:lnTo>
                  <a:lnTo>
                    <a:pt x="21940" y="8480"/>
                  </a:lnTo>
                  <a:lnTo>
                    <a:pt x="21940" y="8472"/>
                  </a:lnTo>
                  <a:lnTo>
                    <a:pt x="21931" y="8480"/>
                  </a:lnTo>
                  <a:lnTo>
                    <a:pt x="21923" y="8480"/>
                  </a:lnTo>
                  <a:lnTo>
                    <a:pt x="21914" y="8480"/>
                  </a:lnTo>
                  <a:close/>
                  <a:moveTo>
                    <a:pt x="21728" y="8348"/>
                  </a:moveTo>
                  <a:lnTo>
                    <a:pt x="21728" y="8339"/>
                  </a:lnTo>
                  <a:lnTo>
                    <a:pt x="21720" y="8339"/>
                  </a:lnTo>
                  <a:lnTo>
                    <a:pt x="21720" y="8348"/>
                  </a:lnTo>
                  <a:lnTo>
                    <a:pt x="21728" y="8357"/>
                  </a:lnTo>
                  <a:close/>
                  <a:moveTo>
                    <a:pt x="21720" y="8913"/>
                  </a:moveTo>
                  <a:lnTo>
                    <a:pt x="21728" y="8904"/>
                  </a:lnTo>
                  <a:lnTo>
                    <a:pt x="21720" y="8904"/>
                  </a:lnTo>
                  <a:close/>
                  <a:moveTo>
                    <a:pt x="21764" y="8957"/>
                  </a:moveTo>
                  <a:lnTo>
                    <a:pt x="21773" y="8948"/>
                  </a:lnTo>
                  <a:lnTo>
                    <a:pt x="21764" y="8948"/>
                  </a:lnTo>
                  <a:lnTo>
                    <a:pt x="21755" y="8948"/>
                  </a:lnTo>
                  <a:lnTo>
                    <a:pt x="21746" y="8948"/>
                  </a:lnTo>
                  <a:lnTo>
                    <a:pt x="21755" y="8948"/>
                  </a:lnTo>
                  <a:close/>
                  <a:moveTo>
                    <a:pt x="21755" y="8569"/>
                  </a:moveTo>
                  <a:lnTo>
                    <a:pt x="21764" y="8569"/>
                  </a:lnTo>
                  <a:close/>
                  <a:moveTo>
                    <a:pt x="21570" y="8489"/>
                  </a:moveTo>
                  <a:lnTo>
                    <a:pt x="21579" y="8489"/>
                  </a:lnTo>
                  <a:lnTo>
                    <a:pt x="21605" y="8489"/>
                  </a:lnTo>
                  <a:lnTo>
                    <a:pt x="21614" y="8489"/>
                  </a:lnTo>
                  <a:lnTo>
                    <a:pt x="21640" y="8489"/>
                  </a:lnTo>
                  <a:lnTo>
                    <a:pt x="21640" y="8480"/>
                  </a:lnTo>
                  <a:lnTo>
                    <a:pt x="21623" y="8480"/>
                  </a:lnTo>
                  <a:lnTo>
                    <a:pt x="21596" y="8480"/>
                  </a:lnTo>
                  <a:lnTo>
                    <a:pt x="21587" y="8480"/>
                  </a:lnTo>
                  <a:lnTo>
                    <a:pt x="21579" y="8480"/>
                  </a:lnTo>
                  <a:close/>
                  <a:moveTo>
                    <a:pt x="21420" y="8966"/>
                  </a:moveTo>
                  <a:lnTo>
                    <a:pt x="21420" y="8957"/>
                  </a:lnTo>
                  <a:lnTo>
                    <a:pt x="21411" y="8957"/>
                  </a:lnTo>
                  <a:lnTo>
                    <a:pt x="21402" y="8957"/>
                  </a:lnTo>
                  <a:lnTo>
                    <a:pt x="21402" y="8966"/>
                  </a:lnTo>
                  <a:close/>
                  <a:moveTo>
                    <a:pt x="21411" y="8480"/>
                  </a:moveTo>
                  <a:lnTo>
                    <a:pt x="21402" y="8480"/>
                  </a:lnTo>
                  <a:lnTo>
                    <a:pt x="21402" y="8489"/>
                  </a:lnTo>
                  <a:close/>
                  <a:moveTo>
                    <a:pt x="21402" y="8966"/>
                  </a:moveTo>
                  <a:lnTo>
                    <a:pt x="21393" y="8975"/>
                  </a:lnTo>
                  <a:lnTo>
                    <a:pt x="21393" y="8984"/>
                  </a:lnTo>
                  <a:lnTo>
                    <a:pt x="21393" y="8975"/>
                  </a:lnTo>
                  <a:lnTo>
                    <a:pt x="21402" y="8975"/>
                  </a:lnTo>
                  <a:lnTo>
                    <a:pt x="21411" y="8975"/>
                  </a:lnTo>
                  <a:close/>
                  <a:moveTo>
                    <a:pt x="21393" y="8648"/>
                  </a:moveTo>
                  <a:lnTo>
                    <a:pt x="21402" y="8657"/>
                  </a:lnTo>
                  <a:lnTo>
                    <a:pt x="21411" y="8657"/>
                  </a:lnTo>
                  <a:lnTo>
                    <a:pt x="21420" y="8648"/>
                  </a:lnTo>
                  <a:lnTo>
                    <a:pt x="21411" y="8639"/>
                  </a:lnTo>
                  <a:lnTo>
                    <a:pt x="21402" y="8639"/>
                  </a:lnTo>
                  <a:close/>
                  <a:moveTo>
                    <a:pt x="21437" y="8736"/>
                  </a:moveTo>
                  <a:lnTo>
                    <a:pt x="21437" y="8745"/>
                  </a:lnTo>
                  <a:lnTo>
                    <a:pt x="21446" y="8745"/>
                  </a:lnTo>
                  <a:lnTo>
                    <a:pt x="21446" y="8736"/>
                  </a:lnTo>
                  <a:close/>
                  <a:moveTo>
                    <a:pt x="21437" y="8463"/>
                  </a:moveTo>
                  <a:lnTo>
                    <a:pt x="21437" y="8472"/>
                  </a:lnTo>
                  <a:lnTo>
                    <a:pt x="21437" y="8480"/>
                  </a:lnTo>
                  <a:lnTo>
                    <a:pt x="21446" y="8472"/>
                  </a:lnTo>
                  <a:lnTo>
                    <a:pt x="21437" y="8472"/>
                  </a:lnTo>
                  <a:close/>
                  <a:moveTo>
                    <a:pt x="21349" y="8736"/>
                  </a:moveTo>
                  <a:lnTo>
                    <a:pt x="21349" y="8745"/>
                  </a:lnTo>
                  <a:lnTo>
                    <a:pt x="21358" y="8745"/>
                  </a:lnTo>
                  <a:lnTo>
                    <a:pt x="21367" y="8745"/>
                  </a:lnTo>
                  <a:lnTo>
                    <a:pt x="21376" y="8736"/>
                  </a:lnTo>
                  <a:lnTo>
                    <a:pt x="21367" y="8728"/>
                  </a:lnTo>
                  <a:lnTo>
                    <a:pt x="21384" y="8710"/>
                  </a:lnTo>
                  <a:lnTo>
                    <a:pt x="21376" y="8692"/>
                  </a:lnTo>
                  <a:lnTo>
                    <a:pt x="21367" y="8692"/>
                  </a:lnTo>
                  <a:lnTo>
                    <a:pt x="21349" y="8701"/>
                  </a:lnTo>
                  <a:lnTo>
                    <a:pt x="21358" y="8719"/>
                  </a:lnTo>
                  <a:lnTo>
                    <a:pt x="21349" y="8728"/>
                  </a:lnTo>
                  <a:close/>
                  <a:moveTo>
                    <a:pt x="21411" y="8436"/>
                  </a:moveTo>
                  <a:lnTo>
                    <a:pt x="21393" y="8436"/>
                  </a:lnTo>
                  <a:lnTo>
                    <a:pt x="21384" y="8445"/>
                  </a:lnTo>
                  <a:lnTo>
                    <a:pt x="21384" y="8454"/>
                  </a:lnTo>
                  <a:lnTo>
                    <a:pt x="21384" y="8463"/>
                  </a:lnTo>
                  <a:lnTo>
                    <a:pt x="21393" y="8463"/>
                  </a:lnTo>
                  <a:lnTo>
                    <a:pt x="21402" y="8445"/>
                  </a:lnTo>
                  <a:lnTo>
                    <a:pt x="21411" y="8445"/>
                  </a:lnTo>
                  <a:lnTo>
                    <a:pt x="21411" y="8463"/>
                  </a:lnTo>
                  <a:lnTo>
                    <a:pt x="21411" y="8472"/>
                  </a:lnTo>
                  <a:lnTo>
                    <a:pt x="21420" y="8463"/>
                  </a:lnTo>
                  <a:lnTo>
                    <a:pt x="21420" y="8454"/>
                  </a:lnTo>
                  <a:lnTo>
                    <a:pt x="21429" y="8463"/>
                  </a:lnTo>
                  <a:lnTo>
                    <a:pt x="21437" y="8454"/>
                  </a:lnTo>
                  <a:lnTo>
                    <a:pt x="21437" y="8445"/>
                  </a:lnTo>
                  <a:lnTo>
                    <a:pt x="21429" y="8445"/>
                  </a:lnTo>
                  <a:lnTo>
                    <a:pt x="21420" y="8445"/>
                  </a:lnTo>
                  <a:lnTo>
                    <a:pt x="21420" y="8454"/>
                  </a:lnTo>
                  <a:lnTo>
                    <a:pt x="21411" y="8445"/>
                  </a:lnTo>
                  <a:lnTo>
                    <a:pt x="21420" y="8445"/>
                  </a:lnTo>
                  <a:close/>
                  <a:moveTo>
                    <a:pt x="21384" y="9151"/>
                  </a:moveTo>
                  <a:lnTo>
                    <a:pt x="21393" y="9151"/>
                  </a:lnTo>
                  <a:lnTo>
                    <a:pt x="21402" y="9151"/>
                  </a:lnTo>
                  <a:lnTo>
                    <a:pt x="21411" y="9142"/>
                  </a:lnTo>
                  <a:lnTo>
                    <a:pt x="21420" y="9134"/>
                  </a:lnTo>
                  <a:lnTo>
                    <a:pt x="21429" y="9134"/>
                  </a:lnTo>
                  <a:lnTo>
                    <a:pt x="21429" y="9125"/>
                  </a:lnTo>
                  <a:lnTo>
                    <a:pt x="21429" y="9116"/>
                  </a:lnTo>
                  <a:lnTo>
                    <a:pt x="21420" y="9116"/>
                  </a:lnTo>
                  <a:lnTo>
                    <a:pt x="21420" y="9125"/>
                  </a:lnTo>
                  <a:lnTo>
                    <a:pt x="21411" y="9134"/>
                  </a:lnTo>
                  <a:lnTo>
                    <a:pt x="21402" y="9134"/>
                  </a:lnTo>
                  <a:lnTo>
                    <a:pt x="21384" y="9142"/>
                  </a:lnTo>
                  <a:close/>
                  <a:moveTo>
                    <a:pt x="21464" y="8966"/>
                  </a:moveTo>
                  <a:lnTo>
                    <a:pt x="21473" y="8966"/>
                  </a:lnTo>
                  <a:lnTo>
                    <a:pt x="21473" y="8975"/>
                  </a:lnTo>
                  <a:lnTo>
                    <a:pt x="21481" y="8975"/>
                  </a:lnTo>
                  <a:lnTo>
                    <a:pt x="21490" y="8966"/>
                  </a:lnTo>
                  <a:lnTo>
                    <a:pt x="21490" y="8957"/>
                  </a:lnTo>
                  <a:lnTo>
                    <a:pt x="21490" y="8948"/>
                  </a:lnTo>
                  <a:lnTo>
                    <a:pt x="21481" y="8966"/>
                  </a:lnTo>
                  <a:lnTo>
                    <a:pt x="21473" y="8957"/>
                  </a:lnTo>
                  <a:lnTo>
                    <a:pt x="21473" y="8966"/>
                  </a:lnTo>
                  <a:close/>
                  <a:moveTo>
                    <a:pt x="21473" y="8789"/>
                  </a:moveTo>
                  <a:lnTo>
                    <a:pt x="21473" y="8781"/>
                  </a:lnTo>
                  <a:close/>
                  <a:moveTo>
                    <a:pt x="21384" y="8701"/>
                  </a:moveTo>
                  <a:lnTo>
                    <a:pt x="21384" y="8710"/>
                  </a:lnTo>
                  <a:lnTo>
                    <a:pt x="21384" y="8719"/>
                  </a:lnTo>
                  <a:lnTo>
                    <a:pt x="21384" y="8728"/>
                  </a:lnTo>
                  <a:lnTo>
                    <a:pt x="21384" y="8736"/>
                  </a:lnTo>
                  <a:lnTo>
                    <a:pt x="21376" y="8736"/>
                  </a:lnTo>
                  <a:lnTo>
                    <a:pt x="21376" y="8745"/>
                  </a:lnTo>
                  <a:lnTo>
                    <a:pt x="21367" y="8754"/>
                  </a:lnTo>
                  <a:lnTo>
                    <a:pt x="21376" y="8763"/>
                  </a:lnTo>
                  <a:lnTo>
                    <a:pt x="21384" y="8763"/>
                  </a:lnTo>
                  <a:lnTo>
                    <a:pt x="21393" y="8754"/>
                  </a:lnTo>
                  <a:lnTo>
                    <a:pt x="21393" y="8745"/>
                  </a:lnTo>
                  <a:lnTo>
                    <a:pt x="21402" y="8745"/>
                  </a:lnTo>
                  <a:lnTo>
                    <a:pt x="21411" y="8745"/>
                  </a:lnTo>
                  <a:lnTo>
                    <a:pt x="21411" y="8736"/>
                  </a:lnTo>
                  <a:lnTo>
                    <a:pt x="21402" y="8728"/>
                  </a:lnTo>
                  <a:lnTo>
                    <a:pt x="21393" y="8728"/>
                  </a:lnTo>
                  <a:lnTo>
                    <a:pt x="21393" y="8710"/>
                  </a:lnTo>
                  <a:lnTo>
                    <a:pt x="21402" y="8710"/>
                  </a:lnTo>
                  <a:lnTo>
                    <a:pt x="21402" y="8701"/>
                  </a:lnTo>
                  <a:lnTo>
                    <a:pt x="21411" y="8692"/>
                  </a:lnTo>
                  <a:lnTo>
                    <a:pt x="21411" y="8701"/>
                  </a:lnTo>
                  <a:lnTo>
                    <a:pt x="21411" y="8683"/>
                  </a:lnTo>
                  <a:lnTo>
                    <a:pt x="21402" y="8675"/>
                  </a:lnTo>
                  <a:lnTo>
                    <a:pt x="21393" y="8675"/>
                  </a:lnTo>
                  <a:lnTo>
                    <a:pt x="21384" y="8692"/>
                  </a:lnTo>
                  <a:close/>
                  <a:moveTo>
                    <a:pt x="21499" y="8966"/>
                  </a:moveTo>
                  <a:lnTo>
                    <a:pt x="21508" y="8966"/>
                  </a:lnTo>
                  <a:lnTo>
                    <a:pt x="21552" y="8966"/>
                  </a:lnTo>
                  <a:lnTo>
                    <a:pt x="21552" y="8957"/>
                  </a:lnTo>
                  <a:lnTo>
                    <a:pt x="21552" y="8948"/>
                  </a:lnTo>
                  <a:lnTo>
                    <a:pt x="21543" y="8948"/>
                  </a:lnTo>
                  <a:lnTo>
                    <a:pt x="21526" y="8948"/>
                  </a:lnTo>
                  <a:lnTo>
                    <a:pt x="21517" y="8948"/>
                  </a:lnTo>
                  <a:lnTo>
                    <a:pt x="21508" y="8948"/>
                  </a:lnTo>
                  <a:lnTo>
                    <a:pt x="21499" y="8957"/>
                  </a:lnTo>
                  <a:close/>
                  <a:moveTo>
                    <a:pt x="21570" y="8489"/>
                  </a:moveTo>
                  <a:lnTo>
                    <a:pt x="21570" y="8480"/>
                  </a:lnTo>
                  <a:lnTo>
                    <a:pt x="21561" y="8480"/>
                  </a:lnTo>
                  <a:lnTo>
                    <a:pt x="21552" y="8472"/>
                  </a:lnTo>
                  <a:lnTo>
                    <a:pt x="21552" y="8480"/>
                  </a:lnTo>
                  <a:lnTo>
                    <a:pt x="21543" y="8472"/>
                  </a:lnTo>
                  <a:lnTo>
                    <a:pt x="21517" y="8472"/>
                  </a:lnTo>
                  <a:lnTo>
                    <a:pt x="21508" y="8472"/>
                  </a:lnTo>
                  <a:lnTo>
                    <a:pt x="21499" y="8472"/>
                  </a:lnTo>
                  <a:lnTo>
                    <a:pt x="21499" y="8489"/>
                  </a:lnTo>
                  <a:lnTo>
                    <a:pt x="21499" y="8498"/>
                  </a:lnTo>
                  <a:lnTo>
                    <a:pt x="21508" y="8498"/>
                  </a:lnTo>
                  <a:lnTo>
                    <a:pt x="21517" y="8498"/>
                  </a:lnTo>
                  <a:lnTo>
                    <a:pt x="21534" y="8489"/>
                  </a:lnTo>
                  <a:lnTo>
                    <a:pt x="21543" y="8489"/>
                  </a:lnTo>
                  <a:lnTo>
                    <a:pt x="21552" y="8489"/>
                  </a:lnTo>
                  <a:close/>
                  <a:moveTo>
                    <a:pt x="21464" y="8498"/>
                  </a:moveTo>
                  <a:lnTo>
                    <a:pt x="21455" y="8489"/>
                  </a:lnTo>
                  <a:lnTo>
                    <a:pt x="21455" y="8498"/>
                  </a:lnTo>
                  <a:close/>
                  <a:moveTo>
                    <a:pt x="21437" y="9098"/>
                  </a:moveTo>
                  <a:lnTo>
                    <a:pt x="21429" y="9098"/>
                  </a:lnTo>
                  <a:lnTo>
                    <a:pt x="21420" y="9107"/>
                  </a:lnTo>
                  <a:lnTo>
                    <a:pt x="21429" y="9107"/>
                  </a:lnTo>
                  <a:lnTo>
                    <a:pt x="21429" y="9098"/>
                  </a:lnTo>
                  <a:close/>
                  <a:moveTo>
                    <a:pt x="23069" y="7236"/>
                  </a:moveTo>
                  <a:lnTo>
                    <a:pt x="23069" y="7227"/>
                  </a:lnTo>
                  <a:lnTo>
                    <a:pt x="23078" y="7227"/>
                  </a:lnTo>
                  <a:lnTo>
                    <a:pt x="23069" y="7227"/>
                  </a:lnTo>
                  <a:close/>
                  <a:moveTo>
                    <a:pt x="22814" y="6354"/>
                  </a:moveTo>
                  <a:lnTo>
                    <a:pt x="22805" y="6354"/>
                  </a:lnTo>
                  <a:lnTo>
                    <a:pt x="22805" y="6363"/>
                  </a:lnTo>
                  <a:close/>
                  <a:moveTo>
                    <a:pt x="23034" y="7315"/>
                  </a:moveTo>
                  <a:lnTo>
                    <a:pt x="23034" y="7307"/>
                  </a:lnTo>
                  <a:lnTo>
                    <a:pt x="23025" y="7307"/>
                  </a:lnTo>
                  <a:lnTo>
                    <a:pt x="23025" y="7315"/>
                  </a:lnTo>
                  <a:close/>
                  <a:moveTo>
                    <a:pt x="22990" y="7377"/>
                  </a:moveTo>
                  <a:lnTo>
                    <a:pt x="22999" y="7377"/>
                  </a:lnTo>
                  <a:lnTo>
                    <a:pt x="22999" y="7368"/>
                  </a:lnTo>
                  <a:lnTo>
                    <a:pt x="23008" y="7351"/>
                  </a:lnTo>
                  <a:lnTo>
                    <a:pt x="22999" y="7360"/>
                  </a:lnTo>
                  <a:lnTo>
                    <a:pt x="22990" y="7368"/>
                  </a:lnTo>
                  <a:close/>
                  <a:moveTo>
                    <a:pt x="22611" y="5710"/>
                  </a:moveTo>
                  <a:lnTo>
                    <a:pt x="22602" y="5701"/>
                  </a:lnTo>
                  <a:lnTo>
                    <a:pt x="22602" y="5710"/>
                  </a:lnTo>
                  <a:close/>
                  <a:moveTo>
                    <a:pt x="22637" y="5843"/>
                  </a:moveTo>
                  <a:lnTo>
                    <a:pt x="22628" y="5843"/>
                  </a:lnTo>
                  <a:close/>
                  <a:moveTo>
                    <a:pt x="22364" y="8419"/>
                  </a:moveTo>
                  <a:lnTo>
                    <a:pt x="22355" y="8419"/>
                  </a:lnTo>
                  <a:lnTo>
                    <a:pt x="22346" y="8401"/>
                  </a:lnTo>
                  <a:lnTo>
                    <a:pt x="22337" y="8401"/>
                  </a:lnTo>
                  <a:lnTo>
                    <a:pt x="22328" y="8401"/>
                  </a:lnTo>
                  <a:lnTo>
                    <a:pt x="22311" y="8401"/>
                  </a:lnTo>
                  <a:lnTo>
                    <a:pt x="22311" y="8410"/>
                  </a:lnTo>
                  <a:lnTo>
                    <a:pt x="22320" y="8410"/>
                  </a:lnTo>
                  <a:lnTo>
                    <a:pt x="22328" y="8419"/>
                  </a:lnTo>
                  <a:lnTo>
                    <a:pt x="22337" y="8410"/>
                  </a:lnTo>
                  <a:lnTo>
                    <a:pt x="22337" y="8427"/>
                  </a:lnTo>
                  <a:lnTo>
                    <a:pt x="22346" y="8436"/>
                  </a:lnTo>
                  <a:lnTo>
                    <a:pt x="22355" y="8436"/>
                  </a:lnTo>
                  <a:lnTo>
                    <a:pt x="22364" y="8436"/>
                  </a:lnTo>
                  <a:lnTo>
                    <a:pt x="22373" y="8436"/>
                  </a:lnTo>
                  <a:lnTo>
                    <a:pt x="22381" y="8427"/>
                  </a:lnTo>
                  <a:lnTo>
                    <a:pt x="22373" y="8427"/>
                  </a:lnTo>
                  <a:close/>
                  <a:moveTo>
                    <a:pt x="22355" y="8472"/>
                  </a:moveTo>
                  <a:lnTo>
                    <a:pt x="22346" y="8472"/>
                  </a:lnTo>
                  <a:lnTo>
                    <a:pt x="22320" y="8472"/>
                  </a:lnTo>
                  <a:lnTo>
                    <a:pt x="22311" y="8472"/>
                  </a:lnTo>
                  <a:lnTo>
                    <a:pt x="22320" y="8472"/>
                  </a:lnTo>
                  <a:lnTo>
                    <a:pt x="22346" y="8480"/>
                  </a:lnTo>
                  <a:lnTo>
                    <a:pt x="22355" y="8480"/>
                  </a:lnTo>
                  <a:lnTo>
                    <a:pt x="22373" y="8489"/>
                  </a:lnTo>
                  <a:lnTo>
                    <a:pt x="22381" y="8489"/>
                  </a:lnTo>
                  <a:lnTo>
                    <a:pt x="22390" y="8489"/>
                  </a:lnTo>
                  <a:lnTo>
                    <a:pt x="22399" y="8489"/>
                  </a:lnTo>
                  <a:lnTo>
                    <a:pt x="22408" y="8489"/>
                  </a:lnTo>
                  <a:lnTo>
                    <a:pt x="22417" y="8480"/>
                  </a:lnTo>
                  <a:lnTo>
                    <a:pt x="22408" y="8480"/>
                  </a:lnTo>
                  <a:lnTo>
                    <a:pt x="22381" y="8480"/>
                  </a:lnTo>
                  <a:lnTo>
                    <a:pt x="22373" y="8472"/>
                  </a:lnTo>
                  <a:close/>
                  <a:moveTo>
                    <a:pt x="21949" y="6072"/>
                  </a:moveTo>
                  <a:lnTo>
                    <a:pt x="21958" y="6072"/>
                  </a:lnTo>
                  <a:lnTo>
                    <a:pt x="21967" y="6063"/>
                  </a:lnTo>
                  <a:lnTo>
                    <a:pt x="21958" y="6063"/>
                  </a:lnTo>
                  <a:lnTo>
                    <a:pt x="21949" y="6054"/>
                  </a:lnTo>
                  <a:lnTo>
                    <a:pt x="21940" y="6063"/>
                  </a:lnTo>
                  <a:close/>
                  <a:moveTo>
                    <a:pt x="23114" y="4942"/>
                  </a:moveTo>
                  <a:close/>
                  <a:moveTo>
                    <a:pt x="23087" y="8683"/>
                  </a:moveTo>
                  <a:lnTo>
                    <a:pt x="23078" y="8683"/>
                  </a:lnTo>
                  <a:lnTo>
                    <a:pt x="23078" y="8692"/>
                  </a:lnTo>
                  <a:lnTo>
                    <a:pt x="23078" y="8701"/>
                  </a:lnTo>
                  <a:lnTo>
                    <a:pt x="23087" y="8701"/>
                  </a:lnTo>
                  <a:lnTo>
                    <a:pt x="23087" y="8692"/>
                  </a:lnTo>
                  <a:lnTo>
                    <a:pt x="23096" y="8692"/>
                  </a:lnTo>
                  <a:lnTo>
                    <a:pt x="23096" y="8683"/>
                  </a:lnTo>
                  <a:close/>
                  <a:moveTo>
                    <a:pt x="23096" y="4960"/>
                  </a:moveTo>
                  <a:lnTo>
                    <a:pt x="23087" y="4960"/>
                  </a:lnTo>
                  <a:close/>
                  <a:moveTo>
                    <a:pt x="23061" y="7245"/>
                  </a:moveTo>
                  <a:lnTo>
                    <a:pt x="23061" y="7254"/>
                  </a:lnTo>
                  <a:close/>
                  <a:moveTo>
                    <a:pt x="23087" y="4960"/>
                  </a:moveTo>
                  <a:lnTo>
                    <a:pt x="23078" y="4960"/>
                  </a:lnTo>
                  <a:close/>
                  <a:moveTo>
                    <a:pt x="23069" y="6962"/>
                  </a:moveTo>
                  <a:lnTo>
                    <a:pt x="23061" y="6962"/>
                  </a:lnTo>
                  <a:lnTo>
                    <a:pt x="23069" y="6971"/>
                  </a:lnTo>
                  <a:close/>
                  <a:moveTo>
                    <a:pt x="23061" y="7148"/>
                  </a:moveTo>
                  <a:lnTo>
                    <a:pt x="23069" y="7148"/>
                  </a:lnTo>
                  <a:close/>
                  <a:moveTo>
                    <a:pt x="22231" y="8498"/>
                  </a:moveTo>
                  <a:lnTo>
                    <a:pt x="22231" y="8507"/>
                  </a:lnTo>
                  <a:lnTo>
                    <a:pt x="22240" y="8498"/>
                  </a:lnTo>
                  <a:close/>
                  <a:moveTo>
                    <a:pt x="23078" y="7007"/>
                  </a:moveTo>
                  <a:lnTo>
                    <a:pt x="23069" y="7007"/>
                  </a:lnTo>
                  <a:lnTo>
                    <a:pt x="23069" y="7015"/>
                  </a:lnTo>
                  <a:lnTo>
                    <a:pt x="23078" y="7015"/>
                  </a:lnTo>
                  <a:close/>
                  <a:moveTo>
                    <a:pt x="22514" y="7651"/>
                  </a:moveTo>
                  <a:lnTo>
                    <a:pt x="22505" y="7660"/>
                  </a:lnTo>
                  <a:close/>
                  <a:moveTo>
                    <a:pt x="21958" y="8392"/>
                  </a:moveTo>
                  <a:lnTo>
                    <a:pt x="21967" y="8383"/>
                  </a:lnTo>
                  <a:lnTo>
                    <a:pt x="21958" y="8383"/>
                  </a:lnTo>
                  <a:lnTo>
                    <a:pt x="21949" y="8383"/>
                  </a:lnTo>
                  <a:close/>
                  <a:moveTo>
                    <a:pt x="21967" y="8427"/>
                  </a:moveTo>
                  <a:lnTo>
                    <a:pt x="21967" y="8436"/>
                  </a:lnTo>
                  <a:lnTo>
                    <a:pt x="21967" y="8445"/>
                  </a:lnTo>
                  <a:lnTo>
                    <a:pt x="21976" y="8445"/>
                  </a:lnTo>
                  <a:lnTo>
                    <a:pt x="21984" y="8445"/>
                  </a:lnTo>
                  <a:lnTo>
                    <a:pt x="21993" y="8436"/>
                  </a:lnTo>
                  <a:lnTo>
                    <a:pt x="21993" y="8419"/>
                  </a:lnTo>
                  <a:lnTo>
                    <a:pt x="21984" y="8419"/>
                  </a:lnTo>
                  <a:lnTo>
                    <a:pt x="21976" y="8419"/>
                  </a:lnTo>
                  <a:lnTo>
                    <a:pt x="21967" y="8419"/>
                  </a:lnTo>
                  <a:lnTo>
                    <a:pt x="21958" y="8419"/>
                  </a:lnTo>
                  <a:close/>
                  <a:moveTo>
                    <a:pt x="21923" y="9222"/>
                  </a:moveTo>
                  <a:lnTo>
                    <a:pt x="21940" y="9213"/>
                  </a:lnTo>
                  <a:lnTo>
                    <a:pt x="21949" y="9222"/>
                  </a:lnTo>
                  <a:lnTo>
                    <a:pt x="21958" y="9222"/>
                  </a:lnTo>
                  <a:lnTo>
                    <a:pt x="21958" y="9213"/>
                  </a:lnTo>
                  <a:lnTo>
                    <a:pt x="21949" y="9213"/>
                  </a:lnTo>
                  <a:lnTo>
                    <a:pt x="21949" y="9204"/>
                  </a:lnTo>
                  <a:lnTo>
                    <a:pt x="21940" y="9195"/>
                  </a:lnTo>
                  <a:lnTo>
                    <a:pt x="21940" y="9187"/>
                  </a:lnTo>
                  <a:lnTo>
                    <a:pt x="21931" y="9187"/>
                  </a:lnTo>
                  <a:lnTo>
                    <a:pt x="21923" y="9195"/>
                  </a:lnTo>
                  <a:lnTo>
                    <a:pt x="21931" y="9204"/>
                  </a:lnTo>
                  <a:lnTo>
                    <a:pt x="21923" y="9213"/>
                  </a:lnTo>
                  <a:lnTo>
                    <a:pt x="21923" y="9204"/>
                  </a:lnTo>
                  <a:lnTo>
                    <a:pt x="21914" y="9213"/>
                  </a:lnTo>
                  <a:close/>
                  <a:moveTo>
                    <a:pt x="21967" y="8966"/>
                  </a:moveTo>
                  <a:lnTo>
                    <a:pt x="21976" y="8957"/>
                  </a:lnTo>
                  <a:lnTo>
                    <a:pt x="21993" y="8948"/>
                  </a:lnTo>
                  <a:lnTo>
                    <a:pt x="22002" y="8948"/>
                  </a:lnTo>
                  <a:lnTo>
                    <a:pt x="21993" y="8948"/>
                  </a:lnTo>
                  <a:lnTo>
                    <a:pt x="21984" y="8939"/>
                  </a:lnTo>
                  <a:lnTo>
                    <a:pt x="21976" y="8957"/>
                  </a:lnTo>
                  <a:close/>
                  <a:moveTo>
                    <a:pt x="21887" y="5957"/>
                  </a:moveTo>
                  <a:lnTo>
                    <a:pt x="21896" y="5957"/>
                  </a:lnTo>
                  <a:lnTo>
                    <a:pt x="21896" y="5948"/>
                  </a:lnTo>
                  <a:close/>
                  <a:moveTo>
                    <a:pt x="21949" y="8419"/>
                  </a:moveTo>
                  <a:lnTo>
                    <a:pt x="21940" y="8419"/>
                  </a:lnTo>
                  <a:lnTo>
                    <a:pt x="21976" y="8410"/>
                  </a:lnTo>
                  <a:lnTo>
                    <a:pt x="21967" y="8410"/>
                  </a:lnTo>
                  <a:lnTo>
                    <a:pt x="21958" y="8410"/>
                  </a:lnTo>
                  <a:lnTo>
                    <a:pt x="21949" y="8410"/>
                  </a:lnTo>
                  <a:close/>
                  <a:moveTo>
                    <a:pt x="21984" y="6046"/>
                  </a:moveTo>
                  <a:lnTo>
                    <a:pt x="21993" y="6037"/>
                  </a:lnTo>
                  <a:lnTo>
                    <a:pt x="21993" y="6028"/>
                  </a:lnTo>
                  <a:lnTo>
                    <a:pt x="21984" y="6028"/>
                  </a:lnTo>
                  <a:lnTo>
                    <a:pt x="21984" y="6037"/>
                  </a:lnTo>
                  <a:lnTo>
                    <a:pt x="21984" y="6046"/>
                  </a:lnTo>
                  <a:lnTo>
                    <a:pt x="21976" y="6054"/>
                  </a:lnTo>
                  <a:lnTo>
                    <a:pt x="21976" y="6063"/>
                  </a:lnTo>
                  <a:lnTo>
                    <a:pt x="21984" y="6063"/>
                  </a:lnTo>
                  <a:close/>
                  <a:moveTo>
                    <a:pt x="22002" y="8127"/>
                  </a:moveTo>
                  <a:lnTo>
                    <a:pt x="21993" y="8127"/>
                  </a:lnTo>
                  <a:close/>
                  <a:moveTo>
                    <a:pt x="22099" y="5754"/>
                  </a:moveTo>
                  <a:lnTo>
                    <a:pt x="22090" y="5763"/>
                  </a:lnTo>
                  <a:lnTo>
                    <a:pt x="22099" y="5763"/>
                  </a:lnTo>
                  <a:close/>
                  <a:moveTo>
                    <a:pt x="22275" y="5719"/>
                  </a:moveTo>
                  <a:lnTo>
                    <a:pt x="22275" y="5728"/>
                  </a:lnTo>
                  <a:lnTo>
                    <a:pt x="22267" y="5728"/>
                  </a:lnTo>
                  <a:lnTo>
                    <a:pt x="22267" y="5737"/>
                  </a:lnTo>
                  <a:lnTo>
                    <a:pt x="22258" y="5745"/>
                  </a:lnTo>
                  <a:lnTo>
                    <a:pt x="22267" y="5754"/>
                  </a:lnTo>
                  <a:lnTo>
                    <a:pt x="22275" y="5745"/>
                  </a:lnTo>
                  <a:lnTo>
                    <a:pt x="22275" y="5737"/>
                  </a:lnTo>
                  <a:lnTo>
                    <a:pt x="22284" y="5719"/>
                  </a:lnTo>
                  <a:close/>
                  <a:moveTo>
                    <a:pt x="22223" y="5728"/>
                  </a:moveTo>
                  <a:lnTo>
                    <a:pt x="22231" y="5728"/>
                  </a:lnTo>
                  <a:lnTo>
                    <a:pt x="22231" y="5719"/>
                  </a:lnTo>
                  <a:close/>
                  <a:moveTo>
                    <a:pt x="21984" y="9231"/>
                  </a:moveTo>
                  <a:lnTo>
                    <a:pt x="22011" y="9213"/>
                  </a:lnTo>
                  <a:lnTo>
                    <a:pt x="22011" y="9204"/>
                  </a:lnTo>
                  <a:lnTo>
                    <a:pt x="22020" y="9204"/>
                  </a:lnTo>
                  <a:lnTo>
                    <a:pt x="22020" y="9195"/>
                  </a:lnTo>
                  <a:lnTo>
                    <a:pt x="22028" y="9187"/>
                  </a:lnTo>
                  <a:lnTo>
                    <a:pt x="22020" y="9187"/>
                  </a:lnTo>
                  <a:lnTo>
                    <a:pt x="22020" y="9178"/>
                  </a:lnTo>
                  <a:lnTo>
                    <a:pt x="22011" y="9178"/>
                  </a:lnTo>
                  <a:lnTo>
                    <a:pt x="22002" y="9169"/>
                  </a:lnTo>
                  <a:lnTo>
                    <a:pt x="22002" y="9178"/>
                  </a:lnTo>
                  <a:lnTo>
                    <a:pt x="21993" y="9178"/>
                  </a:lnTo>
                  <a:lnTo>
                    <a:pt x="21984" y="9187"/>
                  </a:lnTo>
                  <a:lnTo>
                    <a:pt x="21984" y="9178"/>
                  </a:lnTo>
                  <a:lnTo>
                    <a:pt x="21967" y="9187"/>
                  </a:lnTo>
                  <a:lnTo>
                    <a:pt x="21958" y="9187"/>
                  </a:lnTo>
                  <a:lnTo>
                    <a:pt x="21958" y="9178"/>
                  </a:lnTo>
                  <a:lnTo>
                    <a:pt x="21949" y="9178"/>
                  </a:lnTo>
                  <a:lnTo>
                    <a:pt x="21940" y="9169"/>
                  </a:lnTo>
                  <a:lnTo>
                    <a:pt x="21940" y="9178"/>
                  </a:lnTo>
                  <a:lnTo>
                    <a:pt x="21940" y="9195"/>
                  </a:lnTo>
                  <a:lnTo>
                    <a:pt x="21949" y="9204"/>
                  </a:lnTo>
                  <a:lnTo>
                    <a:pt x="21958" y="9213"/>
                  </a:lnTo>
                  <a:close/>
                  <a:moveTo>
                    <a:pt x="22275" y="8419"/>
                  </a:moveTo>
                  <a:lnTo>
                    <a:pt x="22267" y="8419"/>
                  </a:lnTo>
                  <a:lnTo>
                    <a:pt x="22267" y="8427"/>
                  </a:lnTo>
                  <a:lnTo>
                    <a:pt x="22267" y="8436"/>
                  </a:lnTo>
                  <a:lnTo>
                    <a:pt x="22275" y="8436"/>
                  </a:lnTo>
                  <a:lnTo>
                    <a:pt x="22284" y="8427"/>
                  </a:lnTo>
                  <a:lnTo>
                    <a:pt x="22275" y="8427"/>
                  </a:lnTo>
                  <a:close/>
                  <a:moveTo>
                    <a:pt x="22249" y="7792"/>
                  </a:moveTo>
                  <a:lnTo>
                    <a:pt x="22249" y="7801"/>
                  </a:lnTo>
                  <a:lnTo>
                    <a:pt x="22240" y="7810"/>
                  </a:lnTo>
                  <a:lnTo>
                    <a:pt x="22249" y="7810"/>
                  </a:lnTo>
                  <a:lnTo>
                    <a:pt x="22258" y="7801"/>
                  </a:lnTo>
                  <a:lnTo>
                    <a:pt x="22258" y="7792"/>
                  </a:lnTo>
                  <a:lnTo>
                    <a:pt x="22258" y="7783"/>
                  </a:lnTo>
                  <a:close/>
                  <a:moveTo>
                    <a:pt x="22064" y="5825"/>
                  </a:moveTo>
                  <a:lnTo>
                    <a:pt x="22081" y="5816"/>
                  </a:lnTo>
                  <a:lnTo>
                    <a:pt x="22090" y="5816"/>
                  </a:lnTo>
                  <a:lnTo>
                    <a:pt x="22090" y="5825"/>
                  </a:lnTo>
                  <a:lnTo>
                    <a:pt x="22099" y="5825"/>
                  </a:lnTo>
                  <a:lnTo>
                    <a:pt x="22099" y="5834"/>
                  </a:lnTo>
                  <a:lnTo>
                    <a:pt x="22099" y="5843"/>
                  </a:lnTo>
                  <a:lnTo>
                    <a:pt x="22090" y="5843"/>
                  </a:lnTo>
                  <a:lnTo>
                    <a:pt x="22099" y="5851"/>
                  </a:lnTo>
                  <a:lnTo>
                    <a:pt x="22099" y="5860"/>
                  </a:lnTo>
                  <a:lnTo>
                    <a:pt x="22108" y="5851"/>
                  </a:lnTo>
                  <a:lnTo>
                    <a:pt x="22108" y="5860"/>
                  </a:lnTo>
                  <a:lnTo>
                    <a:pt x="22108" y="5869"/>
                  </a:lnTo>
                  <a:lnTo>
                    <a:pt x="22117" y="5869"/>
                  </a:lnTo>
                  <a:lnTo>
                    <a:pt x="22126" y="5869"/>
                  </a:lnTo>
                  <a:lnTo>
                    <a:pt x="22134" y="5860"/>
                  </a:lnTo>
                  <a:lnTo>
                    <a:pt x="22134" y="5851"/>
                  </a:lnTo>
                  <a:lnTo>
                    <a:pt x="22143" y="5843"/>
                  </a:lnTo>
                  <a:lnTo>
                    <a:pt x="22152" y="5825"/>
                  </a:lnTo>
                  <a:lnTo>
                    <a:pt x="22152" y="5816"/>
                  </a:lnTo>
                  <a:lnTo>
                    <a:pt x="22178" y="5807"/>
                  </a:lnTo>
                  <a:lnTo>
                    <a:pt x="22187" y="5807"/>
                  </a:lnTo>
                  <a:lnTo>
                    <a:pt x="22196" y="5807"/>
                  </a:lnTo>
                  <a:lnTo>
                    <a:pt x="22205" y="5816"/>
                  </a:lnTo>
                  <a:lnTo>
                    <a:pt x="22214" y="5825"/>
                  </a:lnTo>
                  <a:lnTo>
                    <a:pt x="22223" y="5825"/>
                  </a:lnTo>
                  <a:lnTo>
                    <a:pt x="22223" y="5816"/>
                  </a:lnTo>
                  <a:lnTo>
                    <a:pt x="22231" y="5807"/>
                  </a:lnTo>
                  <a:lnTo>
                    <a:pt x="22231" y="5798"/>
                  </a:lnTo>
                  <a:lnTo>
                    <a:pt x="22249" y="5790"/>
                  </a:lnTo>
                  <a:lnTo>
                    <a:pt x="22258" y="5781"/>
                  </a:lnTo>
                  <a:lnTo>
                    <a:pt x="22258" y="5772"/>
                  </a:lnTo>
                  <a:lnTo>
                    <a:pt x="22258" y="5763"/>
                  </a:lnTo>
                  <a:lnTo>
                    <a:pt x="22258" y="5745"/>
                  </a:lnTo>
                  <a:lnTo>
                    <a:pt x="22240" y="5745"/>
                  </a:lnTo>
                  <a:lnTo>
                    <a:pt x="22231" y="5745"/>
                  </a:lnTo>
                  <a:lnTo>
                    <a:pt x="22223" y="5737"/>
                  </a:lnTo>
                  <a:lnTo>
                    <a:pt x="22214" y="5737"/>
                  </a:lnTo>
                  <a:lnTo>
                    <a:pt x="22205" y="5737"/>
                  </a:lnTo>
                  <a:lnTo>
                    <a:pt x="22196" y="5745"/>
                  </a:lnTo>
                  <a:lnTo>
                    <a:pt x="22187" y="5745"/>
                  </a:lnTo>
                  <a:lnTo>
                    <a:pt x="22178" y="5745"/>
                  </a:lnTo>
                  <a:lnTo>
                    <a:pt x="22178" y="5754"/>
                  </a:lnTo>
                  <a:lnTo>
                    <a:pt x="22178" y="5763"/>
                  </a:lnTo>
                  <a:lnTo>
                    <a:pt x="22170" y="5772"/>
                  </a:lnTo>
                  <a:lnTo>
                    <a:pt x="22161" y="5772"/>
                  </a:lnTo>
                  <a:lnTo>
                    <a:pt x="22152" y="5772"/>
                  </a:lnTo>
                  <a:lnTo>
                    <a:pt x="22143" y="5772"/>
                  </a:lnTo>
                  <a:lnTo>
                    <a:pt x="22134" y="5763"/>
                  </a:lnTo>
                  <a:lnTo>
                    <a:pt x="22126" y="5763"/>
                  </a:lnTo>
                  <a:lnTo>
                    <a:pt x="22117" y="5772"/>
                  </a:lnTo>
                  <a:lnTo>
                    <a:pt x="22117" y="5781"/>
                  </a:lnTo>
                  <a:lnTo>
                    <a:pt x="22108" y="5781"/>
                  </a:lnTo>
                  <a:lnTo>
                    <a:pt x="22108" y="5790"/>
                  </a:lnTo>
                  <a:lnTo>
                    <a:pt x="22099" y="5798"/>
                  </a:lnTo>
                  <a:lnTo>
                    <a:pt x="22090" y="5807"/>
                  </a:lnTo>
                  <a:lnTo>
                    <a:pt x="22081" y="5807"/>
                  </a:lnTo>
                  <a:lnTo>
                    <a:pt x="22073" y="5816"/>
                  </a:lnTo>
                  <a:close/>
                  <a:moveTo>
                    <a:pt x="22090" y="5781"/>
                  </a:moveTo>
                  <a:lnTo>
                    <a:pt x="22090" y="5772"/>
                  </a:lnTo>
                  <a:lnTo>
                    <a:pt x="22081" y="5772"/>
                  </a:lnTo>
                  <a:lnTo>
                    <a:pt x="22073" y="5772"/>
                  </a:lnTo>
                  <a:lnTo>
                    <a:pt x="22073" y="5781"/>
                  </a:lnTo>
                  <a:lnTo>
                    <a:pt x="22081" y="5781"/>
                  </a:lnTo>
                  <a:close/>
                </a:path>
              </a:pathLst>
            </a:custGeom>
            <a:solidFill>
              <a:schemeClr val="bg1">
                <a:lumMod val="85000"/>
              </a:schemeClr>
            </a:solidFill>
            <a:ln w="6350" cap="flat" cmpd="sng" algn="ctr">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54565A"/>
                </a:solidFill>
                <a:effectLst/>
                <a:uLnTx/>
                <a:uFillTx/>
                <a:latin typeface="Arial"/>
                <a:ea typeface="+mn-ea"/>
                <a:cs typeface="Arial"/>
              </a:endParaRPr>
            </a:p>
          </p:txBody>
        </p:sp>
        <p:sp>
          <p:nvSpPr>
            <p:cNvPr id="11" name="Freeform 382">
              <a:extLst>
                <a:ext uri="{FF2B5EF4-FFF2-40B4-BE49-F238E27FC236}">
                  <a16:creationId xmlns:a16="http://schemas.microsoft.com/office/drawing/2014/main" id="{C77DF1F9-91B9-4531-ABDC-FF4269ABBDDA}"/>
                </a:ext>
              </a:extLst>
            </p:cNvPr>
            <p:cNvSpPr/>
            <p:nvPr/>
          </p:nvSpPr>
          <p:spPr>
            <a:xfrm>
              <a:off x="1382160" y="2126975"/>
              <a:ext cx="5381785" cy="2149003"/>
            </a:xfrm>
            <a:custGeom>
              <a:avLst/>
              <a:gdLst/>
              <a:ahLst/>
              <a:cxnLst>
                <a:cxn ang="3cd4">
                  <a:pos x="hc" y="t"/>
                </a:cxn>
                <a:cxn ang="cd2">
                  <a:pos x="l" y="vc"/>
                </a:cxn>
                <a:cxn ang="cd4">
                  <a:pos x="hc" y="b"/>
                </a:cxn>
                <a:cxn ang="0">
                  <a:pos x="r" y="vc"/>
                </a:cxn>
              </a:cxnLst>
              <a:rect l="l" t="t" r="r" b="b"/>
              <a:pathLst>
                <a:path w="17282" h="6901">
                  <a:moveTo>
                    <a:pt x="1183" y="504"/>
                  </a:moveTo>
                  <a:lnTo>
                    <a:pt x="1174" y="504"/>
                  </a:lnTo>
                  <a:lnTo>
                    <a:pt x="1165" y="495"/>
                  </a:lnTo>
                  <a:lnTo>
                    <a:pt x="1138" y="495"/>
                  </a:lnTo>
                  <a:lnTo>
                    <a:pt x="1121" y="495"/>
                  </a:lnTo>
                  <a:lnTo>
                    <a:pt x="1112" y="486"/>
                  </a:lnTo>
                  <a:lnTo>
                    <a:pt x="1077" y="486"/>
                  </a:lnTo>
                  <a:lnTo>
                    <a:pt x="1068" y="495"/>
                  </a:lnTo>
                  <a:lnTo>
                    <a:pt x="1033" y="504"/>
                  </a:lnTo>
                  <a:lnTo>
                    <a:pt x="1024" y="512"/>
                  </a:lnTo>
                  <a:lnTo>
                    <a:pt x="1015" y="512"/>
                  </a:lnTo>
                  <a:lnTo>
                    <a:pt x="1006" y="521"/>
                  </a:lnTo>
                  <a:lnTo>
                    <a:pt x="1006" y="530"/>
                  </a:lnTo>
                  <a:lnTo>
                    <a:pt x="997" y="539"/>
                  </a:lnTo>
                  <a:lnTo>
                    <a:pt x="989" y="548"/>
                  </a:lnTo>
                  <a:lnTo>
                    <a:pt x="980" y="557"/>
                  </a:lnTo>
                  <a:lnTo>
                    <a:pt x="971" y="565"/>
                  </a:lnTo>
                  <a:lnTo>
                    <a:pt x="962" y="574"/>
                  </a:lnTo>
                  <a:lnTo>
                    <a:pt x="944" y="583"/>
                  </a:lnTo>
                  <a:lnTo>
                    <a:pt x="927" y="592"/>
                  </a:lnTo>
                  <a:lnTo>
                    <a:pt x="900" y="592"/>
                  </a:lnTo>
                  <a:lnTo>
                    <a:pt x="891" y="592"/>
                  </a:lnTo>
                  <a:lnTo>
                    <a:pt x="883" y="592"/>
                  </a:lnTo>
                  <a:lnTo>
                    <a:pt x="874" y="601"/>
                  </a:lnTo>
                  <a:lnTo>
                    <a:pt x="856" y="601"/>
                  </a:lnTo>
                  <a:lnTo>
                    <a:pt x="847" y="592"/>
                  </a:lnTo>
                  <a:lnTo>
                    <a:pt x="839" y="583"/>
                  </a:lnTo>
                  <a:lnTo>
                    <a:pt x="830" y="574"/>
                  </a:lnTo>
                  <a:lnTo>
                    <a:pt x="821" y="565"/>
                  </a:lnTo>
                  <a:lnTo>
                    <a:pt x="812" y="565"/>
                  </a:lnTo>
                  <a:lnTo>
                    <a:pt x="803" y="565"/>
                  </a:lnTo>
                  <a:lnTo>
                    <a:pt x="803" y="557"/>
                  </a:lnTo>
                  <a:lnTo>
                    <a:pt x="794" y="548"/>
                  </a:lnTo>
                  <a:lnTo>
                    <a:pt x="794" y="557"/>
                  </a:lnTo>
                  <a:lnTo>
                    <a:pt x="786" y="557"/>
                  </a:lnTo>
                  <a:lnTo>
                    <a:pt x="777" y="557"/>
                  </a:lnTo>
                  <a:lnTo>
                    <a:pt x="768" y="557"/>
                  </a:lnTo>
                  <a:lnTo>
                    <a:pt x="759" y="548"/>
                  </a:lnTo>
                  <a:lnTo>
                    <a:pt x="750" y="548"/>
                  </a:lnTo>
                  <a:lnTo>
                    <a:pt x="741" y="539"/>
                  </a:lnTo>
                  <a:lnTo>
                    <a:pt x="733" y="539"/>
                  </a:lnTo>
                  <a:lnTo>
                    <a:pt x="733" y="530"/>
                  </a:lnTo>
                  <a:lnTo>
                    <a:pt x="724" y="530"/>
                  </a:lnTo>
                  <a:lnTo>
                    <a:pt x="697" y="521"/>
                  </a:lnTo>
                  <a:lnTo>
                    <a:pt x="689" y="521"/>
                  </a:lnTo>
                  <a:lnTo>
                    <a:pt x="689" y="512"/>
                  </a:lnTo>
                  <a:lnTo>
                    <a:pt x="680" y="512"/>
                  </a:lnTo>
                  <a:lnTo>
                    <a:pt x="671" y="512"/>
                  </a:lnTo>
                  <a:lnTo>
                    <a:pt x="671" y="521"/>
                  </a:lnTo>
                  <a:lnTo>
                    <a:pt x="680" y="530"/>
                  </a:lnTo>
                  <a:lnTo>
                    <a:pt x="689" y="530"/>
                  </a:lnTo>
                  <a:lnTo>
                    <a:pt x="689" y="539"/>
                  </a:lnTo>
                  <a:lnTo>
                    <a:pt x="697" y="539"/>
                  </a:lnTo>
                  <a:lnTo>
                    <a:pt x="715" y="548"/>
                  </a:lnTo>
                  <a:lnTo>
                    <a:pt x="724" y="548"/>
                  </a:lnTo>
                  <a:lnTo>
                    <a:pt x="724" y="557"/>
                  </a:lnTo>
                  <a:lnTo>
                    <a:pt x="724" y="565"/>
                  </a:lnTo>
                  <a:lnTo>
                    <a:pt x="724" y="574"/>
                  </a:lnTo>
                  <a:lnTo>
                    <a:pt x="733" y="574"/>
                  </a:lnTo>
                  <a:lnTo>
                    <a:pt x="741" y="574"/>
                  </a:lnTo>
                  <a:lnTo>
                    <a:pt x="741" y="583"/>
                  </a:lnTo>
                  <a:lnTo>
                    <a:pt x="750" y="592"/>
                  </a:lnTo>
                  <a:lnTo>
                    <a:pt x="759" y="592"/>
                  </a:lnTo>
                  <a:lnTo>
                    <a:pt x="759" y="601"/>
                  </a:lnTo>
                  <a:lnTo>
                    <a:pt x="768" y="601"/>
                  </a:lnTo>
                  <a:lnTo>
                    <a:pt x="768" y="609"/>
                  </a:lnTo>
                  <a:lnTo>
                    <a:pt x="777" y="609"/>
                  </a:lnTo>
                  <a:lnTo>
                    <a:pt x="768" y="618"/>
                  </a:lnTo>
                  <a:lnTo>
                    <a:pt x="759" y="627"/>
                  </a:lnTo>
                  <a:lnTo>
                    <a:pt x="750" y="627"/>
                  </a:lnTo>
                  <a:lnTo>
                    <a:pt x="733" y="627"/>
                  </a:lnTo>
                  <a:lnTo>
                    <a:pt x="724" y="627"/>
                  </a:lnTo>
                  <a:lnTo>
                    <a:pt x="706" y="627"/>
                  </a:lnTo>
                  <a:lnTo>
                    <a:pt x="706" y="636"/>
                  </a:lnTo>
                  <a:lnTo>
                    <a:pt x="697" y="636"/>
                  </a:lnTo>
                  <a:lnTo>
                    <a:pt x="697" y="645"/>
                  </a:lnTo>
                  <a:lnTo>
                    <a:pt x="689" y="654"/>
                  </a:lnTo>
                  <a:lnTo>
                    <a:pt x="689" y="662"/>
                  </a:lnTo>
                  <a:lnTo>
                    <a:pt x="697" y="662"/>
                  </a:lnTo>
                  <a:lnTo>
                    <a:pt x="689" y="662"/>
                  </a:lnTo>
                  <a:lnTo>
                    <a:pt x="680" y="662"/>
                  </a:lnTo>
                  <a:lnTo>
                    <a:pt x="671" y="671"/>
                  </a:lnTo>
                  <a:lnTo>
                    <a:pt x="680" y="671"/>
                  </a:lnTo>
                  <a:lnTo>
                    <a:pt x="680" y="680"/>
                  </a:lnTo>
                  <a:lnTo>
                    <a:pt x="671" y="680"/>
                  </a:lnTo>
                  <a:lnTo>
                    <a:pt x="671" y="689"/>
                  </a:lnTo>
                  <a:lnTo>
                    <a:pt x="680" y="689"/>
                  </a:lnTo>
                  <a:lnTo>
                    <a:pt x="662" y="689"/>
                  </a:lnTo>
                  <a:lnTo>
                    <a:pt x="662" y="680"/>
                  </a:lnTo>
                  <a:lnTo>
                    <a:pt x="644" y="680"/>
                  </a:lnTo>
                  <a:lnTo>
                    <a:pt x="636" y="680"/>
                  </a:lnTo>
                  <a:lnTo>
                    <a:pt x="627" y="671"/>
                  </a:lnTo>
                  <a:lnTo>
                    <a:pt x="618" y="671"/>
                  </a:lnTo>
                  <a:lnTo>
                    <a:pt x="618" y="680"/>
                  </a:lnTo>
                  <a:lnTo>
                    <a:pt x="618" y="689"/>
                  </a:lnTo>
                  <a:lnTo>
                    <a:pt x="600" y="689"/>
                  </a:lnTo>
                  <a:lnTo>
                    <a:pt x="592" y="698"/>
                  </a:lnTo>
                  <a:lnTo>
                    <a:pt x="583" y="689"/>
                  </a:lnTo>
                  <a:lnTo>
                    <a:pt x="565" y="680"/>
                  </a:lnTo>
                  <a:lnTo>
                    <a:pt x="556" y="680"/>
                  </a:lnTo>
                  <a:lnTo>
                    <a:pt x="547" y="680"/>
                  </a:lnTo>
                  <a:lnTo>
                    <a:pt x="556" y="680"/>
                  </a:lnTo>
                  <a:lnTo>
                    <a:pt x="565" y="680"/>
                  </a:lnTo>
                  <a:lnTo>
                    <a:pt x="565" y="689"/>
                  </a:lnTo>
                  <a:lnTo>
                    <a:pt x="583" y="698"/>
                  </a:lnTo>
                  <a:lnTo>
                    <a:pt x="583" y="707"/>
                  </a:lnTo>
                  <a:lnTo>
                    <a:pt x="592" y="707"/>
                  </a:lnTo>
                  <a:lnTo>
                    <a:pt x="618" y="707"/>
                  </a:lnTo>
                  <a:lnTo>
                    <a:pt x="627" y="707"/>
                  </a:lnTo>
                  <a:lnTo>
                    <a:pt x="636" y="707"/>
                  </a:lnTo>
                  <a:lnTo>
                    <a:pt x="636" y="715"/>
                  </a:lnTo>
                  <a:lnTo>
                    <a:pt x="644" y="715"/>
                  </a:lnTo>
                  <a:lnTo>
                    <a:pt x="671" y="724"/>
                  </a:lnTo>
                  <a:lnTo>
                    <a:pt x="680" y="724"/>
                  </a:lnTo>
                  <a:lnTo>
                    <a:pt x="689" y="724"/>
                  </a:lnTo>
                  <a:lnTo>
                    <a:pt x="715" y="733"/>
                  </a:lnTo>
                  <a:lnTo>
                    <a:pt x="724" y="724"/>
                  </a:lnTo>
                  <a:lnTo>
                    <a:pt x="750" y="724"/>
                  </a:lnTo>
                  <a:lnTo>
                    <a:pt x="759" y="715"/>
                  </a:lnTo>
                  <a:lnTo>
                    <a:pt x="768" y="724"/>
                  </a:lnTo>
                  <a:lnTo>
                    <a:pt x="777" y="715"/>
                  </a:lnTo>
                  <a:lnTo>
                    <a:pt x="794" y="715"/>
                  </a:lnTo>
                  <a:lnTo>
                    <a:pt x="803" y="707"/>
                  </a:lnTo>
                  <a:lnTo>
                    <a:pt x="812" y="715"/>
                  </a:lnTo>
                  <a:lnTo>
                    <a:pt x="821" y="715"/>
                  </a:lnTo>
                  <a:lnTo>
                    <a:pt x="830" y="715"/>
                  </a:lnTo>
                  <a:lnTo>
                    <a:pt x="839" y="707"/>
                  </a:lnTo>
                  <a:lnTo>
                    <a:pt x="847" y="707"/>
                  </a:lnTo>
                  <a:lnTo>
                    <a:pt x="847" y="698"/>
                  </a:lnTo>
                  <a:lnTo>
                    <a:pt x="839" y="689"/>
                  </a:lnTo>
                  <a:lnTo>
                    <a:pt x="847" y="689"/>
                  </a:lnTo>
                  <a:lnTo>
                    <a:pt x="839" y="680"/>
                  </a:lnTo>
                  <a:lnTo>
                    <a:pt x="847" y="680"/>
                  </a:lnTo>
                  <a:lnTo>
                    <a:pt x="847" y="671"/>
                  </a:lnTo>
                  <a:lnTo>
                    <a:pt x="856" y="671"/>
                  </a:lnTo>
                  <a:lnTo>
                    <a:pt x="865" y="662"/>
                  </a:lnTo>
                  <a:lnTo>
                    <a:pt x="883" y="662"/>
                  </a:lnTo>
                  <a:lnTo>
                    <a:pt x="883" y="654"/>
                  </a:lnTo>
                  <a:lnTo>
                    <a:pt x="891" y="662"/>
                  </a:lnTo>
                  <a:lnTo>
                    <a:pt x="891" y="671"/>
                  </a:lnTo>
                  <a:lnTo>
                    <a:pt x="900" y="662"/>
                  </a:lnTo>
                  <a:lnTo>
                    <a:pt x="918" y="662"/>
                  </a:lnTo>
                  <a:lnTo>
                    <a:pt x="944" y="645"/>
                  </a:lnTo>
                  <a:lnTo>
                    <a:pt x="953" y="645"/>
                  </a:lnTo>
                  <a:lnTo>
                    <a:pt x="953" y="636"/>
                  </a:lnTo>
                  <a:lnTo>
                    <a:pt x="962" y="627"/>
                  </a:lnTo>
                  <a:lnTo>
                    <a:pt x="980" y="618"/>
                  </a:lnTo>
                  <a:lnTo>
                    <a:pt x="997" y="601"/>
                  </a:lnTo>
                  <a:lnTo>
                    <a:pt x="1006" y="592"/>
                  </a:lnTo>
                  <a:lnTo>
                    <a:pt x="997" y="592"/>
                  </a:lnTo>
                  <a:lnTo>
                    <a:pt x="997" y="583"/>
                  </a:lnTo>
                  <a:lnTo>
                    <a:pt x="1015" y="574"/>
                  </a:lnTo>
                  <a:lnTo>
                    <a:pt x="1015" y="565"/>
                  </a:lnTo>
                  <a:lnTo>
                    <a:pt x="1024" y="565"/>
                  </a:lnTo>
                  <a:lnTo>
                    <a:pt x="1033" y="557"/>
                  </a:lnTo>
                  <a:lnTo>
                    <a:pt x="1041" y="557"/>
                  </a:lnTo>
                  <a:lnTo>
                    <a:pt x="1059" y="557"/>
                  </a:lnTo>
                  <a:lnTo>
                    <a:pt x="1059" y="548"/>
                  </a:lnTo>
                  <a:lnTo>
                    <a:pt x="1068" y="548"/>
                  </a:lnTo>
                  <a:lnTo>
                    <a:pt x="1059" y="539"/>
                  </a:lnTo>
                  <a:lnTo>
                    <a:pt x="1077" y="539"/>
                  </a:lnTo>
                  <a:lnTo>
                    <a:pt x="1086" y="530"/>
                  </a:lnTo>
                  <a:lnTo>
                    <a:pt x="1094" y="530"/>
                  </a:lnTo>
                  <a:lnTo>
                    <a:pt x="1103" y="539"/>
                  </a:lnTo>
                  <a:lnTo>
                    <a:pt x="1121" y="530"/>
                  </a:lnTo>
                  <a:lnTo>
                    <a:pt x="1130" y="530"/>
                  </a:lnTo>
                  <a:lnTo>
                    <a:pt x="1130" y="521"/>
                  </a:lnTo>
                  <a:lnTo>
                    <a:pt x="1121" y="521"/>
                  </a:lnTo>
                  <a:lnTo>
                    <a:pt x="1086" y="521"/>
                  </a:lnTo>
                  <a:lnTo>
                    <a:pt x="1077" y="521"/>
                  </a:lnTo>
                  <a:lnTo>
                    <a:pt x="1050" y="521"/>
                  </a:lnTo>
                  <a:lnTo>
                    <a:pt x="1024" y="530"/>
                  </a:lnTo>
                  <a:lnTo>
                    <a:pt x="1015" y="530"/>
                  </a:lnTo>
                  <a:lnTo>
                    <a:pt x="1024" y="521"/>
                  </a:lnTo>
                  <a:lnTo>
                    <a:pt x="1041" y="512"/>
                  </a:lnTo>
                  <a:lnTo>
                    <a:pt x="1059" y="512"/>
                  </a:lnTo>
                  <a:lnTo>
                    <a:pt x="1059" y="504"/>
                  </a:lnTo>
                  <a:lnTo>
                    <a:pt x="1068" y="504"/>
                  </a:lnTo>
                  <a:lnTo>
                    <a:pt x="1077" y="504"/>
                  </a:lnTo>
                  <a:lnTo>
                    <a:pt x="1094" y="504"/>
                  </a:lnTo>
                  <a:lnTo>
                    <a:pt x="1121" y="504"/>
                  </a:lnTo>
                  <a:lnTo>
                    <a:pt x="1130" y="504"/>
                  </a:lnTo>
                  <a:lnTo>
                    <a:pt x="1138" y="512"/>
                  </a:lnTo>
                  <a:lnTo>
                    <a:pt x="1156" y="512"/>
                  </a:lnTo>
                  <a:lnTo>
                    <a:pt x="1165" y="512"/>
                  </a:lnTo>
                  <a:lnTo>
                    <a:pt x="1165" y="521"/>
                  </a:lnTo>
                  <a:lnTo>
                    <a:pt x="1165" y="530"/>
                  </a:lnTo>
                  <a:lnTo>
                    <a:pt x="1183" y="521"/>
                  </a:lnTo>
                  <a:lnTo>
                    <a:pt x="1191" y="521"/>
                  </a:lnTo>
                  <a:lnTo>
                    <a:pt x="1191" y="512"/>
                  </a:lnTo>
                  <a:close/>
                  <a:moveTo>
                    <a:pt x="989" y="592"/>
                  </a:moveTo>
                  <a:lnTo>
                    <a:pt x="980" y="601"/>
                  </a:lnTo>
                  <a:lnTo>
                    <a:pt x="971" y="609"/>
                  </a:lnTo>
                  <a:lnTo>
                    <a:pt x="953" y="618"/>
                  </a:lnTo>
                  <a:lnTo>
                    <a:pt x="944" y="627"/>
                  </a:lnTo>
                  <a:lnTo>
                    <a:pt x="944" y="636"/>
                  </a:lnTo>
                  <a:lnTo>
                    <a:pt x="936" y="645"/>
                  </a:lnTo>
                  <a:lnTo>
                    <a:pt x="927" y="645"/>
                  </a:lnTo>
                  <a:lnTo>
                    <a:pt x="918" y="645"/>
                  </a:lnTo>
                  <a:lnTo>
                    <a:pt x="909" y="636"/>
                  </a:lnTo>
                  <a:lnTo>
                    <a:pt x="909" y="627"/>
                  </a:lnTo>
                  <a:lnTo>
                    <a:pt x="900" y="627"/>
                  </a:lnTo>
                  <a:lnTo>
                    <a:pt x="891" y="618"/>
                  </a:lnTo>
                  <a:lnTo>
                    <a:pt x="900" y="618"/>
                  </a:lnTo>
                  <a:lnTo>
                    <a:pt x="918" y="609"/>
                  </a:lnTo>
                  <a:lnTo>
                    <a:pt x="927" y="609"/>
                  </a:lnTo>
                  <a:lnTo>
                    <a:pt x="944" y="609"/>
                  </a:lnTo>
                  <a:lnTo>
                    <a:pt x="962" y="601"/>
                  </a:lnTo>
                  <a:lnTo>
                    <a:pt x="971" y="592"/>
                  </a:lnTo>
                  <a:lnTo>
                    <a:pt x="980" y="583"/>
                  </a:lnTo>
                  <a:lnTo>
                    <a:pt x="989" y="583"/>
                  </a:lnTo>
                  <a:close/>
                  <a:moveTo>
                    <a:pt x="13701" y="2180"/>
                  </a:moveTo>
                  <a:lnTo>
                    <a:pt x="13692" y="2180"/>
                  </a:lnTo>
                  <a:lnTo>
                    <a:pt x="13674" y="2180"/>
                  </a:lnTo>
                  <a:lnTo>
                    <a:pt x="13674" y="2172"/>
                  </a:lnTo>
                  <a:lnTo>
                    <a:pt x="13665" y="2172"/>
                  </a:lnTo>
                  <a:lnTo>
                    <a:pt x="13665" y="2163"/>
                  </a:lnTo>
                  <a:lnTo>
                    <a:pt x="13665" y="2154"/>
                  </a:lnTo>
                  <a:lnTo>
                    <a:pt x="13656" y="2145"/>
                  </a:lnTo>
                  <a:lnTo>
                    <a:pt x="13648" y="2154"/>
                  </a:lnTo>
                  <a:lnTo>
                    <a:pt x="13656" y="2154"/>
                  </a:lnTo>
                  <a:lnTo>
                    <a:pt x="13665" y="2163"/>
                  </a:lnTo>
                  <a:lnTo>
                    <a:pt x="13656" y="2163"/>
                  </a:lnTo>
                  <a:lnTo>
                    <a:pt x="13656" y="2172"/>
                  </a:lnTo>
                  <a:lnTo>
                    <a:pt x="13648" y="2172"/>
                  </a:lnTo>
                  <a:lnTo>
                    <a:pt x="13648" y="2163"/>
                  </a:lnTo>
                  <a:lnTo>
                    <a:pt x="13639" y="2163"/>
                  </a:lnTo>
                  <a:lnTo>
                    <a:pt x="13639" y="2172"/>
                  </a:lnTo>
                  <a:lnTo>
                    <a:pt x="13639" y="2163"/>
                  </a:lnTo>
                  <a:lnTo>
                    <a:pt x="13630" y="2154"/>
                  </a:lnTo>
                  <a:lnTo>
                    <a:pt x="13621" y="2163"/>
                  </a:lnTo>
                  <a:lnTo>
                    <a:pt x="13612" y="2163"/>
                  </a:lnTo>
                  <a:lnTo>
                    <a:pt x="13612" y="2172"/>
                  </a:lnTo>
                  <a:lnTo>
                    <a:pt x="13612" y="2180"/>
                  </a:lnTo>
                  <a:lnTo>
                    <a:pt x="13621" y="2189"/>
                  </a:lnTo>
                  <a:lnTo>
                    <a:pt x="13630" y="2180"/>
                  </a:lnTo>
                  <a:lnTo>
                    <a:pt x="13639" y="2180"/>
                  </a:lnTo>
                  <a:lnTo>
                    <a:pt x="13639" y="2189"/>
                  </a:lnTo>
                  <a:lnTo>
                    <a:pt x="13648" y="2189"/>
                  </a:lnTo>
                  <a:lnTo>
                    <a:pt x="13656" y="2189"/>
                  </a:lnTo>
                  <a:lnTo>
                    <a:pt x="13656" y="2180"/>
                  </a:lnTo>
                  <a:lnTo>
                    <a:pt x="13665" y="2180"/>
                  </a:lnTo>
                  <a:lnTo>
                    <a:pt x="13665" y="2189"/>
                  </a:lnTo>
                  <a:lnTo>
                    <a:pt x="13674" y="2198"/>
                  </a:lnTo>
                  <a:lnTo>
                    <a:pt x="13665" y="2207"/>
                  </a:lnTo>
                  <a:lnTo>
                    <a:pt x="13665" y="2216"/>
                  </a:lnTo>
                  <a:lnTo>
                    <a:pt x="13656" y="2216"/>
                  </a:lnTo>
                  <a:lnTo>
                    <a:pt x="13630" y="2216"/>
                  </a:lnTo>
                  <a:lnTo>
                    <a:pt x="13621" y="2216"/>
                  </a:lnTo>
                  <a:lnTo>
                    <a:pt x="13621" y="2207"/>
                  </a:lnTo>
                  <a:lnTo>
                    <a:pt x="13612" y="2207"/>
                  </a:lnTo>
                  <a:lnTo>
                    <a:pt x="13604" y="2216"/>
                  </a:lnTo>
                  <a:lnTo>
                    <a:pt x="13595" y="2216"/>
                  </a:lnTo>
                  <a:lnTo>
                    <a:pt x="13595" y="2207"/>
                  </a:lnTo>
                  <a:lnTo>
                    <a:pt x="13595" y="2198"/>
                  </a:lnTo>
                  <a:lnTo>
                    <a:pt x="13595" y="2189"/>
                  </a:lnTo>
                  <a:lnTo>
                    <a:pt x="13586" y="2189"/>
                  </a:lnTo>
                  <a:lnTo>
                    <a:pt x="13577" y="2189"/>
                  </a:lnTo>
                  <a:lnTo>
                    <a:pt x="13577" y="2198"/>
                  </a:lnTo>
                  <a:lnTo>
                    <a:pt x="13586" y="2207"/>
                  </a:lnTo>
                  <a:lnTo>
                    <a:pt x="13586" y="2216"/>
                  </a:lnTo>
                  <a:lnTo>
                    <a:pt x="13586" y="2233"/>
                  </a:lnTo>
                  <a:lnTo>
                    <a:pt x="13586" y="2242"/>
                  </a:lnTo>
                  <a:lnTo>
                    <a:pt x="13577" y="2242"/>
                  </a:lnTo>
                  <a:lnTo>
                    <a:pt x="13568" y="2242"/>
                  </a:lnTo>
                  <a:lnTo>
                    <a:pt x="13568" y="2251"/>
                  </a:lnTo>
                  <a:lnTo>
                    <a:pt x="13568" y="2242"/>
                  </a:lnTo>
                  <a:lnTo>
                    <a:pt x="13559" y="2242"/>
                  </a:lnTo>
                  <a:lnTo>
                    <a:pt x="13559" y="2251"/>
                  </a:lnTo>
                  <a:lnTo>
                    <a:pt x="13551" y="2242"/>
                  </a:lnTo>
                  <a:lnTo>
                    <a:pt x="13551" y="2233"/>
                  </a:lnTo>
                  <a:lnTo>
                    <a:pt x="13559" y="2233"/>
                  </a:lnTo>
                  <a:lnTo>
                    <a:pt x="13559" y="2225"/>
                  </a:lnTo>
                  <a:lnTo>
                    <a:pt x="13551" y="2225"/>
                  </a:lnTo>
                  <a:lnTo>
                    <a:pt x="13542" y="2225"/>
                  </a:lnTo>
                  <a:lnTo>
                    <a:pt x="13533" y="2225"/>
                  </a:lnTo>
                  <a:lnTo>
                    <a:pt x="13524" y="2225"/>
                  </a:lnTo>
                  <a:lnTo>
                    <a:pt x="13515" y="2233"/>
                  </a:lnTo>
                  <a:lnTo>
                    <a:pt x="13515" y="2242"/>
                  </a:lnTo>
                  <a:lnTo>
                    <a:pt x="13506" y="2251"/>
                  </a:lnTo>
                  <a:lnTo>
                    <a:pt x="13506" y="2260"/>
                  </a:lnTo>
                  <a:lnTo>
                    <a:pt x="13506" y="2269"/>
                  </a:lnTo>
                  <a:lnTo>
                    <a:pt x="13498" y="2278"/>
                  </a:lnTo>
                  <a:lnTo>
                    <a:pt x="13498" y="2286"/>
                  </a:lnTo>
                  <a:lnTo>
                    <a:pt x="13489" y="2286"/>
                  </a:lnTo>
                  <a:lnTo>
                    <a:pt x="13489" y="2295"/>
                  </a:lnTo>
                  <a:lnTo>
                    <a:pt x="13480" y="2313"/>
                  </a:lnTo>
                  <a:lnTo>
                    <a:pt x="13480" y="2322"/>
                  </a:lnTo>
                  <a:lnTo>
                    <a:pt x="13480" y="2330"/>
                  </a:lnTo>
                  <a:lnTo>
                    <a:pt x="13480" y="2339"/>
                  </a:lnTo>
                  <a:lnTo>
                    <a:pt x="13480" y="2348"/>
                  </a:lnTo>
                  <a:lnTo>
                    <a:pt x="13480" y="2357"/>
                  </a:lnTo>
                  <a:lnTo>
                    <a:pt x="13480" y="2366"/>
                  </a:lnTo>
                  <a:lnTo>
                    <a:pt x="13489" y="2366"/>
                  </a:lnTo>
                  <a:lnTo>
                    <a:pt x="13498" y="2357"/>
                  </a:lnTo>
                  <a:lnTo>
                    <a:pt x="13506" y="2357"/>
                  </a:lnTo>
                  <a:lnTo>
                    <a:pt x="13515" y="2339"/>
                  </a:lnTo>
                  <a:lnTo>
                    <a:pt x="13506" y="2339"/>
                  </a:lnTo>
                  <a:lnTo>
                    <a:pt x="13506" y="2330"/>
                  </a:lnTo>
                  <a:lnTo>
                    <a:pt x="13515" y="2330"/>
                  </a:lnTo>
                  <a:lnTo>
                    <a:pt x="13515" y="2339"/>
                  </a:lnTo>
                  <a:lnTo>
                    <a:pt x="13515" y="2330"/>
                  </a:lnTo>
                  <a:lnTo>
                    <a:pt x="13515" y="2322"/>
                  </a:lnTo>
                  <a:lnTo>
                    <a:pt x="13524" y="2313"/>
                  </a:lnTo>
                  <a:lnTo>
                    <a:pt x="13524" y="2304"/>
                  </a:lnTo>
                  <a:lnTo>
                    <a:pt x="13515" y="2313"/>
                  </a:lnTo>
                  <a:lnTo>
                    <a:pt x="13506" y="2313"/>
                  </a:lnTo>
                  <a:lnTo>
                    <a:pt x="13515" y="2304"/>
                  </a:lnTo>
                  <a:lnTo>
                    <a:pt x="13515" y="2295"/>
                  </a:lnTo>
                  <a:lnTo>
                    <a:pt x="13524" y="2295"/>
                  </a:lnTo>
                  <a:lnTo>
                    <a:pt x="13515" y="2295"/>
                  </a:lnTo>
                  <a:lnTo>
                    <a:pt x="13515" y="2286"/>
                  </a:lnTo>
                  <a:lnTo>
                    <a:pt x="13515" y="2278"/>
                  </a:lnTo>
                  <a:lnTo>
                    <a:pt x="13515" y="2269"/>
                  </a:lnTo>
                  <a:lnTo>
                    <a:pt x="13524" y="2260"/>
                  </a:lnTo>
                  <a:lnTo>
                    <a:pt x="13533" y="2260"/>
                  </a:lnTo>
                  <a:lnTo>
                    <a:pt x="13533" y="2251"/>
                  </a:lnTo>
                  <a:lnTo>
                    <a:pt x="13533" y="2242"/>
                  </a:lnTo>
                  <a:lnTo>
                    <a:pt x="13542" y="2242"/>
                  </a:lnTo>
                  <a:lnTo>
                    <a:pt x="13542" y="2251"/>
                  </a:lnTo>
                  <a:lnTo>
                    <a:pt x="13542" y="2242"/>
                  </a:lnTo>
                  <a:lnTo>
                    <a:pt x="13551" y="2242"/>
                  </a:lnTo>
                  <a:lnTo>
                    <a:pt x="13551" y="2251"/>
                  </a:lnTo>
                  <a:lnTo>
                    <a:pt x="13559" y="2251"/>
                  </a:lnTo>
                  <a:lnTo>
                    <a:pt x="13559" y="2260"/>
                  </a:lnTo>
                  <a:lnTo>
                    <a:pt x="13568" y="2260"/>
                  </a:lnTo>
                  <a:lnTo>
                    <a:pt x="13568" y="2269"/>
                  </a:lnTo>
                  <a:lnTo>
                    <a:pt x="13568" y="2278"/>
                  </a:lnTo>
                  <a:lnTo>
                    <a:pt x="13568" y="2286"/>
                  </a:lnTo>
                  <a:lnTo>
                    <a:pt x="13568" y="2295"/>
                  </a:lnTo>
                  <a:lnTo>
                    <a:pt x="13568" y="2313"/>
                  </a:lnTo>
                  <a:lnTo>
                    <a:pt x="13559" y="2322"/>
                  </a:lnTo>
                  <a:lnTo>
                    <a:pt x="13551" y="2339"/>
                  </a:lnTo>
                  <a:lnTo>
                    <a:pt x="13551" y="2348"/>
                  </a:lnTo>
                  <a:lnTo>
                    <a:pt x="13559" y="2348"/>
                  </a:lnTo>
                  <a:lnTo>
                    <a:pt x="13586" y="2375"/>
                  </a:lnTo>
                  <a:lnTo>
                    <a:pt x="13577" y="2383"/>
                  </a:lnTo>
                  <a:lnTo>
                    <a:pt x="13577" y="2392"/>
                  </a:lnTo>
                  <a:lnTo>
                    <a:pt x="13586" y="2392"/>
                  </a:lnTo>
                  <a:lnTo>
                    <a:pt x="13595" y="2383"/>
                  </a:lnTo>
                  <a:lnTo>
                    <a:pt x="13604" y="2383"/>
                  </a:lnTo>
                  <a:lnTo>
                    <a:pt x="13604" y="2375"/>
                  </a:lnTo>
                  <a:lnTo>
                    <a:pt x="13612" y="2366"/>
                  </a:lnTo>
                  <a:lnTo>
                    <a:pt x="13612" y="2357"/>
                  </a:lnTo>
                  <a:lnTo>
                    <a:pt x="13612" y="2348"/>
                  </a:lnTo>
                  <a:lnTo>
                    <a:pt x="13612" y="2339"/>
                  </a:lnTo>
                  <a:lnTo>
                    <a:pt x="13612" y="2330"/>
                  </a:lnTo>
                  <a:lnTo>
                    <a:pt x="13612" y="2295"/>
                  </a:lnTo>
                  <a:lnTo>
                    <a:pt x="13612" y="2286"/>
                  </a:lnTo>
                  <a:lnTo>
                    <a:pt x="13612" y="2278"/>
                  </a:lnTo>
                  <a:lnTo>
                    <a:pt x="13612" y="2269"/>
                  </a:lnTo>
                  <a:lnTo>
                    <a:pt x="13612" y="2260"/>
                  </a:lnTo>
                  <a:lnTo>
                    <a:pt x="13604" y="2260"/>
                  </a:lnTo>
                  <a:lnTo>
                    <a:pt x="13595" y="2260"/>
                  </a:lnTo>
                  <a:lnTo>
                    <a:pt x="13586" y="2260"/>
                  </a:lnTo>
                  <a:lnTo>
                    <a:pt x="13586" y="2251"/>
                  </a:lnTo>
                  <a:lnTo>
                    <a:pt x="13595" y="2251"/>
                  </a:lnTo>
                  <a:lnTo>
                    <a:pt x="13595" y="2242"/>
                  </a:lnTo>
                  <a:lnTo>
                    <a:pt x="13595" y="2233"/>
                  </a:lnTo>
                  <a:lnTo>
                    <a:pt x="13604" y="2225"/>
                  </a:lnTo>
                  <a:lnTo>
                    <a:pt x="13630" y="2233"/>
                  </a:lnTo>
                  <a:lnTo>
                    <a:pt x="13639" y="2233"/>
                  </a:lnTo>
                  <a:lnTo>
                    <a:pt x="13648" y="2225"/>
                  </a:lnTo>
                  <a:lnTo>
                    <a:pt x="13656" y="2225"/>
                  </a:lnTo>
                  <a:lnTo>
                    <a:pt x="13665" y="2216"/>
                  </a:lnTo>
                  <a:lnTo>
                    <a:pt x="13674" y="2207"/>
                  </a:lnTo>
                  <a:lnTo>
                    <a:pt x="13692" y="2198"/>
                  </a:lnTo>
                  <a:lnTo>
                    <a:pt x="13701" y="2198"/>
                  </a:lnTo>
                  <a:lnTo>
                    <a:pt x="13701" y="2189"/>
                  </a:lnTo>
                  <a:close/>
                  <a:moveTo>
                    <a:pt x="15024" y="2154"/>
                  </a:moveTo>
                  <a:lnTo>
                    <a:pt x="15015" y="2154"/>
                  </a:lnTo>
                  <a:lnTo>
                    <a:pt x="15015" y="2145"/>
                  </a:lnTo>
                  <a:lnTo>
                    <a:pt x="15006" y="2145"/>
                  </a:lnTo>
                  <a:lnTo>
                    <a:pt x="15006" y="2154"/>
                  </a:lnTo>
                  <a:lnTo>
                    <a:pt x="14997" y="2145"/>
                  </a:lnTo>
                  <a:lnTo>
                    <a:pt x="14989" y="2145"/>
                  </a:lnTo>
                  <a:lnTo>
                    <a:pt x="14989" y="2154"/>
                  </a:lnTo>
                  <a:lnTo>
                    <a:pt x="14980" y="2154"/>
                  </a:lnTo>
                  <a:lnTo>
                    <a:pt x="14971" y="2154"/>
                  </a:lnTo>
                  <a:lnTo>
                    <a:pt x="14971" y="2163"/>
                  </a:lnTo>
                  <a:lnTo>
                    <a:pt x="14962" y="2163"/>
                  </a:lnTo>
                  <a:lnTo>
                    <a:pt x="14962" y="2172"/>
                  </a:lnTo>
                  <a:lnTo>
                    <a:pt x="14953" y="2180"/>
                  </a:lnTo>
                  <a:lnTo>
                    <a:pt x="14945" y="2172"/>
                  </a:lnTo>
                  <a:lnTo>
                    <a:pt x="14945" y="2163"/>
                  </a:lnTo>
                  <a:lnTo>
                    <a:pt x="14918" y="2163"/>
                  </a:lnTo>
                  <a:lnTo>
                    <a:pt x="14909" y="2163"/>
                  </a:lnTo>
                  <a:lnTo>
                    <a:pt x="14900" y="2163"/>
                  </a:lnTo>
                  <a:lnTo>
                    <a:pt x="14883" y="2163"/>
                  </a:lnTo>
                  <a:lnTo>
                    <a:pt x="14874" y="2172"/>
                  </a:lnTo>
                  <a:lnTo>
                    <a:pt x="14865" y="2163"/>
                  </a:lnTo>
                  <a:lnTo>
                    <a:pt x="14847" y="2163"/>
                  </a:lnTo>
                  <a:lnTo>
                    <a:pt x="14839" y="2163"/>
                  </a:lnTo>
                  <a:lnTo>
                    <a:pt x="14830" y="2163"/>
                  </a:lnTo>
                  <a:lnTo>
                    <a:pt x="14821" y="2163"/>
                  </a:lnTo>
                  <a:lnTo>
                    <a:pt x="14812" y="2163"/>
                  </a:lnTo>
                  <a:lnTo>
                    <a:pt x="14812" y="2154"/>
                  </a:lnTo>
                  <a:lnTo>
                    <a:pt x="14803" y="2154"/>
                  </a:lnTo>
                  <a:lnTo>
                    <a:pt x="14803" y="2145"/>
                  </a:lnTo>
                  <a:lnTo>
                    <a:pt x="14786" y="2145"/>
                  </a:lnTo>
                  <a:lnTo>
                    <a:pt x="14777" y="2145"/>
                  </a:lnTo>
                  <a:lnTo>
                    <a:pt x="14742" y="2154"/>
                  </a:lnTo>
                  <a:lnTo>
                    <a:pt x="14733" y="2154"/>
                  </a:lnTo>
                  <a:lnTo>
                    <a:pt x="14724" y="2154"/>
                  </a:lnTo>
                  <a:lnTo>
                    <a:pt x="14715" y="2145"/>
                  </a:lnTo>
                  <a:lnTo>
                    <a:pt x="14706" y="2145"/>
                  </a:lnTo>
                  <a:lnTo>
                    <a:pt x="14697" y="2145"/>
                  </a:lnTo>
                  <a:lnTo>
                    <a:pt x="14689" y="2154"/>
                  </a:lnTo>
                  <a:lnTo>
                    <a:pt x="14680" y="2154"/>
                  </a:lnTo>
                  <a:lnTo>
                    <a:pt x="14680" y="2163"/>
                  </a:lnTo>
                  <a:lnTo>
                    <a:pt x="14671" y="2172"/>
                  </a:lnTo>
                  <a:lnTo>
                    <a:pt x="14662" y="2172"/>
                  </a:lnTo>
                  <a:lnTo>
                    <a:pt x="14662" y="2180"/>
                  </a:lnTo>
                  <a:lnTo>
                    <a:pt x="14645" y="2180"/>
                  </a:lnTo>
                  <a:lnTo>
                    <a:pt x="14645" y="2189"/>
                  </a:lnTo>
                  <a:lnTo>
                    <a:pt x="14636" y="2198"/>
                  </a:lnTo>
                  <a:lnTo>
                    <a:pt x="14645" y="2198"/>
                  </a:lnTo>
                  <a:lnTo>
                    <a:pt x="14636" y="2198"/>
                  </a:lnTo>
                  <a:lnTo>
                    <a:pt x="14636" y="2207"/>
                  </a:lnTo>
                  <a:lnTo>
                    <a:pt x="14627" y="2198"/>
                  </a:lnTo>
                  <a:lnTo>
                    <a:pt x="14627" y="2207"/>
                  </a:lnTo>
                  <a:lnTo>
                    <a:pt x="14618" y="2198"/>
                  </a:lnTo>
                  <a:lnTo>
                    <a:pt x="14618" y="2207"/>
                  </a:lnTo>
                  <a:lnTo>
                    <a:pt x="14609" y="2207"/>
                  </a:lnTo>
                  <a:lnTo>
                    <a:pt x="14609" y="2216"/>
                  </a:lnTo>
                  <a:lnTo>
                    <a:pt x="14618" y="2216"/>
                  </a:lnTo>
                  <a:lnTo>
                    <a:pt x="14618" y="2225"/>
                  </a:lnTo>
                  <a:lnTo>
                    <a:pt x="14609" y="2233"/>
                  </a:lnTo>
                  <a:lnTo>
                    <a:pt x="14609" y="2242"/>
                  </a:lnTo>
                  <a:lnTo>
                    <a:pt x="14600" y="2233"/>
                  </a:lnTo>
                  <a:lnTo>
                    <a:pt x="14600" y="2242"/>
                  </a:lnTo>
                  <a:lnTo>
                    <a:pt x="14600" y="2251"/>
                  </a:lnTo>
                  <a:lnTo>
                    <a:pt x="14600" y="2260"/>
                  </a:lnTo>
                  <a:lnTo>
                    <a:pt x="14609" y="2269"/>
                  </a:lnTo>
                  <a:lnTo>
                    <a:pt x="14618" y="2269"/>
                  </a:lnTo>
                  <a:lnTo>
                    <a:pt x="14627" y="2286"/>
                  </a:lnTo>
                  <a:lnTo>
                    <a:pt x="14636" y="2295"/>
                  </a:lnTo>
                  <a:lnTo>
                    <a:pt x="14636" y="2304"/>
                  </a:lnTo>
                  <a:lnTo>
                    <a:pt x="14636" y="2313"/>
                  </a:lnTo>
                  <a:lnTo>
                    <a:pt x="14645" y="2313"/>
                  </a:lnTo>
                  <a:lnTo>
                    <a:pt x="14645" y="2304"/>
                  </a:lnTo>
                  <a:lnTo>
                    <a:pt x="14653" y="2304"/>
                  </a:lnTo>
                  <a:lnTo>
                    <a:pt x="14653" y="2286"/>
                  </a:lnTo>
                  <a:lnTo>
                    <a:pt x="14645" y="2278"/>
                  </a:lnTo>
                  <a:lnTo>
                    <a:pt x="14645" y="2269"/>
                  </a:lnTo>
                  <a:lnTo>
                    <a:pt x="14645" y="2260"/>
                  </a:lnTo>
                  <a:lnTo>
                    <a:pt x="14653" y="2260"/>
                  </a:lnTo>
                  <a:lnTo>
                    <a:pt x="14662" y="2251"/>
                  </a:lnTo>
                  <a:lnTo>
                    <a:pt x="14653" y="2242"/>
                  </a:lnTo>
                  <a:lnTo>
                    <a:pt x="14662" y="2242"/>
                  </a:lnTo>
                  <a:lnTo>
                    <a:pt x="14653" y="2225"/>
                  </a:lnTo>
                  <a:lnTo>
                    <a:pt x="14662" y="2225"/>
                  </a:lnTo>
                  <a:lnTo>
                    <a:pt x="14662" y="2216"/>
                  </a:lnTo>
                  <a:lnTo>
                    <a:pt x="14680" y="2225"/>
                  </a:lnTo>
                  <a:lnTo>
                    <a:pt x="14680" y="2216"/>
                  </a:lnTo>
                  <a:lnTo>
                    <a:pt x="14697" y="2216"/>
                  </a:lnTo>
                  <a:lnTo>
                    <a:pt x="14697" y="2207"/>
                  </a:lnTo>
                  <a:lnTo>
                    <a:pt x="14697" y="2198"/>
                  </a:lnTo>
                  <a:lnTo>
                    <a:pt x="14706" y="2189"/>
                  </a:lnTo>
                  <a:lnTo>
                    <a:pt x="14706" y="2180"/>
                  </a:lnTo>
                  <a:lnTo>
                    <a:pt x="14715" y="2180"/>
                  </a:lnTo>
                  <a:lnTo>
                    <a:pt x="14724" y="2180"/>
                  </a:lnTo>
                  <a:lnTo>
                    <a:pt x="14733" y="2180"/>
                  </a:lnTo>
                  <a:lnTo>
                    <a:pt x="14733" y="2172"/>
                  </a:lnTo>
                  <a:lnTo>
                    <a:pt x="14742" y="2180"/>
                  </a:lnTo>
                  <a:lnTo>
                    <a:pt x="14742" y="2172"/>
                  </a:lnTo>
                  <a:lnTo>
                    <a:pt x="14742" y="2163"/>
                  </a:lnTo>
                  <a:lnTo>
                    <a:pt x="14750" y="2163"/>
                  </a:lnTo>
                  <a:lnTo>
                    <a:pt x="14750" y="2172"/>
                  </a:lnTo>
                  <a:lnTo>
                    <a:pt x="14759" y="2172"/>
                  </a:lnTo>
                  <a:lnTo>
                    <a:pt x="14768" y="2172"/>
                  </a:lnTo>
                  <a:lnTo>
                    <a:pt x="14777" y="2172"/>
                  </a:lnTo>
                  <a:lnTo>
                    <a:pt x="14786" y="2172"/>
                  </a:lnTo>
                  <a:lnTo>
                    <a:pt x="14795" y="2172"/>
                  </a:lnTo>
                  <a:lnTo>
                    <a:pt x="14803" y="2172"/>
                  </a:lnTo>
                  <a:lnTo>
                    <a:pt x="14821" y="2172"/>
                  </a:lnTo>
                  <a:lnTo>
                    <a:pt x="14839" y="2172"/>
                  </a:lnTo>
                  <a:lnTo>
                    <a:pt x="14847" y="2180"/>
                  </a:lnTo>
                  <a:lnTo>
                    <a:pt x="14856" y="2180"/>
                  </a:lnTo>
                  <a:lnTo>
                    <a:pt x="14865" y="2180"/>
                  </a:lnTo>
                  <a:lnTo>
                    <a:pt x="14874" y="2180"/>
                  </a:lnTo>
                  <a:lnTo>
                    <a:pt x="14883" y="2180"/>
                  </a:lnTo>
                  <a:lnTo>
                    <a:pt x="14883" y="2172"/>
                  </a:lnTo>
                  <a:lnTo>
                    <a:pt x="14892" y="2172"/>
                  </a:lnTo>
                  <a:lnTo>
                    <a:pt x="14900" y="2180"/>
                  </a:lnTo>
                  <a:lnTo>
                    <a:pt x="14909" y="2180"/>
                  </a:lnTo>
                  <a:lnTo>
                    <a:pt x="14918" y="2180"/>
                  </a:lnTo>
                  <a:lnTo>
                    <a:pt x="14927" y="2180"/>
                  </a:lnTo>
                  <a:lnTo>
                    <a:pt x="14936" y="2189"/>
                  </a:lnTo>
                  <a:lnTo>
                    <a:pt x="14945" y="2189"/>
                  </a:lnTo>
                  <a:lnTo>
                    <a:pt x="14953" y="2189"/>
                  </a:lnTo>
                  <a:lnTo>
                    <a:pt x="14962" y="2189"/>
                  </a:lnTo>
                  <a:lnTo>
                    <a:pt x="14962" y="2198"/>
                  </a:lnTo>
                  <a:lnTo>
                    <a:pt x="14962" y="2189"/>
                  </a:lnTo>
                  <a:lnTo>
                    <a:pt x="14971" y="2189"/>
                  </a:lnTo>
                  <a:lnTo>
                    <a:pt x="14971" y="2180"/>
                  </a:lnTo>
                  <a:lnTo>
                    <a:pt x="14980" y="2189"/>
                  </a:lnTo>
                  <a:lnTo>
                    <a:pt x="14989" y="2189"/>
                  </a:lnTo>
                  <a:lnTo>
                    <a:pt x="14997" y="2189"/>
                  </a:lnTo>
                  <a:lnTo>
                    <a:pt x="15006" y="2180"/>
                  </a:lnTo>
                  <a:lnTo>
                    <a:pt x="15015" y="2172"/>
                  </a:lnTo>
                  <a:lnTo>
                    <a:pt x="15015" y="2163"/>
                  </a:lnTo>
                  <a:lnTo>
                    <a:pt x="15024" y="2163"/>
                  </a:lnTo>
                  <a:close/>
                  <a:moveTo>
                    <a:pt x="17282" y="1280"/>
                  </a:moveTo>
                  <a:lnTo>
                    <a:pt x="17274" y="1271"/>
                  </a:lnTo>
                  <a:lnTo>
                    <a:pt x="17265" y="1271"/>
                  </a:lnTo>
                  <a:lnTo>
                    <a:pt x="17256" y="1271"/>
                  </a:lnTo>
                  <a:lnTo>
                    <a:pt x="17247" y="1280"/>
                  </a:lnTo>
                  <a:lnTo>
                    <a:pt x="17238" y="1289"/>
                  </a:lnTo>
                  <a:lnTo>
                    <a:pt x="17229" y="1289"/>
                  </a:lnTo>
                  <a:lnTo>
                    <a:pt x="17229" y="1298"/>
                  </a:lnTo>
                  <a:lnTo>
                    <a:pt x="17229" y="1307"/>
                  </a:lnTo>
                  <a:lnTo>
                    <a:pt x="17229" y="1324"/>
                  </a:lnTo>
                  <a:lnTo>
                    <a:pt x="17221" y="1333"/>
                  </a:lnTo>
                  <a:lnTo>
                    <a:pt x="17221" y="1342"/>
                  </a:lnTo>
                  <a:lnTo>
                    <a:pt x="17212" y="1351"/>
                  </a:lnTo>
                  <a:lnTo>
                    <a:pt x="17203" y="1360"/>
                  </a:lnTo>
                  <a:lnTo>
                    <a:pt x="17203" y="1368"/>
                  </a:lnTo>
                  <a:lnTo>
                    <a:pt x="17203" y="1377"/>
                  </a:lnTo>
                  <a:lnTo>
                    <a:pt x="17194" y="1386"/>
                  </a:lnTo>
                  <a:lnTo>
                    <a:pt x="17194" y="1395"/>
                  </a:lnTo>
                  <a:lnTo>
                    <a:pt x="17185" y="1404"/>
                  </a:lnTo>
                  <a:lnTo>
                    <a:pt x="17177" y="1413"/>
                  </a:lnTo>
                  <a:lnTo>
                    <a:pt x="17177" y="1421"/>
                  </a:lnTo>
                  <a:lnTo>
                    <a:pt x="17168" y="1430"/>
                  </a:lnTo>
                  <a:lnTo>
                    <a:pt x="17168" y="1439"/>
                  </a:lnTo>
                  <a:lnTo>
                    <a:pt x="17159" y="1448"/>
                  </a:lnTo>
                  <a:lnTo>
                    <a:pt x="17150" y="1457"/>
                  </a:lnTo>
                  <a:lnTo>
                    <a:pt x="17141" y="1466"/>
                  </a:lnTo>
                  <a:lnTo>
                    <a:pt x="17124" y="1483"/>
                  </a:lnTo>
                  <a:lnTo>
                    <a:pt x="17115" y="1492"/>
                  </a:lnTo>
                  <a:lnTo>
                    <a:pt x="17106" y="1501"/>
                  </a:lnTo>
                  <a:lnTo>
                    <a:pt x="17106" y="1510"/>
                  </a:lnTo>
                  <a:lnTo>
                    <a:pt x="17080" y="1518"/>
                  </a:lnTo>
                  <a:lnTo>
                    <a:pt x="17071" y="1527"/>
                  </a:lnTo>
                  <a:lnTo>
                    <a:pt x="17053" y="1545"/>
                  </a:lnTo>
                  <a:lnTo>
                    <a:pt x="17044" y="1545"/>
                  </a:lnTo>
                  <a:lnTo>
                    <a:pt x="17044" y="1554"/>
                  </a:lnTo>
                  <a:lnTo>
                    <a:pt x="17053" y="1554"/>
                  </a:lnTo>
                  <a:lnTo>
                    <a:pt x="17044" y="1563"/>
                  </a:lnTo>
                  <a:lnTo>
                    <a:pt x="17044" y="1571"/>
                  </a:lnTo>
                  <a:lnTo>
                    <a:pt x="17035" y="1580"/>
                  </a:lnTo>
                  <a:lnTo>
                    <a:pt x="17027" y="1580"/>
                  </a:lnTo>
                  <a:lnTo>
                    <a:pt x="17027" y="1589"/>
                  </a:lnTo>
                  <a:lnTo>
                    <a:pt x="17009" y="1598"/>
                  </a:lnTo>
                  <a:lnTo>
                    <a:pt x="16991" y="1598"/>
                  </a:lnTo>
                  <a:lnTo>
                    <a:pt x="16982" y="1616"/>
                  </a:lnTo>
                  <a:lnTo>
                    <a:pt x="16965" y="1633"/>
                  </a:lnTo>
                  <a:lnTo>
                    <a:pt x="16956" y="1642"/>
                  </a:lnTo>
                  <a:lnTo>
                    <a:pt x="16947" y="1651"/>
                  </a:lnTo>
                  <a:lnTo>
                    <a:pt x="16938" y="1651"/>
                  </a:lnTo>
                  <a:lnTo>
                    <a:pt x="16938" y="1660"/>
                  </a:lnTo>
                  <a:lnTo>
                    <a:pt x="16930" y="1660"/>
                  </a:lnTo>
                  <a:lnTo>
                    <a:pt x="16921" y="1660"/>
                  </a:lnTo>
                  <a:lnTo>
                    <a:pt x="16912" y="1669"/>
                  </a:lnTo>
                  <a:lnTo>
                    <a:pt x="16903" y="1669"/>
                  </a:lnTo>
                  <a:lnTo>
                    <a:pt x="16894" y="1669"/>
                  </a:lnTo>
                  <a:lnTo>
                    <a:pt x="16885" y="1677"/>
                  </a:lnTo>
                  <a:lnTo>
                    <a:pt x="16868" y="1677"/>
                  </a:lnTo>
                  <a:lnTo>
                    <a:pt x="16850" y="1677"/>
                  </a:lnTo>
                  <a:lnTo>
                    <a:pt x="16832" y="1677"/>
                  </a:lnTo>
                  <a:lnTo>
                    <a:pt x="16824" y="1677"/>
                  </a:lnTo>
                  <a:lnTo>
                    <a:pt x="16824" y="1686"/>
                  </a:lnTo>
                  <a:lnTo>
                    <a:pt x="16832" y="1686"/>
                  </a:lnTo>
                  <a:lnTo>
                    <a:pt x="16859" y="1695"/>
                  </a:lnTo>
                  <a:lnTo>
                    <a:pt x="16877" y="1704"/>
                  </a:lnTo>
                  <a:lnTo>
                    <a:pt x="16894" y="1704"/>
                  </a:lnTo>
                  <a:lnTo>
                    <a:pt x="16903" y="1704"/>
                  </a:lnTo>
                  <a:lnTo>
                    <a:pt x="16912" y="1695"/>
                  </a:lnTo>
                  <a:lnTo>
                    <a:pt x="16921" y="1695"/>
                  </a:lnTo>
                  <a:lnTo>
                    <a:pt x="16947" y="1686"/>
                  </a:lnTo>
                  <a:lnTo>
                    <a:pt x="16974" y="1677"/>
                  </a:lnTo>
                  <a:lnTo>
                    <a:pt x="16991" y="1677"/>
                  </a:lnTo>
                  <a:lnTo>
                    <a:pt x="16991" y="1669"/>
                  </a:lnTo>
                  <a:lnTo>
                    <a:pt x="17000" y="1660"/>
                  </a:lnTo>
                  <a:lnTo>
                    <a:pt x="17009" y="1642"/>
                  </a:lnTo>
                  <a:lnTo>
                    <a:pt x="17009" y="1633"/>
                  </a:lnTo>
                  <a:lnTo>
                    <a:pt x="17009" y="1624"/>
                  </a:lnTo>
                  <a:lnTo>
                    <a:pt x="17018" y="1624"/>
                  </a:lnTo>
                  <a:lnTo>
                    <a:pt x="17018" y="1616"/>
                  </a:lnTo>
                  <a:lnTo>
                    <a:pt x="17027" y="1616"/>
                  </a:lnTo>
                  <a:lnTo>
                    <a:pt x="17035" y="1616"/>
                  </a:lnTo>
                  <a:lnTo>
                    <a:pt x="17044" y="1616"/>
                  </a:lnTo>
                  <a:lnTo>
                    <a:pt x="17044" y="1624"/>
                  </a:lnTo>
                  <a:lnTo>
                    <a:pt x="17053" y="1616"/>
                  </a:lnTo>
                  <a:lnTo>
                    <a:pt x="17053" y="1607"/>
                  </a:lnTo>
                  <a:lnTo>
                    <a:pt x="17062" y="1607"/>
                  </a:lnTo>
                  <a:lnTo>
                    <a:pt x="17071" y="1598"/>
                  </a:lnTo>
                  <a:lnTo>
                    <a:pt x="17088" y="1589"/>
                  </a:lnTo>
                  <a:lnTo>
                    <a:pt x="17106" y="1580"/>
                  </a:lnTo>
                  <a:lnTo>
                    <a:pt x="17115" y="1580"/>
                  </a:lnTo>
                  <a:lnTo>
                    <a:pt x="17124" y="1580"/>
                  </a:lnTo>
                  <a:lnTo>
                    <a:pt x="17132" y="1571"/>
                  </a:lnTo>
                  <a:lnTo>
                    <a:pt x="17141" y="1571"/>
                  </a:lnTo>
                  <a:lnTo>
                    <a:pt x="17159" y="1563"/>
                  </a:lnTo>
                  <a:lnTo>
                    <a:pt x="17159" y="1554"/>
                  </a:lnTo>
                  <a:lnTo>
                    <a:pt x="17159" y="1545"/>
                  </a:lnTo>
                  <a:lnTo>
                    <a:pt x="17168" y="1536"/>
                  </a:lnTo>
                  <a:lnTo>
                    <a:pt x="17185" y="1527"/>
                  </a:lnTo>
                  <a:lnTo>
                    <a:pt x="17194" y="1527"/>
                  </a:lnTo>
                  <a:lnTo>
                    <a:pt x="17203" y="1518"/>
                  </a:lnTo>
                  <a:lnTo>
                    <a:pt x="17212" y="1518"/>
                  </a:lnTo>
                  <a:lnTo>
                    <a:pt x="17212" y="1510"/>
                  </a:lnTo>
                  <a:lnTo>
                    <a:pt x="17212" y="1501"/>
                  </a:lnTo>
                  <a:lnTo>
                    <a:pt x="17203" y="1501"/>
                  </a:lnTo>
                  <a:lnTo>
                    <a:pt x="17203" y="1492"/>
                  </a:lnTo>
                  <a:lnTo>
                    <a:pt x="17194" y="1492"/>
                  </a:lnTo>
                  <a:lnTo>
                    <a:pt x="17185" y="1501"/>
                  </a:lnTo>
                  <a:lnTo>
                    <a:pt x="17177" y="1501"/>
                  </a:lnTo>
                  <a:lnTo>
                    <a:pt x="17185" y="1492"/>
                  </a:lnTo>
                  <a:lnTo>
                    <a:pt x="17203" y="1474"/>
                  </a:lnTo>
                  <a:lnTo>
                    <a:pt x="17203" y="1466"/>
                  </a:lnTo>
                  <a:lnTo>
                    <a:pt x="17212" y="1466"/>
                  </a:lnTo>
                  <a:lnTo>
                    <a:pt x="17212" y="1474"/>
                  </a:lnTo>
                  <a:lnTo>
                    <a:pt x="17212" y="1483"/>
                  </a:lnTo>
                  <a:lnTo>
                    <a:pt x="17212" y="1492"/>
                  </a:lnTo>
                  <a:lnTo>
                    <a:pt x="17221" y="1492"/>
                  </a:lnTo>
                  <a:lnTo>
                    <a:pt x="17229" y="1483"/>
                  </a:lnTo>
                  <a:lnTo>
                    <a:pt x="17229" y="1474"/>
                  </a:lnTo>
                  <a:lnTo>
                    <a:pt x="17229" y="1466"/>
                  </a:lnTo>
                  <a:lnTo>
                    <a:pt x="17238" y="1457"/>
                  </a:lnTo>
                  <a:lnTo>
                    <a:pt x="17247" y="1448"/>
                  </a:lnTo>
                  <a:lnTo>
                    <a:pt x="17247" y="1439"/>
                  </a:lnTo>
                  <a:lnTo>
                    <a:pt x="17256" y="1439"/>
                  </a:lnTo>
                  <a:lnTo>
                    <a:pt x="17247" y="1430"/>
                  </a:lnTo>
                  <a:lnTo>
                    <a:pt x="17247" y="1413"/>
                  </a:lnTo>
                  <a:lnTo>
                    <a:pt x="17247" y="1395"/>
                  </a:lnTo>
                  <a:lnTo>
                    <a:pt x="17247" y="1386"/>
                  </a:lnTo>
                  <a:lnTo>
                    <a:pt x="17256" y="1386"/>
                  </a:lnTo>
                  <a:lnTo>
                    <a:pt x="17256" y="1377"/>
                  </a:lnTo>
                  <a:lnTo>
                    <a:pt x="17256" y="1368"/>
                  </a:lnTo>
                  <a:lnTo>
                    <a:pt x="17265" y="1368"/>
                  </a:lnTo>
                  <a:lnTo>
                    <a:pt x="17265" y="1360"/>
                  </a:lnTo>
                  <a:lnTo>
                    <a:pt x="17265" y="1351"/>
                  </a:lnTo>
                  <a:lnTo>
                    <a:pt x="17265" y="1342"/>
                  </a:lnTo>
                  <a:lnTo>
                    <a:pt x="17265" y="1333"/>
                  </a:lnTo>
                  <a:lnTo>
                    <a:pt x="17265" y="1324"/>
                  </a:lnTo>
                  <a:lnTo>
                    <a:pt x="17274" y="1316"/>
                  </a:lnTo>
                  <a:lnTo>
                    <a:pt x="17274" y="1307"/>
                  </a:lnTo>
                  <a:lnTo>
                    <a:pt x="17274" y="1298"/>
                  </a:lnTo>
                  <a:lnTo>
                    <a:pt x="17274" y="1289"/>
                  </a:lnTo>
                  <a:close/>
                  <a:moveTo>
                    <a:pt x="17124" y="1527"/>
                  </a:moveTo>
                  <a:lnTo>
                    <a:pt x="17115" y="1527"/>
                  </a:lnTo>
                  <a:lnTo>
                    <a:pt x="17097" y="1545"/>
                  </a:lnTo>
                  <a:lnTo>
                    <a:pt x="17088" y="1545"/>
                  </a:lnTo>
                  <a:lnTo>
                    <a:pt x="17062" y="1554"/>
                  </a:lnTo>
                  <a:lnTo>
                    <a:pt x="17062" y="1545"/>
                  </a:lnTo>
                  <a:lnTo>
                    <a:pt x="17071" y="1536"/>
                  </a:lnTo>
                  <a:lnTo>
                    <a:pt x="17088" y="1536"/>
                  </a:lnTo>
                  <a:lnTo>
                    <a:pt x="17106" y="1527"/>
                  </a:lnTo>
                  <a:lnTo>
                    <a:pt x="17115" y="1510"/>
                  </a:lnTo>
                  <a:lnTo>
                    <a:pt x="17124" y="1518"/>
                  </a:lnTo>
                  <a:close/>
                  <a:moveTo>
                    <a:pt x="556" y="80"/>
                  </a:moveTo>
                  <a:lnTo>
                    <a:pt x="565" y="71"/>
                  </a:lnTo>
                  <a:lnTo>
                    <a:pt x="556" y="71"/>
                  </a:lnTo>
                  <a:lnTo>
                    <a:pt x="547" y="71"/>
                  </a:lnTo>
                  <a:lnTo>
                    <a:pt x="539" y="80"/>
                  </a:lnTo>
                  <a:lnTo>
                    <a:pt x="539" y="71"/>
                  </a:lnTo>
                  <a:lnTo>
                    <a:pt x="547" y="62"/>
                  </a:lnTo>
                  <a:lnTo>
                    <a:pt x="547" y="53"/>
                  </a:lnTo>
                  <a:lnTo>
                    <a:pt x="547" y="45"/>
                  </a:lnTo>
                  <a:lnTo>
                    <a:pt x="539" y="53"/>
                  </a:lnTo>
                  <a:lnTo>
                    <a:pt x="530" y="53"/>
                  </a:lnTo>
                  <a:lnTo>
                    <a:pt x="512" y="62"/>
                  </a:lnTo>
                  <a:lnTo>
                    <a:pt x="503" y="71"/>
                  </a:lnTo>
                  <a:lnTo>
                    <a:pt x="503" y="80"/>
                  </a:lnTo>
                  <a:lnTo>
                    <a:pt x="477" y="89"/>
                  </a:lnTo>
                  <a:lnTo>
                    <a:pt x="468" y="89"/>
                  </a:lnTo>
                  <a:lnTo>
                    <a:pt x="442" y="89"/>
                  </a:lnTo>
                  <a:lnTo>
                    <a:pt x="415" y="89"/>
                  </a:lnTo>
                  <a:lnTo>
                    <a:pt x="406" y="89"/>
                  </a:lnTo>
                  <a:lnTo>
                    <a:pt x="397" y="89"/>
                  </a:lnTo>
                  <a:lnTo>
                    <a:pt x="380" y="89"/>
                  </a:lnTo>
                  <a:lnTo>
                    <a:pt x="380" y="80"/>
                  </a:lnTo>
                  <a:lnTo>
                    <a:pt x="362" y="80"/>
                  </a:lnTo>
                  <a:lnTo>
                    <a:pt x="344" y="80"/>
                  </a:lnTo>
                  <a:lnTo>
                    <a:pt x="344" y="71"/>
                  </a:lnTo>
                  <a:lnTo>
                    <a:pt x="353" y="71"/>
                  </a:lnTo>
                  <a:lnTo>
                    <a:pt x="353" y="62"/>
                  </a:lnTo>
                  <a:lnTo>
                    <a:pt x="362" y="62"/>
                  </a:lnTo>
                  <a:lnTo>
                    <a:pt x="371" y="53"/>
                  </a:lnTo>
                  <a:lnTo>
                    <a:pt x="371" y="45"/>
                  </a:lnTo>
                  <a:lnTo>
                    <a:pt x="380" y="45"/>
                  </a:lnTo>
                  <a:lnTo>
                    <a:pt x="397" y="45"/>
                  </a:lnTo>
                  <a:lnTo>
                    <a:pt x="406" y="36"/>
                  </a:lnTo>
                  <a:lnTo>
                    <a:pt x="433" y="27"/>
                  </a:lnTo>
                  <a:lnTo>
                    <a:pt x="442" y="18"/>
                  </a:lnTo>
                  <a:lnTo>
                    <a:pt x="433" y="9"/>
                  </a:lnTo>
                  <a:lnTo>
                    <a:pt x="424" y="9"/>
                  </a:lnTo>
                  <a:lnTo>
                    <a:pt x="406" y="9"/>
                  </a:lnTo>
                  <a:lnTo>
                    <a:pt x="397" y="9"/>
                  </a:lnTo>
                  <a:lnTo>
                    <a:pt x="397" y="0"/>
                  </a:lnTo>
                  <a:lnTo>
                    <a:pt x="389" y="0"/>
                  </a:lnTo>
                  <a:lnTo>
                    <a:pt x="371" y="0"/>
                  </a:lnTo>
                  <a:lnTo>
                    <a:pt x="362" y="9"/>
                  </a:lnTo>
                  <a:lnTo>
                    <a:pt x="336" y="9"/>
                  </a:lnTo>
                  <a:lnTo>
                    <a:pt x="327" y="18"/>
                  </a:lnTo>
                  <a:lnTo>
                    <a:pt x="292" y="27"/>
                  </a:lnTo>
                  <a:lnTo>
                    <a:pt x="274" y="36"/>
                  </a:lnTo>
                  <a:lnTo>
                    <a:pt x="265" y="36"/>
                  </a:lnTo>
                  <a:lnTo>
                    <a:pt x="256" y="45"/>
                  </a:lnTo>
                  <a:lnTo>
                    <a:pt x="230" y="53"/>
                  </a:lnTo>
                  <a:lnTo>
                    <a:pt x="203" y="53"/>
                  </a:lnTo>
                  <a:lnTo>
                    <a:pt x="195" y="53"/>
                  </a:lnTo>
                  <a:lnTo>
                    <a:pt x="195" y="62"/>
                  </a:lnTo>
                  <a:lnTo>
                    <a:pt x="168" y="62"/>
                  </a:lnTo>
                  <a:lnTo>
                    <a:pt x="159" y="71"/>
                  </a:lnTo>
                  <a:lnTo>
                    <a:pt x="150" y="71"/>
                  </a:lnTo>
                  <a:lnTo>
                    <a:pt x="150" y="62"/>
                  </a:lnTo>
                  <a:lnTo>
                    <a:pt x="142" y="62"/>
                  </a:lnTo>
                  <a:lnTo>
                    <a:pt x="115" y="80"/>
                  </a:lnTo>
                  <a:lnTo>
                    <a:pt x="53" y="89"/>
                  </a:lnTo>
                  <a:lnTo>
                    <a:pt x="45" y="98"/>
                  </a:lnTo>
                  <a:lnTo>
                    <a:pt x="27" y="98"/>
                  </a:lnTo>
                  <a:lnTo>
                    <a:pt x="9" y="98"/>
                  </a:lnTo>
                  <a:lnTo>
                    <a:pt x="0" y="106"/>
                  </a:lnTo>
                  <a:lnTo>
                    <a:pt x="9" y="124"/>
                  </a:lnTo>
                  <a:lnTo>
                    <a:pt x="18" y="124"/>
                  </a:lnTo>
                  <a:lnTo>
                    <a:pt x="18" y="133"/>
                  </a:lnTo>
                  <a:lnTo>
                    <a:pt x="27" y="133"/>
                  </a:lnTo>
                  <a:lnTo>
                    <a:pt x="27" y="124"/>
                  </a:lnTo>
                  <a:lnTo>
                    <a:pt x="36" y="124"/>
                  </a:lnTo>
                  <a:lnTo>
                    <a:pt x="45" y="124"/>
                  </a:lnTo>
                  <a:lnTo>
                    <a:pt x="45" y="115"/>
                  </a:lnTo>
                  <a:lnTo>
                    <a:pt x="45" y="106"/>
                  </a:lnTo>
                  <a:lnTo>
                    <a:pt x="62" y="106"/>
                  </a:lnTo>
                  <a:lnTo>
                    <a:pt x="80" y="115"/>
                  </a:lnTo>
                  <a:lnTo>
                    <a:pt x="97" y="115"/>
                  </a:lnTo>
                  <a:lnTo>
                    <a:pt x="115" y="115"/>
                  </a:lnTo>
                  <a:lnTo>
                    <a:pt x="133" y="115"/>
                  </a:lnTo>
                  <a:lnTo>
                    <a:pt x="142" y="115"/>
                  </a:lnTo>
                  <a:lnTo>
                    <a:pt x="150" y="124"/>
                  </a:lnTo>
                  <a:lnTo>
                    <a:pt x="150" y="115"/>
                  </a:lnTo>
                  <a:lnTo>
                    <a:pt x="159" y="115"/>
                  </a:lnTo>
                  <a:lnTo>
                    <a:pt x="159" y="106"/>
                  </a:lnTo>
                  <a:lnTo>
                    <a:pt x="159" y="98"/>
                  </a:lnTo>
                  <a:lnTo>
                    <a:pt x="177" y="98"/>
                  </a:lnTo>
                  <a:lnTo>
                    <a:pt x="203" y="98"/>
                  </a:lnTo>
                  <a:lnTo>
                    <a:pt x="221" y="98"/>
                  </a:lnTo>
                  <a:lnTo>
                    <a:pt x="256" y="106"/>
                  </a:lnTo>
                  <a:lnTo>
                    <a:pt x="265" y="115"/>
                  </a:lnTo>
                  <a:lnTo>
                    <a:pt x="283" y="115"/>
                  </a:lnTo>
                  <a:lnTo>
                    <a:pt x="283" y="124"/>
                  </a:lnTo>
                  <a:lnTo>
                    <a:pt x="274" y="133"/>
                  </a:lnTo>
                  <a:lnTo>
                    <a:pt x="247" y="133"/>
                  </a:lnTo>
                  <a:lnTo>
                    <a:pt x="230" y="133"/>
                  </a:lnTo>
                  <a:lnTo>
                    <a:pt x="203" y="124"/>
                  </a:lnTo>
                  <a:lnTo>
                    <a:pt x="195" y="133"/>
                  </a:lnTo>
                  <a:lnTo>
                    <a:pt x="221" y="151"/>
                  </a:lnTo>
                  <a:lnTo>
                    <a:pt x="212" y="159"/>
                  </a:lnTo>
                  <a:lnTo>
                    <a:pt x="203" y="168"/>
                  </a:lnTo>
                  <a:lnTo>
                    <a:pt x="186" y="177"/>
                  </a:lnTo>
                  <a:lnTo>
                    <a:pt x="177" y="186"/>
                  </a:lnTo>
                  <a:lnTo>
                    <a:pt x="168" y="186"/>
                  </a:lnTo>
                  <a:lnTo>
                    <a:pt x="177" y="203"/>
                  </a:lnTo>
                  <a:lnTo>
                    <a:pt x="168" y="212"/>
                  </a:lnTo>
                  <a:lnTo>
                    <a:pt x="142" y="221"/>
                  </a:lnTo>
                  <a:lnTo>
                    <a:pt x="133" y="221"/>
                  </a:lnTo>
                  <a:lnTo>
                    <a:pt x="124" y="230"/>
                  </a:lnTo>
                  <a:lnTo>
                    <a:pt x="124" y="239"/>
                  </a:lnTo>
                  <a:lnTo>
                    <a:pt x="133" y="239"/>
                  </a:lnTo>
                  <a:lnTo>
                    <a:pt x="168" y="239"/>
                  </a:lnTo>
                  <a:lnTo>
                    <a:pt x="195" y="248"/>
                  </a:lnTo>
                  <a:lnTo>
                    <a:pt x="230" y="256"/>
                  </a:lnTo>
                  <a:lnTo>
                    <a:pt x="239" y="248"/>
                  </a:lnTo>
                  <a:lnTo>
                    <a:pt x="247" y="248"/>
                  </a:lnTo>
                  <a:lnTo>
                    <a:pt x="247" y="239"/>
                  </a:lnTo>
                  <a:lnTo>
                    <a:pt x="256" y="239"/>
                  </a:lnTo>
                  <a:lnTo>
                    <a:pt x="256" y="230"/>
                  </a:lnTo>
                  <a:lnTo>
                    <a:pt x="256" y="221"/>
                  </a:lnTo>
                  <a:lnTo>
                    <a:pt x="265" y="212"/>
                  </a:lnTo>
                  <a:lnTo>
                    <a:pt x="265" y="203"/>
                  </a:lnTo>
                  <a:lnTo>
                    <a:pt x="274" y="195"/>
                  </a:lnTo>
                  <a:lnTo>
                    <a:pt x="292" y="186"/>
                  </a:lnTo>
                  <a:lnTo>
                    <a:pt x="309" y="186"/>
                  </a:lnTo>
                  <a:lnTo>
                    <a:pt x="327" y="177"/>
                  </a:lnTo>
                  <a:lnTo>
                    <a:pt x="344" y="177"/>
                  </a:lnTo>
                  <a:lnTo>
                    <a:pt x="353" y="186"/>
                  </a:lnTo>
                  <a:lnTo>
                    <a:pt x="344" y="203"/>
                  </a:lnTo>
                  <a:lnTo>
                    <a:pt x="336" y="212"/>
                  </a:lnTo>
                  <a:lnTo>
                    <a:pt x="309" y="239"/>
                  </a:lnTo>
                  <a:lnTo>
                    <a:pt x="309" y="248"/>
                  </a:lnTo>
                  <a:lnTo>
                    <a:pt x="300" y="248"/>
                  </a:lnTo>
                  <a:lnTo>
                    <a:pt x="292" y="248"/>
                  </a:lnTo>
                  <a:lnTo>
                    <a:pt x="283" y="248"/>
                  </a:lnTo>
                  <a:lnTo>
                    <a:pt x="274" y="256"/>
                  </a:lnTo>
                  <a:lnTo>
                    <a:pt x="274" y="265"/>
                  </a:lnTo>
                  <a:lnTo>
                    <a:pt x="292" y="265"/>
                  </a:lnTo>
                  <a:lnTo>
                    <a:pt x="300" y="256"/>
                  </a:lnTo>
                  <a:lnTo>
                    <a:pt x="309" y="256"/>
                  </a:lnTo>
                  <a:lnTo>
                    <a:pt x="318" y="256"/>
                  </a:lnTo>
                  <a:lnTo>
                    <a:pt x="344" y="239"/>
                  </a:lnTo>
                  <a:lnTo>
                    <a:pt x="371" y="230"/>
                  </a:lnTo>
                  <a:lnTo>
                    <a:pt x="371" y="221"/>
                  </a:lnTo>
                  <a:lnTo>
                    <a:pt x="380" y="212"/>
                  </a:lnTo>
                  <a:lnTo>
                    <a:pt x="389" y="212"/>
                  </a:lnTo>
                  <a:lnTo>
                    <a:pt x="397" y="203"/>
                  </a:lnTo>
                  <a:lnTo>
                    <a:pt x="415" y="203"/>
                  </a:lnTo>
                  <a:lnTo>
                    <a:pt x="397" y="186"/>
                  </a:lnTo>
                  <a:lnTo>
                    <a:pt x="380" y="177"/>
                  </a:lnTo>
                  <a:lnTo>
                    <a:pt x="389" y="168"/>
                  </a:lnTo>
                  <a:lnTo>
                    <a:pt x="397" y="159"/>
                  </a:lnTo>
                  <a:lnTo>
                    <a:pt x="406" y="151"/>
                  </a:lnTo>
                  <a:lnTo>
                    <a:pt x="415" y="151"/>
                  </a:lnTo>
                  <a:lnTo>
                    <a:pt x="433" y="151"/>
                  </a:lnTo>
                  <a:lnTo>
                    <a:pt x="459" y="151"/>
                  </a:lnTo>
                  <a:lnTo>
                    <a:pt x="468" y="159"/>
                  </a:lnTo>
                  <a:lnTo>
                    <a:pt x="477" y="168"/>
                  </a:lnTo>
                  <a:lnTo>
                    <a:pt x="486" y="168"/>
                  </a:lnTo>
                  <a:lnTo>
                    <a:pt x="494" y="168"/>
                  </a:lnTo>
                  <a:lnTo>
                    <a:pt x="503" y="168"/>
                  </a:lnTo>
                  <a:lnTo>
                    <a:pt x="512" y="168"/>
                  </a:lnTo>
                  <a:lnTo>
                    <a:pt x="521" y="168"/>
                  </a:lnTo>
                  <a:lnTo>
                    <a:pt x="530" y="159"/>
                  </a:lnTo>
                  <a:lnTo>
                    <a:pt x="530" y="151"/>
                  </a:lnTo>
                  <a:lnTo>
                    <a:pt x="539" y="151"/>
                  </a:lnTo>
                  <a:lnTo>
                    <a:pt x="521" y="151"/>
                  </a:lnTo>
                  <a:lnTo>
                    <a:pt x="512" y="151"/>
                  </a:lnTo>
                  <a:lnTo>
                    <a:pt x="512" y="142"/>
                  </a:lnTo>
                  <a:lnTo>
                    <a:pt x="512" y="133"/>
                  </a:lnTo>
                  <a:lnTo>
                    <a:pt x="521" y="124"/>
                  </a:lnTo>
                  <a:lnTo>
                    <a:pt x="530" y="124"/>
                  </a:lnTo>
                  <a:lnTo>
                    <a:pt x="530" y="115"/>
                  </a:lnTo>
                  <a:lnTo>
                    <a:pt x="539" y="106"/>
                  </a:lnTo>
                  <a:lnTo>
                    <a:pt x="547" y="98"/>
                  </a:lnTo>
                  <a:lnTo>
                    <a:pt x="547" y="89"/>
                  </a:lnTo>
                  <a:close/>
                  <a:moveTo>
                    <a:pt x="2118" y="1739"/>
                  </a:moveTo>
                  <a:lnTo>
                    <a:pt x="2118" y="1730"/>
                  </a:lnTo>
                  <a:lnTo>
                    <a:pt x="2118" y="1721"/>
                  </a:lnTo>
                  <a:lnTo>
                    <a:pt x="2109" y="1713"/>
                  </a:lnTo>
                  <a:lnTo>
                    <a:pt x="2100" y="1704"/>
                  </a:lnTo>
                  <a:lnTo>
                    <a:pt x="2100" y="1695"/>
                  </a:lnTo>
                  <a:lnTo>
                    <a:pt x="2091" y="1677"/>
                  </a:lnTo>
                  <a:lnTo>
                    <a:pt x="2091" y="1669"/>
                  </a:lnTo>
                  <a:lnTo>
                    <a:pt x="2082" y="1669"/>
                  </a:lnTo>
                  <a:lnTo>
                    <a:pt x="2082" y="1660"/>
                  </a:lnTo>
                  <a:lnTo>
                    <a:pt x="2082" y="1651"/>
                  </a:lnTo>
                  <a:lnTo>
                    <a:pt x="2074" y="1642"/>
                  </a:lnTo>
                  <a:lnTo>
                    <a:pt x="2065" y="1633"/>
                  </a:lnTo>
                  <a:lnTo>
                    <a:pt x="2065" y="1624"/>
                  </a:lnTo>
                  <a:lnTo>
                    <a:pt x="2065" y="1616"/>
                  </a:lnTo>
                  <a:lnTo>
                    <a:pt x="2065" y="1607"/>
                  </a:lnTo>
                  <a:lnTo>
                    <a:pt x="2056" y="1589"/>
                  </a:lnTo>
                  <a:lnTo>
                    <a:pt x="2047" y="1571"/>
                  </a:lnTo>
                  <a:lnTo>
                    <a:pt x="2038" y="1563"/>
                  </a:lnTo>
                  <a:lnTo>
                    <a:pt x="2038" y="1554"/>
                  </a:lnTo>
                  <a:lnTo>
                    <a:pt x="2047" y="1554"/>
                  </a:lnTo>
                  <a:lnTo>
                    <a:pt x="2038" y="1545"/>
                  </a:lnTo>
                  <a:lnTo>
                    <a:pt x="2038" y="1536"/>
                  </a:lnTo>
                  <a:lnTo>
                    <a:pt x="2030" y="1527"/>
                  </a:lnTo>
                  <a:lnTo>
                    <a:pt x="2021" y="1510"/>
                  </a:lnTo>
                  <a:lnTo>
                    <a:pt x="2021" y="1501"/>
                  </a:lnTo>
                  <a:lnTo>
                    <a:pt x="2012" y="1492"/>
                  </a:lnTo>
                  <a:lnTo>
                    <a:pt x="2012" y="1483"/>
                  </a:lnTo>
                  <a:lnTo>
                    <a:pt x="2003" y="1466"/>
                  </a:lnTo>
                  <a:lnTo>
                    <a:pt x="1994" y="1457"/>
                  </a:lnTo>
                  <a:lnTo>
                    <a:pt x="2012" y="1448"/>
                  </a:lnTo>
                  <a:lnTo>
                    <a:pt x="2003" y="1448"/>
                  </a:lnTo>
                  <a:lnTo>
                    <a:pt x="1994" y="1457"/>
                  </a:lnTo>
                  <a:lnTo>
                    <a:pt x="1985" y="1457"/>
                  </a:lnTo>
                  <a:lnTo>
                    <a:pt x="1977" y="1448"/>
                  </a:lnTo>
                  <a:lnTo>
                    <a:pt x="1985" y="1448"/>
                  </a:lnTo>
                  <a:lnTo>
                    <a:pt x="1985" y="1430"/>
                  </a:lnTo>
                  <a:lnTo>
                    <a:pt x="2003" y="1430"/>
                  </a:lnTo>
                  <a:lnTo>
                    <a:pt x="2012" y="1421"/>
                  </a:lnTo>
                  <a:lnTo>
                    <a:pt x="2003" y="1421"/>
                  </a:lnTo>
                  <a:lnTo>
                    <a:pt x="1994" y="1421"/>
                  </a:lnTo>
                  <a:lnTo>
                    <a:pt x="2003" y="1421"/>
                  </a:lnTo>
                  <a:lnTo>
                    <a:pt x="2003" y="1413"/>
                  </a:lnTo>
                  <a:lnTo>
                    <a:pt x="1994" y="1413"/>
                  </a:lnTo>
                  <a:lnTo>
                    <a:pt x="1985" y="1430"/>
                  </a:lnTo>
                  <a:lnTo>
                    <a:pt x="1977" y="1448"/>
                  </a:lnTo>
                  <a:lnTo>
                    <a:pt x="1977" y="1457"/>
                  </a:lnTo>
                  <a:lnTo>
                    <a:pt x="1977" y="1466"/>
                  </a:lnTo>
                  <a:lnTo>
                    <a:pt x="1994" y="1474"/>
                  </a:lnTo>
                  <a:lnTo>
                    <a:pt x="2003" y="1483"/>
                  </a:lnTo>
                  <a:lnTo>
                    <a:pt x="1994" y="1483"/>
                  </a:lnTo>
                  <a:lnTo>
                    <a:pt x="1977" y="1466"/>
                  </a:lnTo>
                  <a:lnTo>
                    <a:pt x="1959" y="1466"/>
                  </a:lnTo>
                  <a:lnTo>
                    <a:pt x="1950" y="1466"/>
                  </a:lnTo>
                  <a:lnTo>
                    <a:pt x="1941" y="1466"/>
                  </a:lnTo>
                  <a:lnTo>
                    <a:pt x="1933" y="1466"/>
                  </a:lnTo>
                  <a:lnTo>
                    <a:pt x="1924" y="1466"/>
                  </a:lnTo>
                  <a:lnTo>
                    <a:pt x="1924" y="1474"/>
                  </a:lnTo>
                  <a:lnTo>
                    <a:pt x="1924" y="1483"/>
                  </a:lnTo>
                  <a:lnTo>
                    <a:pt x="1915" y="1501"/>
                  </a:lnTo>
                  <a:lnTo>
                    <a:pt x="1915" y="1510"/>
                  </a:lnTo>
                  <a:lnTo>
                    <a:pt x="1906" y="1518"/>
                  </a:lnTo>
                  <a:lnTo>
                    <a:pt x="1906" y="1536"/>
                  </a:lnTo>
                  <a:lnTo>
                    <a:pt x="1915" y="1545"/>
                  </a:lnTo>
                  <a:lnTo>
                    <a:pt x="1924" y="1545"/>
                  </a:lnTo>
                  <a:lnTo>
                    <a:pt x="1933" y="1545"/>
                  </a:lnTo>
                  <a:lnTo>
                    <a:pt x="1941" y="1545"/>
                  </a:lnTo>
                  <a:lnTo>
                    <a:pt x="1959" y="1545"/>
                  </a:lnTo>
                  <a:lnTo>
                    <a:pt x="1959" y="1554"/>
                  </a:lnTo>
                  <a:lnTo>
                    <a:pt x="1941" y="1554"/>
                  </a:lnTo>
                  <a:lnTo>
                    <a:pt x="1933" y="1563"/>
                  </a:lnTo>
                  <a:lnTo>
                    <a:pt x="1933" y="1571"/>
                  </a:lnTo>
                  <a:lnTo>
                    <a:pt x="1933" y="1580"/>
                  </a:lnTo>
                  <a:lnTo>
                    <a:pt x="1959" y="1598"/>
                  </a:lnTo>
                  <a:lnTo>
                    <a:pt x="1959" y="1607"/>
                  </a:lnTo>
                  <a:lnTo>
                    <a:pt x="1959" y="1616"/>
                  </a:lnTo>
                  <a:lnTo>
                    <a:pt x="1968" y="1616"/>
                  </a:lnTo>
                  <a:lnTo>
                    <a:pt x="1985" y="1624"/>
                  </a:lnTo>
                  <a:lnTo>
                    <a:pt x="1985" y="1633"/>
                  </a:lnTo>
                  <a:lnTo>
                    <a:pt x="1994" y="1642"/>
                  </a:lnTo>
                  <a:lnTo>
                    <a:pt x="1994" y="1651"/>
                  </a:lnTo>
                  <a:lnTo>
                    <a:pt x="1994" y="1660"/>
                  </a:lnTo>
                  <a:lnTo>
                    <a:pt x="2012" y="1660"/>
                  </a:lnTo>
                  <a:lnTo>
                    <a:pt x="2012" y="1651"/>
                  </a:lnTo>
                  <a:lnTo>
                    <a:pt x="2012" y="1642"/>
                  </a:lnTo>
                  <a:lnTo>
                    <a:pt x="2021" y="1642"/>
                  </a:lnTo>
                  <a:lnTo>
                    <a:pt x="2030" y="1642"/>
                  </a:lnTo>
                  <a:lnTo>
                    <a:pt x="2030" y="1651"/>
                  </a:lnTo>
                  <a:lnTo>
                    <a:pt x="2030" y="1660"/>
                  </a:lnTo>
                  <a:lnTo>
                    <a:pt x="2030" y="1651"/>
                  </a:lnTo>
                  <a:lnTo>
                    <a:pt x="2038" y="1651"/>
                  </a:lnTo>
                  <a:lnTo>
                    <a:pt x="2047" y="1651"/>
                  </a:lnTo>
                  <a:lnTo>
                    <a:pt x="2047" y="1669"/>
                  </a:lnTo>
                  <a:lnTo>
                    <a:pt x="2056" y="1677"/>
                  </a:lnTo>
                  <a:lnTo>
                    <a:pt x="2047" y="1686"/>
                  </a:lnTo>
                  <a:lnTo>
                    <a:pt x="2047" y="1695"/>
                  </a:lnTo>
                  <a:lnTo>
                    <a:pt x="2047" y="1704"/>
                  </a:lnTo>
                  <a:lnTo>
                    <a:pt x="2056" y="1704"/>
                  </a:lnTo>
                  <a:lnTo>
                    <a:pt x="2056" y="1695"/>
                  </a:lnTo>
                  <a:lnTo>
                    <a:pt x="2065" y="1686"/>
                  </a:lnTo>
                  <a:lnTo>
                    <a:pt x="2082" y="1677"/>
                  </a:lnTo>
                  <a:lnTo>
                    <a:pt x="2082" y="1686"/>
                  </a:lnTo>
                  <a:lnTo>
                    <a:pt x="2091" y="1686"/>
                  </a:lnTo>
                  <a:lnTo>
                    <a:pt x="2091" y="1695"/>
                  </a:lnTo>
                  <a:lnTo>
                    <a:pt x="2074" y="1721"/>
                  </a:lnTo>
                  <a:lnTo>
                    <a:pt x="2074" y="1730"/>
                  </a:lnTo>
                  <a:lnTo>
                    <a:pt x="2091" y="1713"/>
                  </a:lnTo>
                  <a:lnTo>
                    <a:pt x="2100" y="1713"/>
                  </a:lnTo>
                  <a:lnTo>
                    <a:pt x="2100" y="1721"/>
                  </a:lnTo>
                  <a:lnTo>
                    <a:pt x="2091" y="1721"/>
                  </a:lnTo>
                  <a:lnTo>
                    <a:pt x="2082" y="1730"/>
                  </a:lnTo>
                  <a:lnTo>
                    <a:pt x="2082" y="1739"/>
                  </a:lnTo>
                  <a:lnTo>
                    <a:pt x="2074" y="1739"/>
                  </a:lnTo>
                  <a:lnTo>
                    <a:pt x="2074" y="1748"/>
                  </a:lnTo>
                  <a:lnTo>
                    <a:pt x="2074" y="1757"/>
                  </a:lnTo>
                  <a:lnTo>
                    <a:pt x="2074" y="1766"/>
                  </a:lnTo>
                  <a:lnTo>
                    <a:pt x="2074" y="1783"/>
                  </a:lnTo>
                  <a:lnTo>
                    <a:pt x="2074" y="1792"/>
                  </a:lnTo>
                  <a:lnTo>
                    <a:pt x="2074" y="1801"/>
                  </a:lnTo>
                  <a:lnTo>
                    <a:pt x="2082" y="1810"/>
                  </a:lnTo>
                  <a:lnTo>
                    <a:pt x="2091" y="1810"/>
                  </a:lnTo>
                  <a:lnTo>
                    <a:pt x="2100" y="1801"/>
                  </a:lnTo>
                  <a:lnTo>
                    <a:pt x="2100" y="1792"/>
                  </a:lnTo>
                  <a:lnTo>
                    <a:pt x="2100" y="1783"/>
                  </a:lnTo>
                  <a:lnTo>
                    <a:pt x="2100" y="1774"/>
                  </a:lnTo>
                  <a:lnTo>
                    <a:pt x="2109" y="1783"/>
                  </a:lnTo>
                  <a:lnTo>
                    <a:pt x="2118" y="1783"/>
                  </a:lnTo>
                  <a:lnTo>
                    <a:pt x="2118" y="1774"/>
                  </a:lnTo>
                  <a:lnTo>
                    <a:pt x="2118" y="1766"/>
                  </a:lnTo>
                  <a:lnTo>
                    <a:pt x="2109" y="1748"/>
                  </a:lnTo>
                  <a:close/>
                  <a:moveTo>
                    <a:pt x="2003" y="1624"/>
                  </a:moveTo>
                  <a:lnTo>
                    <a:pt x="1994" y="1624"/>
                  </a:lnTo>
                  <a:lnTo>
                    <a:pt x="1994" y="1616"/>
                  </a:lnTo>
                  <a:lnTo>
                    <a:pt x="1994" y="1607"/>
                  </a:lnTo>
                  <a:lnTo>
                    <a:pt x="1994" y="1598"/>
                  </a:lnTo>
                  <a:lnTo>
                    <a:pt x="2003" y="1598"/>
                  </a:lnTo>
                  <a:lnTo>
                    <a:pt x="2003" y="1616"/>
                  </a:lnTo>
                  <a:close/>
                  <a:moveTo>
                    <a:pt x="2100" y="1739"/>
                  </a:moveTo>
                  <a:lnTo>
                    <a:pt x="2091" y="1748"/>
                  </a:lnTo>
                  <a:lnTo>
                    <a:pt x="2082" y="1748"/>
                  </a:lnTo>
                  <a:lnTo>
                    <a:pt x="2082" y="1739"/>
                  </a:lnTo>
                  <a:lnTo>
                    <a:pt x="2091" y="1739"/>
                  </a:lnTo>
                  <a:lnTo>
                    <a:pt x="2091" y="1730"/>
                  </a:lnTo>
                  <a:lnTo>
                    <a:pt x="2100" y="1730"/>
                  </a:lnTo>
                  <a:close/>
                  <a:moveTo>
                    <a:pt x="11487" y="6470"/>
                  </a:moveTo>
                  <a:lnTo>
                    <a:pt x="11487" y="6461"/>
                  </a:lnTo>
                  <a:lnTo>
                    <a:pt x="11478" y="6452"/>
                  </a:lnTo>
                  <a:lnTo>
                    <a:pt x="11478" y="6443"/>
                  </a:lnTo>
                  <a:lnTo>
                    <a:pt x="11469" y="6443"/>
                  </a:lnTo>
                  <a:lnTo>
                    <a:pt x="11469" y="6434"/>
                  </a:lnTo>
                  <a:lnTo>
                    <a:pt x="11469" y="6426"/>
                  </a:lnTo>
                  <a:lnTo>
                    <a:pt x="11461" y="6408"/>
                  </a:lnTo>
                  <a:lnTo>
                    <a:pt x="11452" y="6399"/>
                  </a:lnTo>
                  <a:lnTo>
                    <a:pt x="11452" y="6390"/>
                  </a:lnTo>
                  <a:lnTo>
                    <a:pt x="11452" y="6381"/>
                  </a:lnTo>
                  <a:lnTo>
                    <a:pt x="11443" y="6373"/>
                  </a:lnTo>
                  <a:lnTo>
                    <a:pt x="11443" y="6364"/>
                  </a:lnTo>
                  <a:lnTo>
                    <a:pt x="11443" y="6355"/>
                  </a:lnTo>
                  <a:lnTo>
                    <a:pt x="11434" y="6346"/>
                  </a:lnTo>
                  <a:lnTo>
                    <a:pt x="11434" y="6337"/>
                  </a:lnTo>
                  <a:lnTo>
                    <a:pt x="11425" y="6328"/>
                  </a:lnTo>
                  <a:lnTo>
                    <a:pt x="11417" y="6320"/>
                  </a:lnTo>
                  <a:lnTo>
                    <a:pt x="11408" y="6320"/>
                  </a:lnTo>
                  <a:lnTo>
                    <a:pt x="11399" y="6320"/>
                  </a:lnTo>
                  <a:lnTo>
                    <a:pt x="11390" y="6311"/>
                  </a:lnTo>
                  <a:lnTo>
                    <a:pt x="11390" y="6302"/>
                  </a:lnTo>
                  <a:lnTo>
                    <a:pt x="11381" y="6302"/>
                  </a:lnTo>
                  <a:lnTo>
                    <a:pt x="11381" y="6293"/>
                  </a:lnTo>
                  <a:lnTo>
                    <a:pt x="11390" y="6284"/>
                  </a:lnTo>
                  <a:lnTo>
                    <a:pt x="11399" y="6284"/>
                  </a:lnTo>
                  <a:lnTo>
                    <a:pt x="11399" y="6276"/>
                  </a:lnTo>
                  <a:lnTo>
                    <a:pt x="11399" y="6267"/>
                  </a:lnTo>
                  <a:lnTo>
                    <a:pt x="11399" y="6258"/>
                  </a:lnTo>
                  <a:lnTo>
                    <a:pt x="11390" y="6249"/>
                  </a:lnTo>
                  <a:lnTo>
                    <a:pt x="11390" y="6240"/>
                  </a:lnTo>
                  <a:lnTo>
                    <a:pt x="11390" y="6231"/>
                  </a:lnTo>
                  <a:lnTo>
                    <a:pt x="11390" y="6223"/>
                  </a:lnTo>
                  <a:lnTo>
                    <a:pt x="11390" y="6214"/>
                  </a:lnTo>
                  <a:lnTo>
                    <a:pt x="11381" y="6205"/>
                  </a:lnTo>
                  <a:lnTo>
                    <a:pt x="11372" y="6205"/>
                  </a:lnTo>
                  <a:lnTo>
                    <a:pt x="11372" y="6196"/>
                  </a:lnTo>
                  <a:lnTo>
                    <a:pt x="11381" y="6178"/>
                  </a:lnTo>
                  <a:lnTo>
                    <a:pt x="11381" y="6170"/>
                  </a:lnTo>
                  <a:lnTo>
                    <a:pt x="11372" y="6161"/>
                  </a:lnTo>
                  <a:lnTo>
                    <a:pt x="11372" y="6152"/>
                  </a:lnTo>
                  <a:lnTo>
                    <a:pt x="11364" y="6134"/>
                  </a:lnTo>
                  <a:lnTo>
                    <a:pt x="11355" y="6125"/>
                  </a:lnTo>
                  <a:lnTo>
                    <a:pt x="11355" y="6117"/>
                  </a:lnTo>
                  <a:lnTo>
                    <a:pt x="11355" y="6099"/>
                  </a:lnTo>
                  <a:lnTo>
                    <a:pt x="11355" y="6090"/>
                  </a:lnTo>
                  <a:lnTo>
                    <a:pt x="11346" y="6090"/>
                  </a:lnTo>
                  <a:lnTo>
                    <a:pt x="11346" y="6099"/>
                  </a:lnTo>
                  <a:lnTo>
                    <a:pt x="11346" y="6108"/>
                  </a:lnTo>
                  <a:lnTo>
                    <a:pt x="11346" y="6117"/>
                  </a:lnTo>
                  <a:lnTo>
                    <a:pt x="11337" y="6117"/>
                  </a:lnTo>
                  <a:lnTo>
                    <a:pt x="11337" y="6125"/>
                  </a:lnTo>
                  <a:lnTo>
                    <a:pt x="11337" y="6134"/>
                  </a:lnTo>
                  <a:lnTo>
                    <a:pt x="11337" y="6143"/>
                  </a:lnTo>
                  <a:lnTo>
                    <a:pt x="11337" y="6152"/>
                  </a:lnTo>
                  <a:lnTo>
                    <a:pt x="11337" y="6161"/>
                  </a:lnTo>
                  <a:lnTo>
                    <a:pt x="11346" y="6161"/>
                  </a:lnTo>
                  <a:lnTo>
                    <a:pt x="11346" y="6143"/>
                  </a:lnTo>
                  <a:lnTo>
                    <a:pt x="11346" y="6170"/>
                  </a:lnTo>
                  <a:lnTo>
                    <a:pt x="11346" y="6178"/>
                  </a:lnTo>
                  <a:lnTo>
                    <a:pt x="11337" y="6178"/>
                  </a:lnTo>
                  <a:lnTo>
                    <a:pt x="11337" y="6187"/>
                  </a:lnTo>
                  <a:lnTo>
                    <a:pt x="11337" y="6214"/>
                  </a:lnTo>
                  <a:lnTo>
                    <a:pt x="11337" y="6223"/>
                  </a:lnTo>
                  <a:lnTo>
                    <a:pt x="11346" y="6231"/>
                  </a:lnTo>
                  <a:lnTo>
                    <a:pt x="11346" y="6240"/>
                  </a:lnTo>
                  <a:lnTo>
                    <a:pt x="11355" y="6258"/>
                  </a:lnTo>
                  <a:lnTo>
                    <a:pt x="11355" y="6267"/>
                  </a:lnTo>
                  <a:lnTo>
                    <a:pt x="11346" y="6276"/>
                  </a:lnTo>
                  <a:lnTo>
                    <a:pt x="11346" y="6284"/>
                  </a:lnTo>
                  <a:lnTo>
                    <a:pt x="11346" y="6293"/>
                  </a:lnTo>
                  <a:lnTo>
                    <a:pt x="11355" y="6293"/>
                  </a:lnTo>
                  <a:lnTo>
                    <a:pt x="11355" y="6302"/>
                  </a:lnTo>
                  <a:lnTo>
                    <a:pt x="11364" y="6320"/>
                  </a:lnTo>
                  <a:lnTo>
                    <a:pt x="11364" y="6328"/>
                  </a:lnTo>
                  <a:lnTo>
                    <a:pt x="11372" y="6337"/>
                  </a:lnTo>
                  <a:lnTo>
                    <a:pt x="11372" y="6346"/>
                  </a:lnTo>
                  <a:lnTo>
                    <a:pt x="11390" y="6355"/>
                  </a:lnTo>
                  <a:lnTo>
                    <a:pt x="11390" y="6364"/>
                  </a:lnTo>
                  <a:lnTo>
                    <a:pt x="11399" y="6364"/>
                  </a:lnTo>
                  <a:lnTo>
                    <a:pt x="11408" y="6373"/>
                  </a:lnTo>
                  <a:lnTo>
                    <a:pt x="11417" y="6381"/>
                  </a:lnTo>
                  <a:lnTo>
                    <a:pt x="11417" y="6390"/>
                  </a:lnTo>
                  <a:lnTo>
                    <a:pt x="11417" y="6399"/>
                  </a:lnTo>
                  <a:lnTo>
                    <a:pt x="11425" y="6408"/>
                  </a:lnTo>
                  <a:lnTo>
                    <a:pt x="11425" y="6417"/>
                  </a:lnTo>
                  <a:lnTo>
                    <a:pt x="11425" y="6426"/>
                  </a:lnTo>
                  <a:lnTo>
                    <a:pt x="11434" y="6426"/>
                  </a:lnTo>
                  <a:lnTo>
                    <a:pt x="11434" y="6434"/>
                  </a:lnTo>
                  <a:lnTo>
                    <a:pt x="11443" y="6434"/>
                  </a:lnTo>
                  <a:lnTo>
                    <a:pt x="11443" y="6443"/>
                  </a:lnTo>
                  <a:lnTo>
                    <a:pt x="11452" y="6443"/>
                  </a:lnTo>
                  <a:lnTo>
                    <a:pt x="11443" y="6452"/>
                  </a:lnTo>
                  <a:lnTo>
                    <a:pt x="11443" y="6461"/>
                  </a:lnTo>
                  <a:lnTo>
                    <a:pt x="11434" y="6461"/>
                  </a:lnTo>
                  <a:lnTo>
                    <a:pt x="11443" y="6470"/>
                  </a:lnTo>
                  <a:lnTo>
                    <a:pt x="11443" y="6479"/>
                  </a:lnTo>
                  <a:lnTo>
                    <a:pt x="11452" y="6470"/>
                  </a:lnTo>
                  <a:lnTo>
                    <a:pt x="11461" y="6470"/>
                  </a:lnTo>
                  <a:lnTo>
                    <a:pt x="11461" y="6479"/>
                  </a:lnTo>
                  <a:lnTo>
                    <a:pt x="11478" y="6487"/>
                  </a:lnTo>
                  <a:lnTo>
                    <a:pt x="11487" y="6487"/>
                  </a:lnTo>
                  <a:lnTo>
                    <a:pt x="11496" y="6487"/>
                  </a:lnTo>
                  <a:lnTo>
                    <a:pt x="11496" y="6479"/>
                  </a:lnTo>
                  <a:close/>
                  <a:moveTo>
                    <a:pt x="11787" y="6883"/>
                  </a:moveTo>
                  <a:lnTo>
                    <a:pt x="11778" y="6866"/>
                  </a:lnTo>
                  <a:lnTo>
                    <a:pt x="11778" y="6857"/>
                  </a:lnTo>
                  <a:lnTo>
                    <a:pt x="11761" y="6857"/>
                  </a:lnTo>
                  <a:lnTo>
                    <a:pt x="11761" y="6848"/>
                  </a:lnTo>
                  <a:lnTo>
                    <a:pt x="11761" y="6831"/>
                  </a:lnTo>
                  <a:lnTo>
                    <a:pt x="11761" y="6822"/>
                  </a:lnTo>
                  <a:lnTo>
                    <a:pt x="11761" y="6813"/>
                  </a:lnTo>
                  <a:lnTo>
                    <a:pt x="11761" y="6804"/>
                  </a:lnTo>
                  <a:lnTo>
                    <a:pt x="11752" y="6795"/>
                  </a:lnTo>
                  <a:lnTo>
                    <a:pt x="11752" y="6786"/>
                  </a:lnTo>
                  <a:lnTo>
                    <a:pt x="11761" y="6786"/>
                  </a:lnTo>
                  <a:lnTo>
                    <a:pt x="11761" y="6778"/>
                  </a:lnTo>
                  <a:lnTo>
                    <a:pt x="11752" y="6760"/>
                  </a:lnTo>
                  <a:lnTo>
                    <a:pt x="11752" y="6751"/>
                  </a:lnTo>
                  <a:lnTo>
                    <a:pt x="11752" y="6742"/>
                  </a:lnTo>
                  <a:lnTo>
                    <a:pt x="11752" y="6733"/>
                  </a:lnTo>
                  <a:lnTo>
                    <a:pt x="11761" y="6733"/>
                  </a:lnTo>
                  <a:lnTo>
                    <a:pt x="11761" y="6725"/>
                  </a:lnTo>
                  <a:lnTo>
                    <a:pt x="11769" y="6716"/>
                  </a:lnTo>
                  <a:lnTo>
                    <a:pt x="11769" y="6707"/>
                  </a:lnTo>
                  <a:lnTo>
                    <a:pt x="11769" y="6698"/>
                  </a:lnTo>
                  <a:lnTo>
                    <a:pt x="11769" y="6689"/>
                  </a:lnTo>
                  <a:lnTo>
                    <a:pt x="11761" y="6681"/>
                  </a:lnTo>
                  <a:lnTo>
                    <a:pt x="11752" y="6681"/>
                  </a:lnTo>
                  <a:lnTo>
                    <a:pt x="11752" y="6672"/>
                  </a:lnTo>
                  <a:lnTo>
                    <a:pt x="11752" y="6663"/>
                  </a:lnTo>
                  <a:lnTo>
                    <a:pt x="11743" y="6663"/>
                  </a:lnTo>
                  <a:lnTo>
                    <a:pt x="11743" y="6654"/>
                  </a:lnTo>
                  <a:lnTo>
                    <a:pt x="11743" y="6645"/>
                  </a:lnTo>
                  <a:lnTo>
                    <a:pt x="11752" y="6636"/>
                  </a:lnTo>
                  <a:lnTo>
                    <a:pt x="11752" y="6628"/>
                  </a:lnTo>
                  <a:lnTo>
                    <a:pt x="11743" y="6628"/>
                  </a:lnTo>
                  <a:lnTo>
                    <a:pt x="11743" y="6619"/>
                  </a:lnTo>
                  <a:lnTo>
                    <a:pt x="11743" y="6610"/>
                  </a:lnTo>
                  <a:lnTo>
                    <a:pt x="11743" y="6602"/>
                  </a:lnTo>
                  <a:lnTo>
                    <a:pt x="11743" y="6593"/>
                  </a:lnTo>
                  <a:lnTo>
                    <a:pt x="11734" y="6584"/>
                  </a:lnTo>
                  <a:lnTo>
                    <a:pt x="11734" y="6576"/>
                  </a:lnTo>
                  <a:lnTo>
                    <a:pt x="11725" y="6558"/>
                  </a:lnTo>
                  <a:lnTo>
                    <a:pt x="11708" y="6549"/>
                  </a:lnTo>
                  <a:lnTo>
                    <a:pt x="11699" y="6540"/>
                  </a:lnTo>
                  <a:lnTo>
                    <a:pt x="11699" y="6549"/>
                  </a:lnTo>
                  <a:lnTo>
                    <a:pt x="11699" y="6558"/>
                  </a:lnTo>
                  <a:lnTo>
                    <a:pt x="11690" y="6558"/>
                  </a:lnTo>
                  <a:lnTo>
                    <a:pt x="11690" y="6567"/>
                  </a:lnTo>
                  <a:lnTo>
                    <a:pt x="11699" y="6567"/>
                  </a:lnTo>
                  <a:lnTo>
                    <a:pt x="11699" y="6584"/>
                  </a:lnTo>
                  <a:lnTo>
                    <a:pt x="11708" y="6593"/>
                  </a:lnTo>
                  <a:lnTo>
                    <a:pt x="11708" y="6602"/>
                  </a:lnTo>
                  <a:lnTo>
                    <a:pt x="11717" y="6602"/>
                  </a:lnTo>
                  <a:lnTo>
                    <a:pt x="11717" y="6610"/>
                  </a:lnTo>
                  <a:lnTo>
                    <a:pt x="11717" y="6619"/>
                  </a:lnTo>
                  <a:lnTo>
                    <a:pt x="11717" y="6628"/>
                  </a:lnTo>
                  <a:lnTo>
                    <a:pt x="11717" y="6654"/>
                  </a:lnTo>
                  <a:lnTo>
                    <a:pt x="11717" y="6663"/>
                  </a:lnTo>
                  <a:lnTo>
                    <a:pt x="11717" y="6672"/>
                  </a:lnTo>
                  <a:lnTo>
                    <a:pt x="11717" y="6681"/>
                  </a:lnTo>
                  <a:lnTo>
                    <a:pt x="11725" y="6698"/>
                  </a:lnTo>
                  <a:lnTo>
                    <a:pt x="11717" y="6707"/>
                  </a:lnTo>
                  <a:lnTo>
                    <a:pt x="11717" y="6716"/>
                  </a:lnTo>
                  <a:lnTo>
                    <a:pt x="11708" y="6725"/>
                  </a:lnTo>
                  <a:lnTo>
                    <a:pt x="11708" y="6733"/>
                  </a:lnTo>
                  <a:lnTo>
                    <a:pt x="11699" y="6742"/>
                  </a:lnTo>
                  <a:lnTo>
                    <a:pt x="11708" y="6751"/>
                  </a:lnTo>
                  <a:lnTo>
                    <a:pt x="11717" y="6760"/>
                  </a:lnTo>
                  <a:lnTo>
                    <a:pt x="11717" y="6778"/>
                  </a:lnTo>
                  <a:lnTo>
                    <a:pt x="11717" y="6786"/>
                  </a:lnTo>
                  <a:lnTo>
                    <a:pt x="11725" y="6786"/>
                  </a:lnTo>
                  <a:lnTo>
                    <a:pt x="11725" y="6795"/>
                  </a:lnTo>
                  <a:lnTo>
                    <a:pt x="11725" y="6813"/>
                  </a:lnTo>
                  <a:lnTo>
                    <a:pt x="11725" y="6822"/>
                  </a:lnTo>
                  <a:lnTo>
                    <a:pt x="11725" y="6831"/>
                  </a:lnTo>
                  <a:lnTo>
                    <a:pt x="11725" y="6839"/>
                  </a:lnTo>
                  <a:lnTo>
                    <a:pt x="11734" y="6839"/>
                  </a:lnTo>
                  <a:lnTo>
                    <a:pt x="11743" y="6848"/>
                  </a:lnTo>
                  <a:lnTo>
                    <a:pt x="11743" y="6857"/>
                  </a:lnTo>
                  <a:lnTo>
                    <a:pt x="11743" y="6866"/>
                  </a:lnTo>
                  <a:lnTo>
                    <a:pt x="11743" y="6875"/>
                  </a:lnTo>
                  <a:lnTo>
                    <a:pt x="11743" y="6883"/>
                  </a:lnTo>
                  <a:lnTo>
                    <a:pt x="11743" y="6892"/>
                  </a:lnTo>
                  <a:lnTo>
                    <a:pt x="11752" y="6892"/>
                  </a:lnTo>
                  <a:lnTo>
                    <a:pt x="11761" y="6892"/>
                  </a:lnTo>
                  <a:lnTo>
                    <a:pt x="11761" y="6883"/>
                  </a:lnTo>
                  <a:lnTo>
                    <a:pt x="11761" y="6875"/>
                  </a:lnTo>
                  <a:lnTo>
                    <a:pt x="11769" y="6875"/>
                  </a:lnTo>
                  <a:lnTo>
                    <a:pt x="11769" y="6883"/>
                  </a:lnTo>
                  <a:lnTo>
                    <a:pt x="11778" y="6883"/>
                  </a:lnTo>
                  <a:lnTo>
                    <a:pt x="11778" y="6892"/>
                  </a:lnTo>
                  <a:lnTo>
                    <a:pt x="11787" y="6901"/>
                  </a:lnTo>
                  <a:lnTo>
                    <a:pt x="11796" y="6901"/>
                  </a:lnTo>
                  <a:lnTo>
                    <a:pt x="11796" y="6892"/>
                  </a:lnTo>
                  <a:close/>
                  <a:moveTo>
                    <a:pt x="11743" y="6733"/>
                  </a:moveTo>
                  <a:lnTo>
                    <a:pt x="11743" y="6725"/>
                  </a:lnTo>
                  <a:close/>
                  <a:moveTo>
                    <a:pt x="11752" y="6733"/>
                  </a:moveTo>
                  <a:lnTo>
                    <a:pt x="11752" y="6725"/>
                  </a:lnTo>
                  <a:close/>
                  <a:moveTo>
                    <a:pt x="10278" y="4881"/>
                  </a:moveTo>
                  <a:lnTo>
                    <a:pt x="10278" y="4872"/>
                  </a:lnTo>
                  <a:lnTo>
                    <a:pt x="10270" y="4872"/>
                  </a:lnTo>
                  <a:lnTo>
                    <a:pt x="10261" y="4872"/>
                  </a:lnTo>
                  <a:lnTo>
                    <a:pt x="10252" y="4881"/>
                  </a:lnTo>
                  <a:lnTo>
                    <a:pt x="10252" y="4890"/>
                  </a:lnTo>
                  <a:lnTo>
                    <a:pt x="10252" y="4899"/>
                  </a:lnTo>
                  <a:lnTo>
                    <a:pt x="10261" y="4899"/>
                  </a:lnTo>
                  <a:lnTo>
                    <a:pt x="10270" y="4890"/>
                  </a:lnTo>
                  <a:lnTo>
                    <a:pt x="10278" y="4890"/>
                  </a:lnTo>
                  <a:lnTo>
                    <a:pt x="10287" y="4890"/>
                  </a:lnTo>
                  <a:lnTo>
                    <a:pt x="10287" y="4881"/>
                  </a:lnTo>
                  <a:close/>
                  <a:moveTo>
                    <a:pt x="3071" y="2410"/>
                  </a:moveTo>
                  <a:lnTo>
                    <a:pt x="3079" y="2410"/>
                  </a:lnTo>
                  <a:lnTo>
                    <a:pt x="3079" y="2401"/>
                  </a:lnTo>
                  <a:lnTo>
                    <a:pt x="3097" y="2401"/>
                  </a:lnTo>
                  <a:lnTo>
                    <a:pt x="3106" y="2401"/>
                  </a:lnTo>
                  <a:lnTo>
                    <a:pt x="3115" y="2401"/>
                  </a:lnTo>
                  <a:lnTo>
                    <a:pt x="3124" y="2410"/>
                  </a:lnTo>
                  <a:lnTo>
                    <a:pt x="3124" y="2419"/>
                  </a:lnTo>
                  <a:lnTo>
                    <a:pt x="3132" y="2436"/>
                  </a:lnTo>
                  <a:lnTo>
                    <a:pt x="3132" y="2463"/>
                  </a:lnTo>
                  <a:lnTo>
                    <a:pt x="3141" y="2480"/>
                  </a:lnTo>
                  <a:lnTo>
                    <a:pt x="3141" y="2489"/>
                  </a:lnTo>
                  <a:lnTo>
                    <a:pt x="3150" y="2489"/>
                  </a:lnTo>
                  <a:lnTo>
                    <a:pt x="3159" y="2480"/>
                  </a:lnTo>
                  <a:lnTo>
                    <a:pt x="3168" y="2480"/>
                  </a:lnTo>
                  <a:lnTo>
                    <a:pt x="3168" y="2472"/>
                  </a:lnTo>
                  <a:lnTo>
                    <a:pt x="3176" y="2472"/>
                  </a:lnTo>
                  <a:lnTo>
                    <a:pt x="3185" y="2463"/>
                  </a:lnTo>
                  <a:lnTo>
                    <a:pt x="3194" y="2454"/>
                  </a:lnTo>
                  <a:lnTo>
                    <a:pt x="3194" y="2445"/>
                  </a:lnTo>
                  <a:lnTo>
                    <a:pt x="3194" y="2436"/>
                  </a:lnTo>
                  <a:lnTo>
                    <a:pt x="3194" y="2401"/>
                  </a:lnTo>
                  <a:lnTo>
                    <a:pt x="3194" y="2392"/>
                  </a:lnTo>
                  <a:lnTo>
                    <a:pt x="3194" y="2383"/>
                  </a:lnTo>
                  <a:lnTo>
                    <a:pt x="3203" y="2383"/>
                  </a:lnTo>
                  <a:lnTo>
                    <a:pt x="3203" y="2375"/>
                  </a:lnTo>
                  <a:lnTo>
                    <a:pt x="3212" y="2366"/>
                  </a:lnTo>
                  <a:lnTo>
                    <a:pt x="3212" y="2357"/>
                  </a:lnTo>
                  <a:lnTo>
                    <a:pt x="3221" y="2357"/>
                  </a:lnTo>
                  <a:lnTo>
                    <a:pt x="3221" y="2348"/>
                  </a:lnTo>
                  <a:lnTo>
                    <a:pt x="3229" y="2348"/>
                  </a:lnTo>
                  <a:lnTo>
                    <a:pt x="3221" y="2339"/>
                  </a:lnTo>
                  <a:lnTo>
                    <a:pt x="3229" y="2330"/>
                  </a:lnTo>
                  <a:lnTo>
                    <a:pt x="3221" y="2330"/>
                  </a:lnTo>
                  <a:lnTo>
                    <a:pt x="3221" y="2322"/>
                  </a:lnTo>
                  <a:lnTo>
                    <a:pt x="3221" y="2313"/>
                  </a:lnTo>
                  <a:lnTo>
                    <a:pt x="3212" y="2313"/>
                  </a:lnTo>
                  <a:lnTo>
                    <a:pt x="3212" y="2304"/>
                  </a:lnTo>
                  <a:lnTo>
                    <a:pt x="3203" y="2304"/>
                  </a:lnTo>
                  <a:lnTo>
                    <a:pt x="3203" y="2295"/>
                  </a:lnTo>
                  <a:lnTo>
                    <a:pt x="3194" y="2295"/>
                  </a:lnTo>
                  <a:lnTo>
                    <a:pt x="3194" y="2286"/>
                  </a:lnTo>
                  <a:lnTo>
                    <a:pt x="3203" y="2286"/>
                  </a:lnTo>
                  <a:lnTo>
                    <a:pt x="3212" y="2286"/>
                  </a:lnTo>
                  <a:lnTo>
                    <a:pt x="3221" y="2286"/>
                  </a:lnTo>
                  <a:lnTo>
                    <a:pt x="3221" y="2295"/>
                  </a:lnTo>
                  <a:lnTo>
                    <a:pt x="3221" y="2304"/>
                  </a:lnTo>
                  <a:lnTo>
                    <a:pt x="3229" y="2304"/>
                  </a:lnTo>
                  <a:lnTo>
                    <a:pt x="3229" y="2313"/>
                  </a:lnTo>
                  <a:lnTo>
                    <a:pt x="3238" y="2313"/>
                  </a:lnTo>
                  <a:lnTo>
                    <a:pt x="3238" y="2322"/>
                  </a:lnTo>
                  <a:lnTo>
                    <a:pt x="3247" y="2313"/>
                  </a:lnTo>
                  <a:lnTo>
                    <a:pt x="3247" y="2322"/>
                  </a:lnTo>
                  <a:lnTo>
                    <a:pt x="3247" y="2330"/>
                  </a:lnTo>
                  <a:lnTo>
                    <a:pt x="3238" y="2330"/>
                  </a:lnTo>
                  <a:lnTo>
                    <a:pt x="3247" y="2330"/>
                  </a:lnTo>
                  <a:lnTo>
                    <a:pt x="3256" y="2330"/>
                  </a:lnTo>
                  <a:lnTo>
                    <a:pt x="3256" y="2339"/>
                  </a:lnTo>
                  <a:lnTo>
                    <a:pt x="3247" y="2348"/>
                  </a:lnTo>
                  <a:lnTo>
                    <a:pt x="3256" y="2348"/>
                  </a:lnTo>
                  <a:lnTo>
                    <a:pt x="3256" y="2339"/>
                  </a:lnTo>
                  <a:lnTo>
                    <a:pt x="3265" y="2339"/>
                  </a:lnTo>
                  <a:lnTo>
                    <a:pt x="3274" y="2339"/>
                  </a:lnTo>
                  <a:lnTo>
                    <a:pt x="3274" y="2348"/>
                  </a:lnTo>
                  <a:lnTo>
                    <a:pt x="3282" y="2348"/>
                  </a:lnTo>
                  <a:lnTo>
                    <a:pt x="3300" y="2357"/>
                  </a:lnTo>
                  <a:lnTo>
                    <a:pt x="3309" y="2357"/>
                  </a:lnTo>
                  <a:lnTo>
                    <a:pt x="3318" y="2357"/>
                  </a:lnTo>
                  <a:lnTo>
                    <a:pt x="3318" y="2348"/>
                  </a:lnTo>
                  <a:lnTo>
                    <a:pt x="3318" y="2339"/>
                  </a:lnTo>
                  <a:lnTo>
                    <a:pt x="3309" y="2330"/>
                  </a:lnTo>
                  <a:lnTo>
                    <a:pt x="3318" y="2330"/>
                  </a:lnTo>
                  <a:lnTo>
                    <a:pt x="3318" y="2322"/>
                  </a:lnTo>
                  <a:lnTo>
                    <a:pt x="3326" y="2322"/>
                  </a:lnTo>
                  <a:lnTo>
                    <a:pt x="3326" y="2330"/>
                  </a:lnTo>
                  <a:lnTo>
                    <a:pt x="3335" y="2330"/>
                  </a:lnTo>
                  <a:lnTo>
                    <a:pt x="3344" y="2330"/>
                  </a:lnTo>
                  <a:lnTo>
                    <a:pt x="3344" y="2322"/>
                  </a:lnTo>
                  <a:lnTo>
                    <a:pt x="3335" y="2322"/>
                  </a:lnTo>
                  <a:lnTo>
                    <a:pt x="3335" y="2330"/>
                  </a:lnTo>
                  <a:lnTo>
                    <a:pt x="3335" y="2322"/>
                  </a:lnTo>
                  <a:lnTo>
                    <a:pt x="3326" y="2313"/>
                  </a:lnTo>
                  <a:lnTo>
                    <a:pt x="3318" y="2313"/>
                  </a:lnTo>
                  <a:lnTo>
                    <a:pt x="3318" y="2304"/>
                  </a:lnTo>
                  <a:lnTo>
                    <a:pt x="3309" y="2304"/>
                  </a:lnTo>
                  <a:lnTo>
                    <a:pt x="3318" y="2304"/>
                  </a:lnTo>
                  <a:lnTo>
                    <a:pt x="3318" y="2295"/>
                  </a:lnTo>
                  <a:lnTo>
                    <a:pt x="3309" y="2295"/>
                  </a:lnTo>
                  <a:lnTo>
                    <a:pt x="3309" y="2286"/>
                  </a:lnTo>
                  <a:lnTo>
                    <a:pt x="3318" y="2286"/>
                  </a:lnTo>
                  <a:lnTo>
                    <a:pt x="3318" y="2278"/>
                  </a:lnTo>
                  <a:lnTo>
                    <a:pt x="3309" y="2278"/>
                  </a:lnTo>
                  <a:lnTo>
                    <a:pt x="3300" y="2278"/>
                  </a:lnTo>
                  <a:lnTo>
                    <a:pt x="3291" y="2278"/>
                  </a:lnTo>
                  <a:lnTo>
                    <a:pt x="3291" y="2269"/>
                  </a:lnTo>
                  <a:lnTo>
                    <a:pt x="3291" y="2260"/>
                  </a:lnTo>
                  <a:lnTo>
                    <a:pt x="3282" y="2260"/>
                  </a:lnTo>
                  <a:lnTo>
                    <a:pt x="3282" y="2251"/>
                  </a:lnTo>
                  <a:lnTo>
                    <a:pt x="3274" y="2251"/>
                  </a:lnTo>
                  <a:lnTo>
                    <a:pt x="3274" y="2242"/>
                  </a:lnTo>
                  <a:lnTo>
                    <a:pt x="3265" y="2242"/>
                  </a:lnTo>
                  <a:lnTo>
                    <a:pt x="3265" y="2233"/>
                  </a:lnTo>
                  <a:lnTo>
                    <a:pt x="3265" y="2225"/>
                  </a:lnTo>
                  <a:lnTo>
                    <a:pt x="3256" y="2225"/>
                  </a:lnTo>
                  <a:lnTo>
                    <a:pt x="3247" y="2225"/>
                  </a:lnTo>
                  <a:lnTo>
                    <a:pt x="3238" y="2225"/>
                  </a:lnTo>
                  <a:lnTo>
                    <a:pt x="3229" y="2225"/>
                  </a:lnTo>
                  <a:lnTo>
                    <a:pt x="3238" y="2225"/>
                  </a:lnTo>
                  <a:lnTo>
                    <a:pt x="3229" y="2225"/>
                  </a:lnTo>
                  <a:lnTo>
                    <a:pt x="3229" y="2216"/>
                  </a:lnTo>
                  <a:lnTo>
                    <a:pt x="3229" y="2225"/>
                  </a:lnTo>
                  <a:lnTo>
                    <a:pt x="3221" y="2225"/>
                  </a:lnTo>
                  <a:lnTo>
                    <a:pt x="3212" y="2225"/>
                  </a:lnTo>
                  <a:lnTo>
                    <a:pt x="3203" y="2225"/>
                  </a:lnTo>
                  <a:lnTo>
                    <a:pt x="3203" y="2216"/>
                  </a:lnTo>
                  <a:lnTo>
                    <a:pt x="3194" y="2216"/>
                  </a:lnTo>
                  <a:lnTo>
                    <a:pt x="3203" y="2216"/>
                  </a:lnTo>
                  <a:lnTo>
                    <a:pt x="3203" y="2207"/>
                  </a:lnTo>
                  <a:lnTo>
                    <a:pt x="3194" y="2207"/>
                  </a:lnTo>
                  <a:lnTo>
                    <a:pt x="3194" y="2216"/>
                  </a:lnTo>
                  <a:lnTo>
                    <a:pt x="3185" y="2216"/>
                  </a:lnTo>
                  <a:lnTo>
                    <a:pt x="3185" y="2207"/>
                  </a:lnTo>
                  <a:lnTo>
                    <a:pt x="3168" y="2207"/>
                  </a:lnTo>
                  <a:lnTo>
                    <a:pt x="3159" y="2207"/>
                  </a:lnTo>
                  <a:lnTo>
                    <a:pt x="3150" y="2207"/>
                  </a:lnTo>
                  <a:lnTo>
                    <a:pt x="3132" y="2207"/>
                  </a:lnTo>
                  <a:lnTo>
                    <a:pt x="3124" y="2207"/>
                  </a:lnTo>
                  <a:lnTo>
                    <a:pt x="3124" y="2198"/>
                  </a:lnTo>
                  <a:lnTo>
                    <a:pt x="3106" y="2207"/>
                  </a:lnTo>
                  <a:lnTo>
                    <a:pt x="3097" y="2207"/>
                  </a:lnTo>
                  <a:lnTo>
                    <a:pt x="3062" y="2198"/>
                  </a:lnTo>
                  <a:lnTo>
                    <a:pt x="3053" y="2198"/>
                  </a:lnTo>
                  <a:lnTo>
                    <a:pt x="3035" y="2189"/>
                  </a:lnTo>
                  <a:lnTo>
                    <a:pt x="3026" y="2189"/>
                  </a:lnTo>
                  <a:lnTo>
                    <a:pt x="3018" y="2189"/>
                  </a:lnTo>
                  <a:lnTo>
                    <a:pt x="3018" y="2180"/>
                  </a:lnTo>
                  <a:lnTo>
                    <a:pt x="3018" y="2172"/>
                  </a:lnTo>
                  <a:lnTo>
                    <a:pt x="3009" y="2172"/>
                  </a:lnTo>
                  <a:lnTo>
                    <a:pt x="3000" y="2172"/>
                  </a:lnTo>
                  <a:lnTo>
                    <a:pt x="2991" y="2172"/>
                  </a:lnTo>
                  <a:lnTo>
                    <a:pt x="2991" y="2180"/>
                  </a:lnTo>
                  <a:lnTo>
                    <a:pt x="2982" y="2172"/>
                  </a:lnTo>
                  <a:lnTo>
                    <a:pt x="2982" y="2163"/>
                  </a:lnTo>
                  <a:lnTo>
                    <a:pt x="2991" y="2163"/>
                  </a:lnTo>
                  <a:lnTo>
                    <a:pt x="2991" y="2154"/>
                  </a:lnTo>
                  <a:lnTo>
                    <a:pt x="2982" y="2154"/>
                  </a:lnTo>
                  <a:lnTo>
                    <a:pt x="2982" y="2145"/>
                  </a:lnTo>
                  <a:lnTo>
                    <a:pt x="2991" y="2145"/>
                  </a:lnTo>
                  <a:lnTo>
                    <a:pt x="3000" y="2145"/>
                  </a:lnTo>
                  <a:lnTo>
                    <a:pt x="3000" y="2136"/>
                  </a:lnTo>
                  <a:lnTo>
                    <a:pt x="2991" y="2136"/>
                  </a:lnTo>
                  <a:lnTo>
                    <a:pt x="2982" y="2136"/>
                  </a:lnTo>
                  <a:lnTo>
                    <a:pt x="2974" y="2136"/>
                  </a:lnTo>
                  <a:lnTo>
                    <a:pt x="2974" y="2127"/>
                  </a:lnTo>
                  <a:lnTo>
                    <a:pt x="2965" y="2127"/>
                  </a:lnTo>
                  <a:lnTo>
                    <a:pt x="2974" y="2119"/>
                  </a:lnTo>
                  <a:lnTo>
                    <a:pt x="2974" y="2110"/>
                  </a:lnTo>
                  <a:lnTo>
                    <a:pt x="2982" y="2101"/>
                  </a:lnTo>
                  <a:lnTo>
                    <a:pt x="2974" y="2092"/>
                  </a:lnTo>
                  <a:lnTo>
                    <a:pt x="2965" y="2083"/>
                  </a:lnTo>
                  <a:lnTo>
                    <a:pt x="2956" y="2083"/>
                  </a:lnTo>
                  <a:lnTo>
                    <a:pt x="2956" y="2075"/>
                  </a:lnTo>
                  <a:lnTo>
                    <a:pt x="2947" y="2066"/>
                  </a:lnTo>
                  <a:lnTo>
                    <a:pt x="2956" y="2066"/>
                  </a:lnTo>
                  <a:lnTo>
                    <a:pt x="2956" y="2057"/>
                  </a:lnTo>
                  <a:lnTo>
                    <a:pt x="2956" y="2048"/>
                  </a:lnTo>
                  <a:lnTo>
                    <a:pt x="2965" y="2048"/>
                  </a:lnTo>
                  <a:lnTo>
                    <a:pt x="2965" y="2039"/>
                  </a:lnTo>
                  <a:lnTo>
                    <a:pt x="2956" y="2039"/>
                  </a:lnTo>
                  <a:lnTo>
                    <a:pt x="2938" y="2039"/>
                  </a:lnTo>
                  <a:lnTo>
                    <a:pt x="2929" y="2039"/>
                  </a:lnTo>
                  <a:lnTo>
                    <a:pt x="2921" y="2039"/>
                  </a:lnTo>
                  <a:lnTo>
                    <a:pt x="2903" y="2039"/>
                  </a:lnTo>
                  <a:lnTo>
                    <a:pt x="2894" y="2039"/>
                  </a:lnTo>
                  <a:lnTo>
                    <a:pt x="2885" y="2030"/>
                  </a:lnTo>
                  <a:lnTo>
                    <a:pt x="2877" y="2022"/>
                  </a:lnTo>
                  <a:lnTo>
                    <a:pt x="2868" y="2013"/>
                  </a:lnTo>
                  <a:lnTo>
                    <a:pt x="2868" y="2004"/>
                  </a:lnTo>
                  <a:lnTo>
                    <a:pt x="2868" y="1995"/>
                  </a:lnTo>
                  <a:lnTo>
                    <a:pt x="2859" y="1995"/>
                  </a:lnTo>
                  <a:lnTo>
                    <a:pt x="2859" y="1986"/>
                  </a:lnTo>
                  <a:lnTo>
                    <a:pt x="2859" y="1977"/>
                  </a:lnTo>
                  <a:lnTo>
                    <a:pt x="2850" y="1977"/>
                  </a:lnTo>
                  <a:lnTo>
                    <a:pt x="2850" y="1969"/>
                  </a:lnTo>
                  <a:lnTo>
                    <a:pt x="2841" y="1960"/>
                  </a:lnTo>
                  <a:lnTo>
                    <a:pt x="2832" y="1969"/>
                  </a:lnTo>
                  <a:lnTo>
                    <a:pt x="2832" y="1960"/>
                  </a:lnTo>
                  <a:lnTo>
                    <a:pt x="2824" y="1960"/>
                  </a:lnTo>
                  <a:lnTo>
                    <a:pt x="2815" y="1960"/>
                  </a:lnTo>
                  <a:lnTo>
                    <a:pt x="2806" y="1960"/>
                  </a:lnTo>
                  <a:lnTo>
                    <a:pt x="2797" y="1960"/>
                  </a:lnTo>
                  <a:lnTo>
                    <a:pt x="2788" y="1960"/>
                  </a:lnTo>
                  <a:lnTo>
                    <a:pt x="2779" y="1960"/>
                  </a:lnTo>
                  <a:lnTo>
                    <a:pt x="2771" y="1960"/>
                  </a:lnTo>
                  <a:lnTo>
                    <a:pt x="2762" y="1960"/>
                  </a:lnTo>
                  <a:lnTo>
                    <a:pt x="2762" y="1951"/>
                  </a:lnTo>
                  <a:lnTo>
                    <a:pt x="2753" y="1951"/>
                  </a:lnTo>
                  <a:lnTo>
                    <a:pt x="2744" y="1951"/>
                  </a:lnTo>
                  <a:lnTo>
                    <a:pt x="2735" y="1942"/>
                  </a:lnTo>
                  <a:lnTo>
                    <a:pt x="2727" y="1942"/>
                  </a:lnTo>
                  <a:lnTo>
                    <a:pt x="2718" y="1942"/>
                  </a:lnTo>
                  <a:lnTo>
                    <a:pt x="2709" y="1942"/>
                  </a:lnTo>
                  <a:lnTo>
                    <a:pt x="2709" y="1951"/>
                  </a:lnTo>
                  <a:lnTo>
                    <a:pt x="2718" y="1951"/>
                  </a:lnTo>
                  <a:lnTo>
                    <a:pt x="2718" y="1960"/>
                  </a:lnTo>
                  <a:lnTo>
                    <a:pt x="2727" y="1960"/>
                  </a:lnTo>
                  <a:lnTo>
                    <a:pt x="2727" y="1969"/>
                  </a:lnTo>
                  <a:lnTo>
                    <a:pt x="2718" y="1969"/>
                  </a:lnTo>
                  <a:lnTo>
                    <a:pt x="2718" y="1977"/>
                  </a:lnTo>
                  <a:lnTo>
                    <a:pt x="2709" y="1977"/>
                  </a:lnTo>
                  <a:lnTo>
                    <a:pt x="2700" y="1986"/>
                  </a:lnTo>
                  <a:lnTo>
                    <a:pt x="2691" y="1986"/>
                  </a:lnTo>
                  <a:lnTo>
                    <a:pt x="2691" y="1995"/>
                  </a:lnTo>
                  <a:lnTo>
                    <a:pt x="2691" y="1986"/>
                  </a:lnTo>
                  <a:lnTo>
                    <a:pt x="2700" y="1977"/>
                  </a:lnTo>
                  <a:lnTo>
                    <a:pt x="2709" y="1969"/>
                  </a:lnTo>
                  <a:lnTo>
                    <a:pt x="2709" y="1960"/>
                  </a:lnTo>
                  <a:lnTo>
                    <a:pt x="2700" y="1960"/>
                  </a:lnTo>
                  <a:lnTo>
                    <a:pt x="2691" y="1960"/>
                  </a:lnTo>
                  <a:lnTo>
                    <a:pt x="2691" y="1969"/>
                  </a:lnTo>
                  <a:lnTo>
                    <a:pt x="2691" y="1977"/>
                  </a:lnTo>
                  <a:lnTo>
                    <a:pt x="2682" y="1977"/>
                  </a:lnTo>
                  <a:lnTo>
                    <a:pt x="2682" y="1986"/>
                  </a:lnTo>
                  <a:lnTo>
                    <a:pt x="2682" y="1995"/>
                  </a:lnTo>
                  <a:lnTo>
                    <a:pt x="2674" y="1995"/>
                  </a:lnTo>
                  <a:lnTo>
                    <a:pt x="2674" y="2004"/>
                  </a:lnTo>
                  <a:lnTo>
                    <a:pt x="2665" y="2004"/>
                  </a:lnTo>
                  <a:lnTo>
                    <a:pt x="2674" y="1986"/>
                  </a:lnTo>
                  <a:lnTo>
                    <a:pt x="2674" y="1977"/>
                  </a:lnTo>
                  <a:lnTo>
                    <a:pt x="2647" y="1986"/>
                  </a:lnTo>
                  <a:lnTo>
                    <a:pt x="2638" y="1995"/>
                  </a:lnTo>
                  <a:lnTo>
                    <a:pt x="2638" y="2004"/>
                  </a:lnTo>
                  <a:lnTo>
                    <a:pt x="2638" y="2013"/>
                  </a:lnTo>
                  <a:lnTo>
                    <a:pt x="2638" y="2022"/>
                  </a:lnTo>
                  <a:lnTo>
                    <a:pt x="2629" y="2022"/>
                  </a:lnTo>
                  <a:lnTo>
                    <a:pt x="2629" y="2030"/>
                  </a:lnTo>
                  <a:lnTo>
                    <a:pt x="2621" y="2030"/>
                  </a:lnTo>
                  <a:lnTo>
                    <a:pt x="2612" y="2039"/>
                  </a:lnTo>
                  <a:lnTo>
                    <a:pt x="2603" y="2039"/>
                  </a:lnTo>
                  <a:lnTo>
                    <a:pt x="2594" y="2048"/>
                  </a:lnTo>
                  <a:lnTo>
                    <a:pt x="2585" y="2048"/>
                  </a:lnTo>
                  <a:lnTo>
                    <a:pt x="2568" y="2057"/>
                  </a:lnTo>
                  <a:lnTo>
                    <a:pt x="2541" y="2066"/>
                  </a:lnTo>
                  <a:lnTo>
                    <a:pt x="2524" y="2075"/>
                  </a:lnTo>
                  <a:lnTo>
                    <a:pt x="2515" y="2083"/>
                  </a:lnTo>
                  <a:lnTo>
                    <a:pt x="2479" y="2110"/>
                  </a:lnTo>
                  <a:lnTo>
                    <a:pt x="2462" y="2127"/>
                  </a:lnTo>
                  <a:lnTo>
                    <a:pt x="2435" y="2145"/>
                  </a:lnTo>
                  <a:lnTo>
                    <a:pt x="2427" y="2145"/>
                  </a:lnTo>
                  <a:lnTo>
                    <a:pt x="2427" y="2154"/>
                  </a:lnTo>
                  <a:lnTo>
                    <a:pt x="2435" y="2154"/>
                  </a:lnTo>
                  <a:lnTo>
                    <a:pt x="2444" y="2154"/>
                  </a:lnTo>
                  <a:lnTo>
                    <a:pt x="2453" y="2154"/>
                  </a:lnTo>
                  <a:lnTo>
                    <a:pt x="2471" y="2154"/>
                  </a:lnTo>
                  <a:lnTo>
                    <a:pt x="2488" y="2145"/>
                  </a:lnTo>
                  <a:lnTo>
                    <a:pt x="2497" y="2136"/>
                  </a:lnTo>
                  <a:lnTo>
                    <a:pt x="2497" y="2145"/>
                  </a:lnTo>
                  <a:lnTo>
                    <a:pt x="2515" y="2136"/>
                  </a:lnTo>
                  <a:lnTo>
                    <a:pt x="2524" y="2136"/>
                  </a:lnTo>
                  <a:lnTo>
                    <a:pt x="2524" y="2145"/>
                  </a:lnTo>
                  <a:lnTo>
                    <a:pt x="2524" y="2154"/>
                  </a:lnTo>
                  <a:lnTo>
                    <a:pt x="2515" y="2163"/>
                  </a:lnTo>
                  <a:lnTo>
                    <a:pt x="2524" y="2163"/>
                  </a:lnTo>
                  <a:lnTo>
                    <a:pt x="2532" y="2163"/>
                  </a:lnTo>
                  <a:lnTo>
                    <a:pt x="2532" y="2154"/>
                  </a:lnTo>
                  <a:lnTo>
                    <a:pt x="2541" y="2163"/>
                  </a:lnTo>
                  <a:lnTo>
                    <a:pt x="2550" y="2172"/>
                  </a:lnTo>
                  <a:lnTo>
                    <a:pt x="2559" y="2163"/>
                  </a:lnTo>
                  <a:lnTo>
                    <a:pt x="2577" y="2163"/>
                  </a:lnTo>
                  <a:lnTo>
                    <a:pt x="2585" y="2154"/>
                  </a:lnTo>
                  <a:lnTo>
                    <a:pt x="2594" y="2145"/>
                  </a:lnTo>
                  <a:lnTo>
                    <a:pt x="2603" y="2145"/>
                  </a:lnTo>
                  <a:lnTo>
                    <a:pt x="2621" y="2145"/>
                  </a:lnTo>
                  <a:lnTo>
                    <a:pt x="2629" y="2136"/>
                  </a:lnTo>
                  <a:lnTo>
                    <a:pt x="2638" y="2136"/>
                  </a:lnTo>
                  <a:lnTo>
                    <a:pt x="2647" y="2127"/>
                  </a:lnTo>
                  <a:lnTo>
                    <a:pt x="2656" y="2127"/>
                  </a:lnTo>
                  <a:lnTo>
                    <a:pt x="2665" y="2127"/>
                  </a:lnTo>
                  <a:lnTo>
                    <a:pt x="2665" y="2119"/>
                  </a:lnTo>
                  <a:lnTo>
                    <a:pt x="2674" y="2119"/>
                  </a:lnTo>
                  <a:lnTo>
                    <a:pt x="2682" y="2110"/>
                  </a:lnTo>
                  <a:lnTo>
                    <a:pt x="2682" y="2119"/>
                  </a:lnTo>
                  <a:lnTo>
                    <a:pt x="2691" y="2119"/>
                  </a:lnTo>
                  <a:lnTo>
                    <a:pt x="2691" y="2127"/>
                  </a:lnTo>
                  <a:lnTo>
                    <a:pt x="2700" y="2127"/>
                  </a:lnTo>
                  <a:lnTo>
                    <a:pt x="2700" y="2136"/>
                  </a:lnTo>
                  <a:lnTo>
                    <a:pt x="2700" y="2145"/>
                  </a:lnTo>
                  <a:lnTo>
                    <a:pt x="2718" y="2136"/>
                  </a:lnTo>
                  <a:lnTo>
                    <a:pt x="2744" y="2136"/>
                  </a:lnTo>
                  <a:lnTo>
                    <a:pt x="2753" y="2145"/>
                  </a:lnTo>
                  <a:lnTo>
                    <a:pt x="2762" y="2145"/>
                  </a:lnTo>
                  <a:lnTo>
                    <a:pt x="2771" y="2163"/>
                  </a:lnTo>
                  <a:lnTo>
                    <a:pt x="2779" y="2163"/>
                  </a:lnTo>
                  <a:lnTo>
                    <a:pt x="2779" y="2172"/>
                  </a:lnTo>
                  <a:lnTo>
                    <a:pt x="2788" y="2172"/>
                  </a:lnTo>
                  <a:lnTo>
                    <a:pt x="2797" y="2172"/>
                  </a:lnTo>
                  <a:lnTo>
                    <a:pt x="2806" y="2172"/>
                  </a:lnTo>
                  <a:lnTo>
                    <a:pt x="2815" y="2180"/>
                  </a:lnTo>
                  <a:lnTo>
                    <a:pt x="2824" y="2180"/>
                  </a:lnTo>
                  <a:lnTo>
                    <a:pt x="2832" y="2180"/>
                  </a:lnTo>
                  <a:lnTo>
                    <a:pt x="2841" y="2172"/>
                  </a:lnTo>
                  <a:lnTo>
                    <a:pt x="2850" y="2172"/>
                  </a:lnTo>
                  <a:lnTo>
                    <a:pt x="2859" y="2163"/>
                  </a:lnTo>
                  <a:lnTo>
                    <a:pt x="2868" y="2154"/>
                  </a:lnTo>
                  <a:lnTo>
                    <a:pt x="2868" y="2163"/>
                  </a:lnTo>
                  <a:lnTo>
                    <a:pt x="2885" y="2154"/>
                  </a:lnTo>
                  <a:lnTo>
                    <a:pt x="2894" y="2154"/>
                  </a:lnTo>
                  <a:lnTo>
                    <a:pt x="2903" y="2154"/>
                  </a:lnTo>
                  <a:lnTo>
                    <a:pt x="2921" y="2154"/>
                  </a:lnTo>
                  <a:lnTo>
                    <a:pt x="2929" y="2154"/>
                  </a:lnTo>
                  <a:lnTo>
                    <a:pt x="2938" y="2154"/>
                  </a:lnTo>
                  <a:lnTo>
                    <a:pt x="2947" y="2145"/>
                  </a:lnTo>
                  <a:lnTo>
                    <a:pt x="2956" y="2154"/>
                  </a:lnTo>
                  <a:lnTo>
                    <a:pt x="2947" y="2154"/>
                  </a:lnTo>
                  <a:lnTo>
                    <a:pt x="2947" y="2163"/>
                  </a:lnTo>
                  <a:lnTo>
                    <a:pt x="2947" y="2172"/>
                  </a:lnTo>
                  <a:lnTo>
                    <a:pt x="2956" y="2172"/>
                  </a:lnTo>
                  <a:lnTo>
                    <a:pt x="2965" y="2180"/>
                  </a:lnTo>
                  <a:lnTo>
                    <a:pt x="2974" y="2180"/>
                  </a:lnTo>
                  <a:lnTo>
                    <a:pt x="2982" y="2180"/>
                  </a:lnTo>
                  <a:lnTo>
                    <a:pt x="2991" y="2180"/>
                  </a:lnTo>
                  <a:lnTo>
                    <a:pt x="3000" y="2172"/>
                  </a:lnTo>
                  <a:lnTo>
                    <a:pt x="3000" y="2180"/>
                  </a:lnTo>
                  <a:lnTo>
                    <a:pt x="3009" y="2180"/>
                  </a:lnTo>
                  <a:lnTo>
                    <a:pt x="3009" y="2189"/>
                  </a:lnTo>
                  <a:lnTo>
                    <a:pt x="3009" y="2198"/>
                  </a:lnTo>
                  <a:lnTo>
                    <a:pt x="3009" y="2207"/>
                  </a:lnTo>
                  <a:lnTo>
                    <a:pt x="3018" y="2207"/>
                  </a:lnTo>
                  <a:lnTo>
                    <a:pt x="3026" y="2207"/>
                  </a:lnTo>
                  <a:lnTo>
                    <a:pt x="3018" y="2207"/>
                  </a:lnTo>
                  <a:lnTo>
                    <a:pt x="3018" y="2216"/>
                  </a:lnTo>
                  <a:lnTo>
                    <a:pt x="3026" y="2216"/>
                  </a:lnTo>
                  <a:lnTo>
                    <a:pt x="3035" y="2216"/>
                  </a:lnTo>
                  <a:lnTo>
                    <a:pt x="3035" y="2225"/>
                  </a:lnTo>
                  <a:lnTo>
                    <a:pt x="3026" y="2225"/>
                  </a:lnTo>
                  <a:lnTo>
                    <a:pt x="3000" y="2225"/>
                  </a:lnTo>
                  <a:lnTo>
                    <a:pt x="2991" y="2225"/>
                  </a:lnTo>
                  <a:lnTo>
                    <a:pt x="2982" y="2225"/>
                  </a:lnTo>
                  <a:lnTo>
                    <a:pt x="2982" y="2216"/>
                  </a:lnTo>
                  <a:lnTo>
                    <a:pt x="2974" y="2216"/>
                  </a:lnTo>
                  <a:lnTo>
                    <a:pt x="2974" y="2225"/>
                  </a:lnTo>
                  <a:lnTo>
                    <a:pt x="2974" y="2233"/>
                  </a:lnTo>
                  <a:lnTo>
                    <a:pt x="2965" y="2233"/>
                  </a:lnTo>
                  <a:lnTo>
                    <a:pt x="2956" y="2225"/>
                  </a:lnTo>
                  <a:lnTo>
                    <a:pt x="2947" y="2216"/>
                  </a:lnTo>
                  <a:lnTo>
                    <a:pt x="2929" y="2216"/>
                  </a:lnTo>
                  <a:lnTo>
                    <a:pt x="2921" y="2207"/>
                  </a:lnTo>
                  <a:lnTo>
                    <a:pt x="2921" y="2216"/>
                  </a:lnTo>
                  <a:lnTo>
                    <a:pt x="2912" y="2216"/>
                  </a:lnTo>
                  <a:lnTo>
                    <a:pt x="2903" y="2216"/>
                  </a:lnTo>
                  <a:lnTo>
                    <a:pt x="2903" y="2225"/>
                  </a:lnTo>
                  <a:lnTo>
                    <a:pt x="2894" y="2225"/>
                  </a:lnTo>
                  <a:lnTo>
                    <a:pt x="2885" y="2225"/>
                  </a:lnTo>
                  <a:lnTo>
                    <a:pt x="2877" y="2225"/>
                  </a:lnTo>
                  <a:lnTo>
                    <a:pt x="2868" y="2225"/>
                  </a:lnTo>
                  <a:lnTo>
                    <a:pt x="2859" y="2225"/>
                  </a:lnTo>
                  <a:lnTo>
                    <a:pt x="2850" y="2233"/>
                  </a:lnTo>
                  <a:lnTo>
                    <a:pt x="2850" y="2242"/>
                  </a:lnTo>
                  <a:lnTo>
                    <a:pt x="2841" y="2242"/>
                  </a:lnTo>
                  <a:lnTo>
                    <a:pt x="2832" y="2251"/>
                  </a:lnTo>
                  <a:lnTo>
                    <a:pt x="2832" y="2260"/>
                  </a:lnTo>
                  <a:lnTo>
                    <a:pt x="2824" y="2251"/>
                  </a:lnTo>
                  <a:lnTo>
                    <a:pt x="2832" y="2242"/>
                  </a:lnTo>
                  <a:lnTo>
                    <a:pt x="2841" y="2242"/>
                  </a:lnTo>
                  <a:lnTo>
                    <a:pt x="2841" y="2233"/>
                  </a:lnTo>
                  <a:lnTo>
                    <a:pt x="2832" y="2233"/>
                  </a:lnTo>
                  <a:lnTo>
                    <a:pt x="2824" y="2233"/>
                  </a:lnTo>
                  <a:lnTo>
                    <a:pt x="2815" y="2242"/>
                  </a:lnTo>
                  <a:lnTo>
                    <a:pt x="2815" y="2251"/>
                  </a:lnTo>
                  <a:lnTo>
                    <a:pt x="2806" y="2251"/>
                  </a:lnTo>
                  <a:lnTo>
                    <a:pt x="2806" y="2242"/>
                  </a:lnTo>
                  <a:lnTo>
                    <a:pt x="2806" y="2233"/>
                  </a:lnTo>
                  <a:lnTo>
                    <a:pt x="2806" y="2225"/>
                  </a:lnTo>
                  <a:lnTo>
                    <a:pt x="2806" y="2233"/>
                  </a:lnTo>
                  <a:lnTo>
                    <a:pt x="2797" y="2242"/>
                  </a:lnTo>
                  <a:lnTo>
                    <a:pt x="2797" y="2251"/>
                  </a:lnTo>
                  <a:lnTo>
                    <a:pt x="2788" y="2260"/>
                  </a:lnTo>
                  <a:lnTo>
                    <a:pt x="2779" y="2269"/>
                  </a:lnTo>
                  <a:lnTo>
                    <a:pt x="2779" y="2278"/>
                  </a:lnTo>
                  <a:lnTo>
                    <a:pt x="2771" y="2286"/>
                  </a:lnTo>
                  <a:lnTo>
                    <a:pt x="2762" y="2295"/>
                  </a:lnTo>
                  <a:lnTo>
                    <a:pt x="2762" y="2304"/>
                  </a:lnTo>
                  <a:lnTo>
                    <a:pt x="2762" y="2313"/>
                  </a:lnTo>
                  <a:lnTo>
                    <a:pt x="2753" y="2313"/>
                  </a:lnTo>
                  <a:lnTo>
                    <a:pt x="2744" y="2322"/>
                  </a:lnTo>
                  <a:lnTo>
                    <a:pt x="2735" y="2330"/>
                  </a:lnTo>
                  <a:lnTo>
                    <a:pt x="2735" y="2339"/>
                  </a:lnTo>
                  <a:lnTo>
                    <a:pt x="2727" y="2348"/>
                  </a:lnTo>
                  <a:lnTo>
                    <a:pt x="2735" y="2357"/>
                  </a:lnTo>
                  <a:lnTo>
                    <a:pt x="2735" y="2348"/>
                  </a:lnTo>
                  <a:lnTo>
                    <a:pt x="2744" y="2348"/>
                  </a:lnTo>
                  <a:lnTo>
                    <a:pt x="2753" y="2339"/>
                  </a:lnTo>
                  <a:lnTo>
                    <a:pt x="2753" y="2330"/>
                  </a:lnTo>
                  <a:lnTo>
                    <a:pt x="2762" y="2330"/>
                  </a:lnTo>
                  <a:lnTo>
                    <a:pt x="2762" y="2322"/>
                  </a:lnTo>
                  <a:lnTo>
                    <a:pt x="2762" y="2330"/>
                  </a:lnTo>
                  <a:lnTo>
                    <a:pt x="2771" y="2322"/>
                  </a:lnTo>
                  <a:lnTo>
                    <a:pt x="2779" y="2330"/>
                  </a:lnTo>
                  <a:lnTo>
                    <a:pt x="2779" y="2339"/>
                  </a:lnTo>
                  <a:lnTo>
                    <a:pt x="2771" y="2348"/>
                  </a:lnTo>
                  <a:lnTo>
                    <a:pt x="2771" y="2357"/>
                  </a:lnTo>
                  <a:lnTo>
                    <a:pt x="2762" y="2366"/>
                  </a:lnTo>
                  <a:lnTo>
                    <a:pt x="2762" y="2375"/>
                  </a:lnTo>
                  <a:lnTo>
                    <a:pt x="2771" y="2383"/>
                  </a:lnTo>
                  <a:lnTo>
                    <a:pt x="2762" y="2383"/>
                  </a:lnTo>
                  <a:lnTo>
                    <a:pt x="2762" y="2392"/>
                  </a:lnTo>
                  <a:lnTo>
                    <a:pt x="2753" y="2401"/>
                  </a:lnTo>
                  <a:lnTo>
                    <a:pt x="2753" y="2410"/>
                  </a:lnTo>
                  <a:lnTo>
                    <a:pt x="2753" y="2419"/>
                  </a:lnTo>
                  <a:lnTo>
                    <a:pt x="2753" y="2428"/>
                  </a:lnTo>
                  <a:lnTo>
                    <a:pt x="2744" y="2436"/>
                  </a:lnTo>
                  <a:lnTo>
                    <a:pt x="2744" y="2445"/>
                  </a:lnTo>
                  <a:lnTo>
                    <a:pt x="2744" y="2454"/>
                  </a:lnTo>
                  <a:lnTo>
                    <a:pt x="2735" y="2463"/>
                  </a:lnTo>
                  <a:lnTo>
                    <a:pt x="2735" y="2472"/>
                  </a:lnTo>
                  <a:lnTo>
                    <a:pt x="2735" y="2480"/>
                  </a:lnTo>
                  <a:lnTo>
                    <a:pt x="2744" y="2480"/>
                  </a:lnTo>
                  <a:lnTo>
                    <a:pt x="2744" y="2489"/>
                  </a:lnTo>
                  <a:lnTo>
                    <a:pt x="2735" y="2489"/>
                  </a:lnTo>
                  <a:lnTo>
                    <a:pt x="2744" y="2489"/>
                  </a:lnTo>
                  <a:lnTo>
                    <a:pt x="2744" y="2498"/>
                  </a:lnTo>
                  <a:lnTo>
                    <a:pt x="2744" y="2507"/>
                  </a:lnTo>
                  <a:lnTo>
                    <a:pt x="2744" y="2516"/>
                  </a:lnTo>
                  <a:lnTo>
                    <a:pt x="2744" y="2525"/>
                  </a:lnTo>
                  <a:lnTo>
                    <a:pt x="2744" y="2533"/>
                  </a:lnTo>
                  <a:lnTo>
                    <a:pt x="2744" y="2551"/>
                  </a:lnTo>
                  <a:lnTo>
                    <a:pt x="2744" y="2560"/>
                  </a:lnTo>
                  <a:lnTo>
                    <a:pt x="2744" y="2569"/>
                  </a:lnTo>
                  <a:lnTo>
                    <a:pt x="2753" y="2569"/>
                  </a:lnTo>
                  <a:lnTo>
                    <a:pt x="2753" y="2578"/>
                  </a:lnTo>
                  <a:lnTo>
                    <a:pt x="2762" y="2595"/>
                  </a:lnTo>
                  <a:lnTo>
                    <a:pt x="2762" y="2604"/>
                  </a:lnTo>
                  <a:lnTo>
                    <a:pt x="2771" y="2604"/>
                  </a:lnTo>
                  <a:lnTo>
                    <a:pt x="2771" y="2613"/>
                  </a:lnTo>
                  <a:lnTo>
                    <a:pt x="2779" y="2613"/>
                  </a:lnTo>
                  <a:lnTo>
                    <a:pt x="2788" y="2613"/>
                  </a:lnTo>
                  <a:lnTo>
                    <a:pt x="2797" y="2613"/>
                  </a:lnTo>
                  <a:lnTo>
                    <a:pt x="2824" y="2595"/>
                  </a:lnTo>
                  <a:lnTo>
                    <a:pt x="2832" y="2586"/>
                  </a:lnTo>
                  <a:lnTo>
                    <a:pt x="2832" y="2578"/>
                  </a:lnTo>
                  <a:lnTo>
                    <a:pt x="2841" y="2578"/>
                  </a:lnTo>
                  <a:lnTo>
                    <a:pt x="2850" y="2560"/>
                  </a:lnTo>
                  <a:lnTo>
                    <a:pt x="2850" y="2551"/>
                  </a:lnTo>
                  <a:lnTo>
                    <a:pt x="2859" y="2542"/>
                  </a:lnTo>
                  <a:lnTo>
                    <a:pt x="2859" y="2533"/>
                  </a:lnTo>
                  <a:lnTo>
                    <a:pt x="2859" y="2525"/>
                  </a:lnTo>
                  <a:lnTo>
                    <a:pt x="2859" y="2516"/>
                  </a:lnTo>
                  <a:lnTo>
                    <a:pt x="2859" y="2498"/>
                  </a:lnTo>
                  <a:lnTo>
                    <a:pt x="2859" y="2489"/>
                  </a:lnTo>
                  <a:lnTo>
                    <a:pt x="2859" y="2480"/>
                  </a:lnTo>
                  <a:lnTo>
                    <a:pt x="2850" y="2472"/>
                  </a:lnTo>
                  <a:lnTo>
                    <a:pt x="2850" y="2454"/>
                  </a:lnTo>
                  <a:lnTo>
                    <a:pt x="2841" y="2436"/>
                  </a:lnTo>
                  <a:lnTo>
                    <a:pt x="2841" y="2419"/>
                  </a:lnTo>
                  <a:lnTo>
                    <a:pt x="2850" y="2419"/>
                  </a:lnTo>
                  <a:lnTo>
                    <a:pt x="2841" y="2410"/>
                  </a:lnTo>
                  <a:lnTo>
                    <a:pt x="2841" y="2401"/>
                  </a:lnTo>
                  <a:lnTo>
                    <a:pt x="2841" y="2392"/>
                  </a:lnTo>
                  <a:lnTo>
                    <a:pt x="2850" y="2383"/>
                  </a:lnTo>
                  <a:lnTo>
                    <a:pt x="2859" y="2375"/>
                  </a:lnTo>
                  <a:lnTo>
                    <a:pt x="2859" y="2366"/>
                  </a:lnTo>
                  <a:lnTo>
                    <a:pt x="2859" y="2357"/>
                  </a:lnTo>
                  <a:lnTo>
                    <a:pt x="2859" y="2348"/>
                  </a:lnTo>
                  <a:lnTo>
                    <a:pt x="2859" y="2339"/>
                  </a:lnTo>
                  <a:lnTo>
                    <a:pt x="2868" y="2339"/>
                  </a:lnTo>
                  <a:lnTo>
                    <a:pt x="2868" y="2330"/>
                  </a:lnTo>
                  <a:lnTo>
                    <a:pt x="2868" y="2322"/>
                  </a:lnTo>
                  <a:lnTo>
                    <a:pt x="2877" y="2322"/>
                  </a:lnTo>
                  <a:lnTo>
                    <a:pt x="2885" y="2313"/>
                  </a:lnTo>
                  <a:lnTo>
                    <a:pt x="2894" y="2313"/>
                  </a:lnTo>
                  <a:lnTo>
                    <a:pt x="2903" y="2304"/>
                  </a:lnTo>
                  <a:lnTo>
                    <a:pt x="2903" y="2295"/>
                  </a:lnTo>
                  <a:lnTo>
                    <a:pt x="2912" y="2295"/>
                  </a:lnTo>
                  <a:lnTo>
                    <a:pt x="2912" y="2304"/>
                  </a:lnTo>
                  <a:lnTo>
                    <a:pt x="2912" y="2313"/>
                  </a:lnTo>
                  <a:lnTo>
                    <a:pt x="2903" y="2313"/>
                  </a:lnTo>
                  <a:lnTo>
                    <a:pt x="2903" y="2322"/>
                  </a:lnTo>
                  <a:lnTo>
                    <a:pt x="2903" y="2330"/>
                  </a:lnTo>
                  <a:lnTo>
                    <a:pt x="2912" y="2330"/>
                  </a:lnTo>
                  <a:lnTo>
                    <a:pt x="2912" y="2322"/>
                  </a:lnTo>
                  <a:lnTo>
                    <a:pt x="2912" y="2313"/>
                  </a:lnTo>
                  <a:lnTo>
                    <a:pt x="2912" y="2322"/>
                  </a:lnTo>
                  <a:lnTo>
                    <a:pt x="2912" y="2330"/>
                  </a:lnTo>
                  <a:lnTo>
                    <a:pt x="2921" y="2313"/>
                  </a:lnTo>
                  <a:lnTo>
                    <a:pt x="2921" y="2304"/>
                  </a:lnTo>
                  <a:lnTo>
                    <a:pt x="2921" y="2295"/>
                  </a:lnTo>
                  <a:lnTo>
                    <a:pt x="2921" y="2286"/>
                  </a:lnTo>
                  <a:lnTo>
                    <a:pt x="2929" y="2286"/>
                  </a:lnTo>
                  <a:lnTo>
                    <a:pt x="2938" y="2278"/>
                  </a:lnTo>
                  <a:lnTo>
                    <a:pt x="2947" y="2278"/>
                  </a:lnTo>
                  <a:lnTo>
                    <a:pt x="2956" y="2278"/>
                  </a:lnTo>
                  <a:lnTo>
                    <a:pt x="2947" y="2269"/>
                  </a:lnTo>
                  <a:lnTo>
                    <a:pt x="2947" y="2260"/>
                  </a:lnTo>
                  <a:lnTo>
                    <a:pt x="2947" y="2251"/>
                  </a:lnTo>
                  <a:lnTo>
                    <a:pt x="2956" y="2251"/>
                  </a:lnTo>
                  <a:lnTo>
                    <a:pt x="2956" y="2242"/>
                  </a:lnTo>
                  <a:lnTo>
                    <a:pt x="2965" y="2242"/>
                  </a:lnTo>
                  <a:lnTo>
                    <a:pt x="2974" y="2242"/>
                  </a:lnTo>
                  <a:lnTo>
                    <a:pt x="2982" y="2251"/>
                  </a:lnTo>
                  <a:lnTo>
                    <a:pt x="2991" y="2251"/>
                  </a:lnTo>
                  <a:lnTo>
                    <a:pt x="3000" y="2251"/>
                  </a:lnTo>
                  <a:lnTo>
                    <a:pt x="3009" y="2251"/>
                  </a:lnTo>
                  <a:lnTo>
                    <a:pt x="3009" y="2260"/>
                  </a:lnTo>
                  <a:lnTo>
                    <a:pt x="3018" y="2260"/>
                  </a:lnTo>
                  <a:lnTo>
                    <a:pt x="3018" y="2269"/>
                  </a:lnTo>
                  <a:lnTo>
                    <a:pt x="3026" y="2269"/>
                  </a:lnTo>
                  <a:lnTo>
                    <a:pt x="3035" y="2269"/>
                  </a:lnTo>
                  <a:lnTo>
                    <a:pt x="3053" y="2278"/>
                  </a:lnTo>
                  <a:lnTo>
                    <a:pt x="3062" y="2278"/>
                  </a:lnTo>
                  <a:lnTo>
                    <a:pt x="3071" y="2286"/>
                  </a:lnTo>
                  <a:lnTo>
                    <a:pt x="3071" y="2295"/>
                  </a:lnTo>
                  <a:lnTo>
                    <a:pt x="3071" y="2304"/>
                  </a:lnTo>
                  <a:lnTo>
                    <a:pt x="3079" y="2304"/>
                  </a:lnTo>
                  <a:lnTo>
                    <a:pt x="3079" y="2313"/>
                  </a:lnTo>
                  <a:lnTo>
                    <a:pt x="3071" y="2304"/>
                  </a:lnTo>
                  <a:lnTo>
                    <a:pt x="3062" y="2313"/>
                  </a:lnTo>
                  <a:lnTo>
                    <a:pt x="3071" y="2313"/>
                  </a:lnTo>
                  <a:lnTo>
                    <a:pt x="3071" y="2322"/>
                  </a:lnTo>
                  <a:lnTo>
                    <a:pt x="3079" y="2330"/>
                  </a:lnTo>
                  <a:lnTo>
                    <a:pt x="3079" y="2339"/>
                  </a:lnTo>
                  <a:lnTo>
                    <a:pt x="3079" y="2348"/>
                  </a:lnTo>
                  <a:lnTo>
                    <a:pt x="3079" y="2357"/>
                  </a:lnTo>
                  <a:lnTo>
                    <a:pt x="3071" y="2366"/>
                  </a:lnTo>
                  <a:lnTo>
                    <a:pt x="3071" y="2375"/>
                  </a:lnTo>
                  <a:lnTo>
                    <a:pt x="3062" y="2375"/>
                  </a:lnTo>
                  <a:lnTo>
                    <a:pt x="3062" y="2383"/>
                  </a:lnTo>
                  <a:lnTo>
                    <a:pt x="3053" y="2392"/>
                  </a:lnTo>
                  <a:lnTo>
                    <a:pt x="3053" y="2401"/>
                  </a:lnTo>
                  <a:lnTo>
                    <a:pt x="3044" y="2401"/>
                  </a:lnTo>
                  <a:lnTo>
                    <a:pt x="3035" y="2401"/>
                  </a:lnTo>
                  <a:lnTo>
                    <a:pt x="3035" y="2410"/>
                  </a:lnTo>
                  <a:lnTo>
                    <a:pt x="3026" y="2410"/>
                  </a:lnTo>
                  <a:lnTo>
                    <a:pt x="3026" y="2419"/>
                  </a:lnTo>
                  <a:lnTo>
                    <a:pt x="3026" y="2428"/>
                  </a:lnTo>
                  <a:lnTo>
                    <a:pt x="3035" y="2428"/>
                  </a:lnTo>
                  <a:lnTo>
                    <a:pt x="3035" y="2436"/>
                  </a:lnTo>
                  <a:lnTo>
                    <a:pt x="3044" y="2436"/>
                  </a:lnTo>
                  <a:lnTo>
                    <a:pt x="3053" y="2436"/>
                  </a:lnTo>
                  <a:lnTo>
                    <a:pt x="3053" y="2428"/>
                  </a:lnTo>
                  <a:lnTo>
                    <a:pt x="3062" y="2428"/>
                  </a:lnTo>
                  <a:close/>
                  <a:moveTo>
                    <a:pt x="3300" y="2322"/>
                  </a:moveTo>
                  <a:lnTo>
                    <a:pt x="3309" y="2322"/>
                  </a:lnTo>
                  <a:lnTo>
                    <a:pt x="3309" y="2330"/>
                  </a:lnTo>
                  <a:lnTo>
                    <a:pt x="3300" y="2330"/>
                  </a:lnTo>
                  <a:close/>
                  <a:moveTo>
                    <a:pt x="3194" y="2269"/>
                  </a:moveTo>
                  <a:lnTo>
                    <a:pt x="3185" y="2269"/>
                  </a:lnTo>
                  <a:lnTo>
                    <a:pt x="3194" y="2260"/>
                  </a:lnTo>
                  <a:close/>
                  <a:moveTo>
                    <a:pt x="3079" y="2225"/>
                  </a:moveTo>
                  <a:lnTo>
                    <a:pt x="3088" y="2225"/>
                  </a:lnTo>
                  <a:lnTo>
                    <a:pt x="3097" y="2225"/>
                  </a:lnTo>
                  <a:lnTo>
                    <a:pt x="3106" y="2225"/>
                  </a:lnTo>
                  <a:lnTo>
                    <a:pt x="3115" y="2225"/>
                  </a:lnTo>
                  <a:lnTo>
                    <a:pt x="3115" y="2233"/>
                  </a:lnTo>
                  <a:lnTo>
                    <a:pt x="3124" y="2233"/>
                  </a:lnTo>
                  <a:lnTo>
                    <a:pt x="3132" y="2233"/>
                  </a:lnTo>
                  <a:lnTo>
                    <a:pt x="3132" y="2242"/>
                  </a:lnTo>
                  <a:lnTo>
                    <a:pt x="3132" y="2233"/>
                  </a:lnTo>
                  <a:lnTo>
                    <a:pt x="3132" y="2225"/>
                  </a:lnTo>
                  <a:lnTo>
                    <a:pt x="3141" y="2225"/>
                  </a:lnTo>
                  <a:lnTo>
                    <a:pt x="3150" y="2225"/>
                  </a:lnTo>
                  <a:lnTo>
                    <a:pt x="3159" y="2225"/>
                  </a:lnTo>
                  <a:lnTo>
                    <a:pt x="3159" y="2233"/>
                  </a:lnTo>
                  <a:lnTo>
                    <a:pt x="3168" y="2225"/>
                  </a:lnTo>
                  <a:lnTo>
                    <a:pt x="3176" y="2225"/>
                  </a:lnTo>
                  <a:lnTo>
                    <a:pt x="3176" y="2233"/>
                  </a:lnTo>
                  <a:lnTo>
                    <a:pt x="3185" y="2233"/>
                  </a:lnTo>
                  <a:lnTo>
                    <a:pt x="3185" y="2242"/>
                  </a:lnTo>
                  <a:lnTo>
                    <a:pt x="3185" y="2233"/>
                  </a:lnTo>
                  <a:lnTo>
                    <a:pt x="3194" y="2233"/>
                  </a:lnTo>
                  <a:lnTo>
                    <a:pt x="3194" y="2242"/>
                  </a:lnTo>
                  <a:lnTo>
                    <a:pt x="3203" y="2242"/>
                  </a:lnTo>
                  <a:lnTo>
                    <a:pt x="3194" y="2251"/>
                  </a:lnTo>
                  <a:lnTo>
                    <a:pt x="3194" y="2260"/>
                  </a:lnTo>
                  <a:lnTo>
                    <a:pt x="3185" y="2260"/>
                  </a:lnTo>
                  <a:lnTo>
                    <a:pt x="3176" y="2260"/>
                  </a:lnTo>
                  <a:lnTo>
                    <a:pt x="3185" y="2260"/>
                  </a:lnTo>
                  <a:lnTo>
                    <a:pt x="3185" y="2251"/>
                  </a:lnTo>
                  <a:lnTo>
                    <a:pt x="3168" y="2260"/>
                  </a:lnTo>
                  <a:lnTo>
                    <a:pt x="3159" y="2251"/>
                  </a:lnTo>
                  <a:lnTo>
                    <a:pt x="3150" y="2251"/>
                  </a:lnTo>
                  <a:lnTo>
                    <a:pt x="3141" y="2251"/>
                  </a:lnTo>
                  <a:lnTo>
                    <a:pt x="3132" y="2242"/>
                  </a:lnTo>
                  <a:lnTo>
                    <a:pt x="3124" y="2242"/>
                  </a:lnTo>
                  <a:lnTo>
                    <a:pt x="3115" y="2242"/>
                  </a:lnTo>
                  <a:lnTo>
                    <a:pt x="3106" y="2242"/>
                  </a:lnTo>
                  <a:lnTo>
                    <a:pt x="3097" y="2233"/>
                  </a:lnTo>
                  <a:lnTo>
                    <a:pt x="3088" y="2233"/>
                  </a:lnTo>
                  <a:lnTo>
                    <a:pt x="3079" y="2233"/>
                  </a:lnTo>
                  <a:close/>
                  <a:moveTo>
                    <a:pt x="2532" y="2136"/>
                  </a:moveTo>
                  <a:lnTo>
                    <a:pt x="2524" y="2136"/>
                  </a:lnTo>
                  <a:close/>
                  <a:moveTo>
                    <a:pt x="2532" y="2145"/>
                  </a:moveTo>
                  <a:lnTo>
                    <a:pt x="2524" y="2154"/>
                  </a:lnTo>
                  <a:lnTo>
                    <a:pt x="2524" y="2145"/>
                  </a:lnTo>
                  <a:lnTo>
                    <a:pt x="2532" y="2145"/>
                  </a:lnTo>
                  <a:lnTo>
                    <a:pt x="2541" y="2145"/>
                  </a:lnTo>
                  <a:close/>
                  <a:moveTo>
                    <a:pt x="2541" y="2136"/>
                  </a:moveTo>
                  <a:lnTo>
                    <a:pt x="2532" y="2136"/>
                  </a:lnTo>
                  <a:close/>
                  <a:moveTo>
                    <a:pt x="2550" y="2127"/>
                  </a:moveTo>
                  <a:lnTo>
                    <a:pt x="2550" y="2119"/>
                  </a:lnTo>
                  <a:close/>
                  <a:moveTo>
                    <a:pt x="2727" y="1960"/>
                  </a:moveTo>
                  <a:lnTo>
                    <a:pt x="2735" y="1951"/>
                  </a:lnTo>
                  <a:lnTo>
                    <a:pt x="2744" y="1951"/>
                  </a:lnTo>
                  <a:lnTo>
                    <a:pt x="2744" y="1960"/>
                  </a:lnTo>
                  <a:lnTo>
                    <a:pt x="2744" y="1969"/>
                  </a:lnTo>
                  <a:lnTo>
                    <a:pt x="2735" y="1969"/>
                  </a:lnTo>
                  <a:lnTo>
                    <a:pt x="2727" y="1969"/>
                  </a:lnTo>
                  <a:close/>
                  <a:moveTo>
                    <a:pt x="2665" y="2039"/>
                  </a:moveTo>
                  <a:lnTo>
                    <a:pt x="2665" y="2048"/>
                  </a:lnTo>
                  <a:lnTo>
                    <a:pt x="2656" y="2048"/>
                  </a:lnTo>
                  <a:lnTo>
                    <a:pt x="2647" y="2048"/>
                  </a:lnTo>
                  <a:lnTo>
                    <a:pt x="2647" y="2039"/>
                  </a:lnTo>
                  <a:lnTo>
                    <a:pt x="2674" y="2030"/>
                  </a:lnTo>
                  <a:lnTo>
                    <a:pt x="2691" y="2022"/>
                  </a:lnTo>
                  <a:lnTo>
                    <a:pt x="2691" y="2030"/>
                  </a:lnTo>
                  <a:lnTo>
                    <a:pt x="2682" y="2030"/>
                  </a:lnTo>
                  <a:close/>
                  <a:moveTo>
                    <a:pt x="2744" y="2092"/>
                  </a:moveTo>
                  <a:lnTo>
                    <a:pt x="2727" y="2092"/>
                  </a:lnTo>
                  <a:lnTo>
                    <a:pt x="2735" y="2092"/>
                  </a:lnTo>
                  <a:lnTo>
                    <a:pt x="2727" y="2101"/>
                  </a:lnTo>
                  <a:lnTo>
                    <a:pt x="2718" y="2110"/>
                  </a:lnTo>
                  <a:lnTo>
                    <a:pt x="2709" y="2110"/>
                  </a:lnTo>
                  <a:lnTo>
                    <a:pt x="2718" y="2119"/>
                  </a:lnTo>
                  <a:lnTo>
                    <a:pt x="2709" y="2119"/>
                  </a:lnTo>
                  <a:lnTo>
                    <a:pt x="2700" y="2127"/>
                  </a:lnTo>
                  <a:lnTo>
                    <a:pt x="2700" y="2119"/>
                  </a:lnTo>
                  <a:lnTo>
                    <a:pt x="2700" y="2110"/>
                  </a:lnTo>
                  <a:lnTo>
                    <a:pt x="2700" y="2119"/>
                  </a:lnTo>
                  <a:lnTo>
                    <a:pt x="2691" y="2119"/>
                  </a:lnTo>
                  <a:lnTo>
                    <a:pt x="2682" y="2110"/>
                  </a:lnTo>
                  <a:lnTo>
                    <a:pt x="2691" y="2101"/>
                  </a:lnTo>
                  <a:lnTo>
                    <a:pt x="2700" y="2092"/>
                  </a:lnTo>
                  <a:lnTo>
                    <a:pt x="2709" y="2092"/>
                  </a:lnTo>
                  <a:lnTo>
                    <a:pt x="2727" y="2083"/>
                  </a:lnTo>
                  <a:lnTo>
                    <a:pt x="2735" y="2083"/>
                  </a:lnTo>
                  <a:lnTo>
                    <a:pt x="2744" y="2083"/>
                  </a:lnTo>
                  <a:lnTo>
                    <a:pt x="2753" y="2092"/>
                  </a:lnTo>
                  <a:close/>
                  <a:moveTo>
                    <a:pt x="2753" y="1969"/>
                  </a:moveTo>
                  <a:lnTo>
                    <a:pt x="2753" y="1960"/>
                  </a:lnTo>
                  <a:lnTo>
                    <a:pt x="2762" y="1960"/>
                  </a:lnTo>
                  <a:lnTo>
                    <a:pt x="2762" y="1969"/>
                  </a:lnTo>
                  <a:close/>
                  <a:moveTo>
                    <a:pt x="2903" y="2057"/>
                  </a:moveTo>
                  <a:lnTo>
                    <a:pt x="2885" y="2066"/>
                  </a:lnTo>
                  <a:lnTo>
                    <a:pt x="2885" y="2057"/>
                  </a:lnTo>
                  <a:lnTo>
                    <a:pt x="2894" y="2057"/>
                  </a:lnTo>
                  <a:lnTo>
                    <a:pt x="2903" y="2057"/>
                  </a:lnTo>
                  <a:lnTo>
                    <a:pt x="2912" y="2057"/>
                  </a:lnTo>
                  <a:close/>
                  <a:moveTo>
                    <a:pt x="3009" y="2189"/>
                  </a:moveTo>
                  <a:lnTo>
                    <a:pt x="3009" y="2180"/>
                  </a:lnTo>
                  <a:lnTo>
                    <a:pt x="3009" y="2172"/>
                  </a:lnTo>
                  <a:lnTo>
                    <a:pt x="3018" y="2172"/>
                  </a:lnTo>
                  <a:lnTo>
                    <a:pt x="3009" y="2180"/>
                  </a:lnTo>
                  <a:lnTo>
                    <a:pt x="3018" y="2189"/>
                  </a:lnTo>
                  <a:close/>
                  <a:moveTo>
                    <a:pt x="3018" y="2198"/>
                  </a:moveTo>
                  <a:lnTo>
                    <a:pt x="3009" y="2198"/>
                  </a:lnTo>
                  <a:lnTo>
                    <a:pt x="3009" y="2189"/>
                  </a:lnTo>
                  <a:lnTo>
                    <a:pt x="3018" y="2189"/>
                  </a:lnTo>
                  <a:close/>
                  <a:moveTo>
                    <a:pt x="2806" y="2286"/>
                  </a:moveTo>
                  <a:lnTo>
                    <a:pt x="2806" y="2295"/>
                  </a:lnTo>
                  <a:lnTo>
                    <a:pt x="2797" y="2295"/>
                  </a:lnTo>
                  <a:lnTo>
                    <a:pt x="2797" y="2304"/>
                  </a:lnTo>
                  <a:lnTo>
                    <a:pt x="2797" y="2313"/>
                  </a:lnTo>
                  <a:lnTo>
                    <a:pt x="2788" y="2313"/>
                  </a:lnTo>
                  <a:lnTo>
                    <a:pt x="2788" y="2322"/>
                  </a:lnTo>
                  <a:lnTo>
                    <a:pt x="2779" y="2330"/>
                  </a:lnTo>
                  <a:lnTo>
                    <a:pt x="2779" y="2322"/>
                  </a:lnTo>
                  <a:lnTo>
                    <a:pt x="2771" y="2322"/>
                  </a:lnTo>
                  <a:lnTo>
                    <a:pt x="2779" y="2313"/>
                  </a:lnTo>
                  <a:lnTo>
                    <a:pt x="2788" y="2304"/>
                  </a:lnTo>
                  <a:lnTo>
                    <a:pt x="2788" y="2295"/>
                  </a:lnTo>
                  <a:lnTo>
                    <a:pt x="2797" y="2295"/>
                  </a:lnTo>
                  <a:lnTo>
                    <a:pt x="2797" y="2286"/>
                  </a:lnTo>
                  <a:close/>
                  <a:moveTo>
                    <a:pt x="2815" y="2278"/>
                  </a:moveTo>
                  <a:lnTo>
                    <a:pt x="2806" y="2278"/>
                  </a:lnTo>
                  <a:close/>
                  <a:moveTo>
                    <a:pt x="2877" y="2304"/>
                  </a:moveTo>
                  <a:lnTo>
                    <a:pt x="2877" y="2295"/>
                  </a:lnTo>
                  <a:close/>
                  <a:moveTo>
                    <a:pt x="2912" y="2251"/>
                  </a:moveTo>
                  <a:lnTo>
                    <a:pt x="2912" y="2260"/>
                  </a:lnTo>
                  <a:lnTo>
                    <a:pt x="2903" y="2260"/>
                  </a:lnTo>
                  <a:lnTo>
                    <a:pt x="2903" y="2251"/>
                  </a:lnTo>
                  <a:lnTo>
                    <a:pt x="2912" y="2242"/>
                  </a:lnTo>
                  <a:close/>
                  <a:moveTo>
                    <a:pt x="3000" y="2242"/>
                  </a:moveTo>
                  <a:lnTo>
                    <a:pt x="2991" y="2242"/>
                  </a:lnTo>
                  <a:lnTo>
                    <a:pt x="2982" y="2242"/>
                  </a:lnTo>
                  <a:lnTo>
                    <a:pt x="2982" y="2233"/>
                  </a:lnTo>
                  <a:lnTo>
                    <a:pt x="2991" y="2242"/>
                  </a:lnTo>
                  <a:close/>
                  <a:moveTo>
                    <a:pt x="3035" y="2207"/>
                  </a:moveTo>
                  <a:lnTo>
                    <a:pt x="3035" y="2216"/>
                  </a:lnTo>
                  <a:lnTo>
                    <a:pt x="3026" y="2216"/>
                  </a:lnTo>
                  <a:lnTo>
                    <a:pt x="3026" y="2207"/>
                  </a:lnTo>
                  <a:lnTo>
                    <a:pt x="3018" y="2198"/>
                  </a:lnTo>
                  <a:lnTo>
                    <a:pt x="3018" y="2189"/>
                  </a:lnTo>
                  <a:lnTo>
                    <a:pt x="3026" y="2189"/>
                  </a:lnTo>
                  <a:lnTo>
                    <a:pt x="3035" y="2198"/>
                  </a:lnTo>
                  <a:lnTo>
                    <a:pt x="3044" y="2198"/>
                  </a:lnTo>
                  <a:close/>
                  <a:moveTo>
                    <a:pt x="3062" y="2225"/>
                  </a:moveTo>
                  <a:lnTo>
                    <a:pt x="3053" y="2225"/>
                  </a:lnTo>
                  <a:lnTo>
                    <a:pt x="3044" y="2225"/>
                  </a:lnTo>
                  <a:lnTo>
                    <a:pt x="3035" y="2225"/>
                  </a:lnTo>
                  <a:lnTo>
                    <a:pt x="3035" y="2216"/>
                  </a:lnTo>
                  <a:lnTo>
                    <a:pt x="3035" y="2225"/>
                  </a:lnTo>
                  <a:lnTo>
                    <a:pt x="3044" y="2225"/>
                  </a:lnTo>
                  <a:lnTo>
                    <a:pt x="3044" y="2216"/>
                  </a:lnTo>
                  <a:lnTo>
                    <a:pt x="3053" y="2216"/>
                  </a:lnTo>
                  <a:lnTo>
                    <a:pt x="3062" y="2216"/>
                  </a:lnTo>
                  <a:close/>
                  <a:moveTo>
                    <a:pt x="3071" y="2233"/>
                  </a:moveTo>
                  <a:lnTo>
                    <a:pt x="3062" y="2233"/>
                  </a:lnTo>
                  <a:lnTo>
                    <a:pt x="3062" y="2225"/>
                  </a:lnTo>
                  <a:lnTo>
                    <a:pt x="3071" y="2225"/>
                  </a:lnTo>
                  <a:lnTo>
                    <a:pt x="3079" y="2225"/>
                  </a:lnTo>
                  <a:close/>
                  <a:moveTo>
                    <a:pt x="3397" y="2498"/>
                  </a:moveTo>
                  <a:lnTo>
                    <a:pt x="3397" y="2489"/>
                  </a:lnTo>
                  <a:lnTo>
                    <a:pt x="3388" y="2480"/>
                  </a:lnTo>
                  <a:lnTo>
                    <a:pt x="3388" y="2489"/>
                  </a:lnTo>
                  <a:lnTo>
                    <a:pt x="3397" y="2498"/>
                  </a:lnTo>
                  <a:lnTo>
                    <a:pt x="3388" y="2507"/>
                  </a:lnTo>
                  <a:lnTo>
                    <a:pt x="3379" y="2507"/>
                  </a:lnTo>
                  <a:lnTo>
                    <a:pt x="3371" y="2507"/>
                  </a:lnTo>
                  <a:lnTo>
                    <a:pt x="3362" y="2507"/>
                  </a:lnTo>
                  <a:lnTo>
                    <a:pt x="3353" y="2507"/>
                  </a:lnTo>
                  <a:lnTo>
                    <a:pt x="3344" y="2507"/>
                  </a:lnTo>
                  <a:lnTo>
                    <a:pt x="3335" y="2507"/>
                  </a:lnTo>
                  <a:lnTo>
                    <a:pt x="3326" y="2507"/>
                  </a:lnTo>
                  <a:lnTo>
                    <a:pt x="3309" y="2507"/>
                  </a:lnTo>
                  <a:lnTo>
                    <a:pt x="3300" y="2516"/>
                  </a:lnTo>
                  <a:lnTo>
                    <a:pt x="3291" y="2516"/>
                  </a:lnTo>
                  <a:lnTo>
                    <a:pt x="3291" y="2525"/>
                  </a:lnTo>
                  <a:lnTo>
                    <a:pt x="3282" y="2525"/>
                  </a:lnTo>
                  <a:lnTo>
                    <a:pt x="3291" y="2525"/>
                  </a:lnTo>
                  <a:lnTo>
                    <a:pt x="3300" y="2525"/>
                  </a:lnTo>
                  <a:lnTo>
                    <a:pt x="3309" y="2533"/>
                  </a:lnTo>
                  <a:lnTo>
                    <a:pt x="3318" y="2533"/>
                  </a:lnTo>
                  <a:lnTo>
                    <a:pt x="3309" y="2533"/>
                  </a:lnTo>
                  <a:lnTo>
                    <a:pt x="3291" y="2533"/>
                  </a:lnTo>
                  <a:lnTo>
                    <a:pt x="3282" y="2533"/>
                  </a:lnTo>
                  <a:lnTo>
                    <a:pt x="3274" y="2525"/>
                  </a:lnTo>
                  <a:lnTo>
                    <a:pt x="3256" y="2525"/>
                  </a:lnTo>
                  <a:lnTo>
                    <a:pt x="3247" y="2525"/>
                  </a:lnTo>
                  <a:lnTo>
                    <a:pt x="3229" y="2525"/>
                  </a:lnTo>
                  <a:lnTo>
                    <a:pt x="3212" y="2525"/>
                  </a:lnTo>
                  <a:lnTo>
                    <a:pt x="3194" y="2542"/>
                  </a:lnTo>
                  <a:lnTo>
                    <a:pt x="3185" y="2551"/>
                  </a:lnTo>
                  <a:lnTo>
                    <a:pt x="3185" y="2560"/>
                  </a:lnTo>
                  <a:lnTo>
                    <a:pt x="3176" y="2560"/>
                  </a:lnTo>
                  <a:lnTo>
                    <a:pt x="3185" y="2551"/>
                  </a:lnTo>
                  <a:lnTo>
                    <a:pt x="3176" y="2560"/>
                  </a:lnTo>
                  <a:lnTo>
                    <a:pt x="3168" y="2560"/>
                  </a:lnTo>
                  <a:lnTo>
                    <a:pt x="3159" y="2560"/>
                  </a:lnTo>
                  <a:lnTo>
                    <a:pt x="3150" y="2569"/>
                  </a:lnTo>
                  <a:lnTo>
                    <a:pt x="3141" y="2569"/>
                  </a:lnTo>
                  <a:lnTo>
                    <a:pt x="3141" y="2578"/>
                  </a:lnTo>
                  <a:lnTo>
                    <a:pt x="3132" y="2578"/>
                  </a:lnTo>
                  <a:lnTo>
                    <a:pt x="3132" y="2586"/>
                  </a:lnTo>
                  <a:lnTo>
                    <a:pt x="3132" y="2578"/>
                  </a:lnTo>
                  <a:lnTo>
                    <a:pt x="3124" y="2578"/>
                  </a:lnTo>
                  <a:lnTo>
                    <a:pt x="3115" y="2578"/>
                  </a:lnTo>
                  <a:lnTo>
                    <a:pt x="3106" y="2578"/>
                  </a:lnTo>
                  <a:lnTo>
                    <a:pt x="3097" y="2578"/>
                  </a:lnTo>
                  <a:lnTo>
                    <a:pt x="3088" y="2578"/>
                  </a:lnTo>
                  <a:lnTo>
                    <a:pt x="3088" y="2569"/>
                  </a:lnTo>
                  <a:lnTo>
                    <a:pt x="3088" y="2560"/>
                  </a:lnTo>
                  <a:lnTo>
                    <a:pt x="3097" y="2560"/>
                  </a:lnTo>
                  <a:lnTo>
                    <a:pt x="3097" y="2551"/>
                  </a:lnTo>
                  <a:lnTo>
                    <a:pt x="3106" y="2551"/>
                  </a:lnTo>
                  <a:lnTo>
                    <a:pt x="3132" y="2551"/>
                  </a:lnTo>
                  <a:lnTo>
                    <a:pt x="3141" y="2551"/>
                  </a:lnTo>
                  <a:lnTo>
                    <a:pt x="3141" y="2542"/>
                  </a:lnTo>
                  <a:lnTo>
                    <a:pt x="3141" y="2533"/>
                  </a:lnTo>
                  <a:lnTo>
                    <a:pt x="3132" y="2533"/>
                  </a:lnTo>
                  <a:lnTo>
                    <a:pt x="3124" y="2533"/>
                  </a:lnTo>
                  <a:lnTo>
                    <a:pt x="3124" y="2525"/>
                  </a:lnTo>
                  <a:lnTo>
                    <a:pt x="3124" y="2516"/>
                  </a:lnTo>
                  <a:lnTo>
                    <a:pt x="3115" y="2516"/>
                  </a:lnTo>
                  <a:lnTo>
                    <a:pt x="3115" y="2525"/>
                  </a:lnTo>
                  <a:lnTo>
                    <a:pt x="3106" y="2533"/>
                  </a:lnTo>
                  <a:lnTo>
                    <a:pt x="3106" y="2542"/>
                  </a:lnTo>
                  <a:lnTo>
                    <a:pt x="3106" y="2551"/>
                  </a:lnTo>
                  <a:lnTo>
                    <a:pt x="3097" y="2551"/>
                  </a:lnTo>
                  <a:lnTo>
                    <a:pt x="3088" y="2551"/>
                  </a:lnTo>
                  <a:lnTo>
                    <a:pt x="3088" y="2560"/>
                  </a:lnTo>
                  <a:lnTo>
                    <a:pt x="3088" y="2569"/>
                  </a:lnTo>
                  <a:lnTo>
                    <a:pt x="3088" y="2578"/>
                  </a:lnTo>
                  <a:lnTo>
                    <a:pt x="3079" y="2578"/>
                  </a:lnTo>
                  <a:lnTo>
                    <a:pt x="3079" y="2586"/>
                  </a:lnTo>
                  <a:lnTo>
                    <a:pt x="3071" y="2595"/>
                  </a:lnTo>
                  <a:lnTo>
                    <a:pt x="3062" y="2604"/>
                  </a:lnTo>
                  <a:lnTo>
                    <a:pt x="3071" y="2604"/>
                  </a:lnTo>
                  <a:lnTo>
                    <a:pt x="3079" y="2604"/>
                  </a:lnTo>
                  <a:lnTo>
                    <a:pt x="3079" y="2613"/>
                  </a:lnTo>
                  <a:lnTo>
                    <a:pt x="3097" y="2613"/>
                  </a:lnTo>
                  <a:lnTo>
                    <a:pt x="3097" y="2622"/>
                  </a:lnTo>
                  <a:lnTo>
                    <a:pt x="3106" y="2622"/>
                  </a:lnTo>
                  <a:lnTo>
                    <a:pt x="3115" y="2622"/>
                  </a:lnTo>
                  <a:lnTo>
                    <a:pt x="3124" y="2622"/>
                  </a:lnTo>
                  <a:lnTo>
                    <a:pt x="3097" y="2631"/>
                  </a:lnTo>
                  <a:lnTo>
                    <a:pt x="3106" y="2631"/>
                  </a:lnTo>
                  <a:lnTo>
                    <a:pt x="3115" y="2631"/>
                  </a:lnTo>
                  <a:lnTo>
                    <a:pt x="3124" y="2631"/>
                  </a:lnTo>
                  <a:lnTo>
                    <a:pt x="3132" y="2631"/>
                  </a:lnTo>
                  <a:lnTo>
                    <a:pt x="3141" y="2631"/>
                  </a:lnTo>
                  <a:lnTo>
                    <a:pt x="3150" y="2631"/>
                  </a:lnTo>
                  <a:lnTo>
                    <a:pt x="3159" y="2622"/>
                  </a:lnTo>
                  <a:lnTo>
                    <a:pt x="3176" y="2622"/>
                  </a:lnTo>
                  <a:lnTo>
                    <a:pt x="3185" y="2622"/>
                  </a:lnTo>
                  <a:lnTo>
                    <a:pt x="3194" y="2622"/>
                  </a:lnTo>
                  <a:lnTo>
                    <a:pt x="3203" y="2622"/>
                  </a:lnTo>
                  <a:lnTo>
                    <a:pt x="3212" y="2613"/>
                  </a:lnTo>
                  <a:lnTo>
                    <a:pt x="3229" y="2604"/>
                  </a:lnTo>
                  <a:lnTo>
                    <a:pt x="3256" y="2586"/>
                  </a:lnTo>
                  <a:lnTo>
                    <a:pt x="3291" y="2578"/>
                  </a:lnTo>
                  <a:lnTo>
                    <a:pt x="3300" y="2578"/>
                  </a:lnTo>
                  <a:lnTo>
                    <a:pt x="3309" y="2569"/>
                  </a:lnTo>
                  <a:lnTo>
                    <a:pt x="3318" y="2569"/>
                  </a:lnTo>
                  <a:lnTo>
                    <a:pt x="3344" y="2551"/>
                  </a:lnTo>
                  <a:lnTo>
                    <a:pt x="3353" y="2542"/>
                  </a:lnTo>
                  <a:lnTo>
                    <a:pt x="3362" y="2542"/>
                  </a:lnTo>
                  <a:lnTo>
                    <a:pt x="3371" y="2533"/>
                  </a:lnTo>
                  <a:lnTo>
                    <a:pt x="3379" y="2533"/>
                  </a:lnTo>
                  <a:lnTo>
                    <a:pt x="3379" y="2525"/>
                  </a:lnTo>
                  <a:lnTo>
                    <a:pt x="3388" y="2525"/>
                  </a:lnTo>
                  <a:lnTo>
                    <a:pt x="3397" y="2516"/>
                  </a:lnTo>
                  <a:lnTo>
                    <a:pt x="3406" y="2507"/>
                  </a:lnTo>
                  <a:close/>
                  <a:moveTo>
                    <a:pt x="3397" y="2489"/>
                  </a:moveTo>
                  <a:lnTo>
                    <a:pt x="3388" y="2489"/>
                  </a:lnTo>
                  <a:close/>
                  <a:moveTo>
                    <a:pt x="3124" y="2604"/>
                  </a:moveTo>
                  <a:lnTo>
                    <a:pt x="3124" y="2595"/>
                  </a:lnTo>
                  <a:close/>
                  <a:moveTo>
                    <a:pt x="3626" y="2357"/>
                  </a:moveTo>
                  <a:lnTo>
                    <a:pt x="3618" y="2366"/>
                  </a:lnTo>
                  <a:lnTo>
                    <a:pt x="3609" y="2366"/>
                  </a:lnTo>
                  <a:lnTo>
                    <a:pt x="3591" y="2375"/>
                  </a:lnTo>
                  <a:lnTo>
                    <a:pt x="3582" y="2383"/>
                  </a:lnTo>
                  <a:lnTo>
                    <a:pt x="3573" y="2383"/>
                  </a:lnTo>
                  <a:lnTo>
                    <a:pt x="3565" y="2383"/>
                  </a:lnTo>
                  <a:lnTo>
                    <a:pt x="3556" y="2383"/>
                  </a:lnTo>
                  <a:lnTo>
                    <a:pt x="3538" y="2392"/>
                  </a:lnTo>
                  <a:lnTo>
                    <a:pt x="3547" y="2383"/>
                  </a:lnTo>
                  <a:lnTo>
                    <a:pt x="3538" y="2392"/>
                  </a:lnTo>
                  <a:lnTo>
                    <a:pt x="3538" y="2383"/>
                  </a:lnTo>
                  <a:lnTo>
                    <a:pt x="3529" y="2383"/>
                  </a:lnTo>
                  <a:lnTo>
                    <a:pt x="3521" y="2383"/>
                  </a:lnTo>
                  <a:lnTo>
                    <a:pt x="3512" y="2383"/>
                  </a:lnTo>
                  <a:lnTo>
                    <a:pt x="3512" y="2392"/>
                  </a:lnTo>
                  <a:lnTo>
                    <a:pt x="3503" y="2392"/>
                  </a:lnTo>
                  <a:lnTo>
                    <a:pt x="3494" y="2392"/>
                  </a:lnTo>
                  <a:lnTo>
                    <a:pt x="3503" y="2392"/>
                  </a:lnTo>
                  <a:lnTo>
                    <a:pt x="3512" y="2392"/>
                  </a:lnTo>
                  <a:lnTo>
                    <a:pt x="3521" y="2392"/>
                  </a:lnTo>
                  <a:lnTo>
                    <a:pt x="3512" y="2392"/>
                  </a:lnTo>
                  <a:lnTo>
                    <a:pt x="3521" y="2392"/>
                  </a:lnTo>
                  <a:lnTo>
                    <a:pt x="3529" y="2383"/>
                  </a:lnTo>
                  <a:lnTo>
                    <a:pt x="3529" y="2392"/>
                  </a:lnTo>
                  <a:lnTo>
                    <a:pt x="3529" y="2401"/>
                  </a:lnTo>
                  <a:lnTo>
                    <a:pt x="3538" y="2401"/>
                  </a:lnTo>
                  <a:lnTo>
                    <a:pt x="3547" y="2392"/>
                  </a:lnTo>
                  <a:lnTo>
                    <a:pt x="3547" y="2401"/>
                  </a:lnTo>
                  <a:lnTo>
                    <a:pt x="3538" y="2401"/>
                  </a:lnTo>
                  <a:lnTo>
                    <a:pt x="3538" y="2410"/>
                  </a:lnTo>
                  <a:lnTo>
                    <a:pt x="3547" y="2410"/>
                  </a:lnTo>
                  <a:lnTo>
                    <a:pt x="3538" y="2410"/>
                  </a:lnTo>
                  <a:lnTo>
                    <a:pt x="3529" y="2419"/>
                  </a:lnTo>
                  <a:lnTo>
                    <a:pt x="3521" y="2410"/>
                  </a:lnTo>
                  <a:lnTo>
                    <a:pt x="3529" y="2410"/>
                  </a:lnTo>
                  <a:lnTo>
                    <a:pt x="3521" y="2410"/>
                  </a:lnTo>
                  <a:lnTo>
                    <a:pt x="3512" y="2401"/>
                  </a:lnTo>
                  <a:lnTo>
                    <a:pt x="3512" y="2410"/>
                  </a:lnTo>
                  <a:lnTo>
                    <a:pt x="3503" y="2410"/>
                  </a:lnTo>
                  <a:lnTo>
                    <a:pt x="3503" y="2401"/>
                  </a:lnTo>
                  <a:lnTo>
                    <a:pt x="3494" y="2401"/>
                  </a:lnTo>
                  <a:lnTo>
                    <a:pt x="3503" y="2401"/>
                  </a:lnTo>
                  <a:lnTo>
                    <a:pt x="3494" y="2401"/>
                  </a:lnTo>
                  <a:lnTo>
                    <a:pt x="3485" y="2401"/>
                  </a:lnTo>
                  <a:lnTo>
                    <a:pt x="3476" y="2401"/>
                  </a:lnTo>
                  <a:lnTo>
                    <a:pt x="3468" y="2401"/>
                  </a:lnTo>
                  <a:lnTo>
                    <a:pt x="3450" y="2410"/>
                  </a:lnTo>
                  <a:lnTo>
                    <a:pt x="3441" y="2410"/>
                  </a:lnTo>
                  <a:lnTo>
                    <a:pt x="3432" y="2410"/>
                  </a:lnTo>
                  <a:lnTo>
                    <a:pt x="3423" y="2410"/>
                  </a:lnTo>
                  <a:lnTo>
                    <a:pt x="3415" y="2410"/>
                  </a:lnTo>
                  <a:lnTo>
                    <a:pt x="3406" y="2410"/>
                  </a:lnTo>
                  <a:lnTo>
                    <a:pt x="3397" y="2419"/>
                  </a:lnTo>
                  <a:lnTo>
                    <a:pt x="3388" y="2419"/>
                  </a:lnTo>
                  <a:lnTo>
                    <a:pt x="3379" y="2419"/>
                  </a:lnTo>
                  <a:lnTo>
                    <a:pt x="3371" y="2428"/>
                  </a:lnTo>
                  <a:lnTo>
                    <a:pt x="3362" y="2436"/>
                  </a:lnTo>
                  <a:lnTo>
                    <a:pt x="3353" y="2436"/>
                  </a:lnTo>
                  <a:lnTo>
                    <a:pt x="3353" y="2445"/>
                  </a:lnTo>
                  <a:lnTo>
                    <a:pt x="3344" y="2445"/>
                  </a:lnTo>
                  <a:lnTo>
                    <a:pt x="3344" y="2454"/>
                  </a:lnTo>
                  <a:lnTo>
                    <a:pt x="3335" y="2463"/>
                  </a:lnTo>
                  <a:lnTo>
                    <a:pt x="3335" y="2472"/>
                  </a:lnTo>
                  <a:lnTo>
                    <a:pt x="3344" y="2472"/>
                  </a:lnTo>
                  <a:lnTo>
                    <a:pt x="3353" y="2472"/>
                  </a:lnTo>
                  <a:lnTo>
                    <a:pt x="3362" y="2472"/>
                  </a:lnTo>
                  <a:lnTo>
                    <a:pt x="3371" y="2472"/>
                  </a:lnTo>
                  <a:lnTo>
                    <a:pt x="3379" y="2472"/>
                  </a:lnTo>
                  <a:lnTo>
                    <a:pt x="3388" y="2463"/>
                  </a:lnTo>
                  <a:lnTo>
                    <a:pt x="3415" y="2463"/>
                  </a:lnTo>
                  <a:lnTo>
                    <a:pt x="3432" y="2454"/>
                  </a:lnTo>
                  <a:lnTo>
                    <a:pt x="3450" y="2454"/>
                  </a:lnTo>
                  <a:lnTo>
                    <a:pt x="3476" y="2463"/>
                  </a:lnTo>
                  <a:lnTo>
                    <a:pt x="3485" y="2463"/>
                  </a:lnTo>
                  <a:lnTo>
                    <a:pt x="3494" y="2463"/>
                  </a:lnTo>
                  <a:lnTo>
                    <a:pt x="3503" y="2472"/>
                  </a:lnTo>
                  <a:lnTo>
                    <a:pt x="3512" y="2463"/>
                  </a:lnTo>
                  <a:lnTo>
                    <a:pt x="3521" y="2463"/>
                  </a:lnTo>
                  <a:lnTo>
                    <a:pt x="3529" y="2463"/>
                  </a:lnTo>
                  <a:lnTo>
                    <a:pt x="3538" y="2472"/>
                  </a:lnTo>
                  <a:lnTo>
                    <a:pt x="3547" y="2472"/>
                  </a:lnTo>
                  <a:lnTo>
                    <a:pt x="3547" y="2463"/>
                  </a:lnTo>
                  <a:lnTo>
                    <a:pt x="3556" y="2463"/>
                  </a:lnTo>
                  <a:lnTo>
                    <a:pt x="3565" y="2463"/>
                  </a:lnTo>
                  <a:lnTo>
                    <a:pt x="3565" y="2454"/>
                  </a:lnTo>
                  <a:lnTo>
                    <a:pt x="3573" y="2454"/>
                  </a:lnTo>
                  <a:lnTo>
                    <a:pt x="3582" y="2445"/>
                  </a:lnTo>
                  <a:lnTo>
                    <a:pt x="3591" y="2445"/>
                  </a:lnTo>
                  <a:lnTo>
                    <a:pt x="3600" y="2445"/>
                  </a:lnTo>
                  <a:lnTo>
                    <a:pt x="3600" y="2436"/>
                  </a:lnTo>
                  <a:lnTo>
                    <a:pt x="3600" y="2428"/>
                  </a:lnTo>
                  <a:lnTo>
                    <a:pt x="3600" y="2419"/>
                  </a:lnTo>
                  <a:lnTo>
                    <a:pt x="3591" y="2419"/>
                  </a:lnTo>
                  <a:lnTo>
                    <a:pt x="3600" y="2410"/>
                  </a:lnTo>
                  <a:lnTo>
                    <a:pt x="3600" y="2419"/>
                  </a:lnTo>
                  <a:lnTo>
                    <a:pt x="3600" y="2410"/>
                  </a:lnTo>
                  <a:lnTo>
                    <a:pt x="3609" y="2410"/>
                  </a:lnTo>
                  <a:lnTo>
                    <a:pt x="3609" y="2401"/>
                  </a:lnTo>
                  <a:lnTo>
                    <a:pt x="3600" y="2401"/>
                  </a:lnTo>
                  <a:lnTo>
                    <a:pt x="3600" y="2392"/>
                  </a:lnTo>
                  <a:lnTo>
                    <a:pt x="3591" y="2401"/>
                  </a:lnTo>
                  <a:lnTo>
                    <a:pt x="3591" y="2392"/>
                  </a:lnTo>
                  <a:lnTo>
                    <a:pt x="3600" y="2383"/>
                  </a:lnTo>
                  <a:lnTo>
                    <a:pt x="3626" y="2366"/>
                  </a:lnTo>
                  <a:close/>
                  <a:moveTo>
                    <a:pt x="3565" y="2392"/>
                  </a:moveTo>
                  <a:lnTo>
                    <a:pt x="3556" y="2392"/>
                  </a:lnTo>
                  <a:lnTo>
                    <a:pt x="3556" y="2383"/>
                  </a:lnTo>
                  <a:lnTo>
                    <a:pt x="3565" y="2383"/>
                  </a:lnTo>
                  <a:close/>
                  <a:moveTo>
                    <a:pt x="3591" y="2401"/>
                  </a:moveTo>
                  <a:lnTo>
                    <a:pt x="3600" y="2401"/>
                  </a:lnTo>
                  <a:close/>
                  <a:moveTo>
                    <a:pt x="3600" y="2383"/>
                  </a:moveTo>
                  <a:lnTo>
                    <a:pt x="3591" y="2383"/>
                  </a:lnTo>
                  <a:lnTo>
                    <a:pt x="3582" y="2392"/>
                  </a:lnTo>
                  <a:lnTo>
                    <a:pt x="3573" y="2392"/>
                  </a:lnTo>
                  <a:lnTo>
                    <a:pt x="3582" y="2392"/>
                  </a:lnTo>
                  <a:lnTo>
                    <a:pt x="3573" y="2392"/>
                  </a:lnTo>
                  <a:lnTo>
                    <a:pt x="3573" y="2383"/>
                  </a:lnTo>
                  <a:lnTo>
                    <a:pt x="3582" y="2383"/>
                  </a:lnTo>
                  <a:lnTo>
                    <a:pt x="3591" y="2383"/>
                  </a:lnTo>
                  <a:close/>
                  <a:moveTo>
                    <a:pt x="3609" y="2375"/>
                  </a:moveTo>
                  <a:lnTo>
                    <a:pt x="3600" y="2375"/>
                  </a:lnTo>
                  <a:close/>
                  <a:moveTo>
                    <a:pt x="11672" y="5958"/>
                  </a:moveTo>
                  <a:lnTo>
                    <a:pt x="11681" y="5958"/>
                  </a:lnTo>
                  <a:lnTo>
                    <a:pt x="11690" y="5958"/>
                  </a:lnTo>
                  <a:lnTo>
                    <a:pt x="11690" y="5949"/>
                  </a:lnTo>
                  <a:lnTo>
                    <a:pt x="11681" y="5949"/>
                  </a:lnTo>
                  <a:lnTo>
                    <a:pt x="11690" y="5949"/>
                  </a:lnTo>
                  <a:lnTo>
                    <a:pt x="11690" y="5940"/>
                  </a:lnTo>
                  <a:lnTo>
                    <a:pt x="11699" y="5940"/>
                  </a:lnTo>
                  <a:lnTo>
                    <a:pt x="11690" y="5940"/>
                  </a:lnTo>
                  <a:lnTo>
                    <a:pt x="11690" y="5931"/>
                  </a:lnTo>
                  <a:lnTo>
                    <a:pt x="11708" y="5922"/>
                  </a:lnTo>
                  <a:lnTo>
                    <a:pt x="11708" y="5914"/>
                  </a:lnTo>
                  <a:lnTo>
                    <a:pt x="11708" y="5905"/>
                  </a:lnTo>
                  <a:lnTo>
                    <a:pt x="11708" y="5896"/>
                  </a:lnTo>
                  <a:lnTo>
                    <a:pt x="11708" y="5887"/>
                  </a:lnTo>
                  <a:lnTo>
                    <a:pt x="11708" y="5878"/>
                  </a:lnTo>
                  <a:lnTo>
                    <a:pt x="11717" y="5878"/>
                  </a:lnTo>
                  <a:lnTo>
                    <a:pt x="11725" y="5878"/>
                  </a:lnTo>
                  <a:lnTo>
                    <a:pt x="11734" y="5887"/>
                  </a:lnTo>
                  <a:lnTo>
                    <a:pt x="11734" y="5878"/>
                  </a:lnTo>
                  <a:lnTo>
                    <a:pt x="11734" y="5870"/>
                  </a:lnTo>
                  <a:lnTo>
                    <a:pt x="11743" y="5870"/>
                  </a:lnTo>
                  <a:lnTo>
                    <a:pt x="11752" y="5870"/>
                  </a:lnTo>
                  <a:lnTo>
                    <a:pt x="11761" y="5870"/>
                  </a:lnTo>
                  <a:lnTo>
                    <a:pt x="11752" y="5852"/>
                  </a:lnTo>
                  <a:lnTo>
                    <a:pt x="11743" y="5861"/>
                  </a:lnTo>
                  <a:lnTo>
                    <a:pt x="11734" y="5861"/>
                  </a:lnTo>
                  <a:lnTo>
                    <a:pt x="11725" y="5861"/>
                  </a:lnTo>
                  <a:lnTo>
                    <a:pt x="11725" y="5870"/>
                  </a:lnTo>
                  <a:lnTo>
                    <a:pt x="11717" y="5870"/>
                  </a:lnTo>
                  <a:lnTo>
                    <a:pt x="11717" y="5861"/>
                  </a:lnTo>
                  <a:lnTo>
                    <a:pt x="11708" y="5861"/>
                  </a:lnTo>
                  <a:lnTo>
                    <a:pt x="11708" y="5852"/>
                  </a:lnTo>
                  <a:lnTo>
                    <a:pt x="11699" y="5852"/>
                  </a:lnTo>
                  <a:lnTo>
                    <a:pt x="11699" y="5843"/>
                  </a:lnTo>
                  <a:lnTo>
                    <a:pt x="11699" y="5834"/>
                  </a:lnTo>
                  <a:lnTo>
                    <a:pt x="11690" y="5834"/>
                  </a:lnTo>
                  <a:lnTo>
                    <a:pt x="11681" y="5834"/>
                  </a:lnTo>
                  <a:lnTo>
                    <a:pt x="11681" y="5825"/>
                  </a:lnTo>
                  <a:lnTo>
                    <a:pt x="11672" y="5825"/>
                  </a:lnTo>
                  <a:lnTo>
                    <a:pt x="11672" y="5834"/>
                  </a:lnTo>
                  <a:lnTo>
                    <a:pt x="11664" y="5834"/>
                  </a:lnTo>
                  <a:lnTo>
                    <a:pt x="11655" y="5825"/>
                  </a:lnTo>
                  <a:lnTo>
                    <a:pt x="11664" y="5825"/>
                  </a:lnTo>
                  <a:lnTo>
                    <a:pt x="11655" y="5817"/>
                  </a:lnTo>
                  <a:lnTo>
                    <a:pt x="11646" y="5817"/>
                  </a:lnTo>
                  <a:lnTo>
                    <a:pt x="11655" y="5817"/>
                  </a:lnTo>
                  <a:lnTo>
                    <a:pt x="11655" y="5808"/>
                  </a:lnTo>
                  <a:lnTo>
                    <a:pt x="11646" y="5817"/>
                  </a:lnTo>
                  <a:lnTo>
                    <a:pt x="11637" y="5817"/>
                  </a:lnTo>
                  <a:lnTo>
                    <a:pt x="11637" y="5825"/>
                  </a:lnTo>
                  <a:lnTo>
                    <a:pt x="11628" y="5825"/>
                  </a:lnTo>
                  <a:lnTo>
                    <a:pt x="11628" y="5834"/>
                  </a:lnTo>
                  <a:lnTo>
                    <a:pt x="11619" y="5834"/>
                  </a:lnTo>
                  <a:lnTo>
                    <a:pt x="11619" y="5843"/>
                  </a:lnTo>
                  <a:lnTo>
                    <a:pt x="11619" y="5834"/>
                  </a:lnTo>
                  <a:lnTo>
                    <a:pt x="11611" y="5834"/>
                  </a:lnTo>
                  <a:lnTo>
                    <a:pt x="11602" y="5834"/>
                  </a:lnTo>
                  <a:lnTo>
                    <a:pt x="11602" y="5825"/>
                  </a:lnTo>
                  <a:lnTo>
                    <a:pt x="11593" y="5825"/>
                  </a:lnTo>
                  <a:lnTo>
                    <a:pt x="11593" y="5834"/>
                  </a:lnTo>
                  <a:lnTo>
                    <a:pt x="11593" y="5843"/>
                  </a:lnTo>
                  <a:lnTo>
                    <a:pt x="11584" y="5843"/>
                  </a:lnTo>
                  <a:lnTo>
                    <a:pt x="11575" y="5843"/>
                  </a:lnTo>
                  <a:lnTo>
                    <a:pt x="11567" y="5843"/>
                  </a:lnTo>
                  <a:lnTo>
                    <a:pt x="11567" y="5852"/>
                  </a:lnTo>
                  <a:lnTo>
                    <a:pt x="11558" y="5852"/>
                  </a:lnTo>
                  <a:lnTo>
                    <a:pt x="11549" y="5852"/>
                  </a:lnTo>
                  <a:lnTo>
                    <a:pt x="11549" y="5861"/>
                  </a:lnTo>
                  <a:lnTo>
                    <a:pt x="11549" y="5870"/>
                  </a:lnTo>
                  <a:lnTo>
                    <a:pt x="11540" y="5878"/>
                  </a:lnTo>
                  <a:lnTo>
                    <a:pt x="11540" y="5887"/>
                  </a:lnTo>
                  <a:lnTo>
                    <a:pt x="11531" y="5905"/>
                  </a:lnTo>
                  <a:lnTo>
                    <a:pt x="11531" y="5914"/>
                  </a:lnTo>
                  <a:lnTo>
                    <a:pt x="11540" y="5922"/>
                  </a:lnTo>
                  <a:lnTo>
                    <a:pt x="11540" y="5949"/>
                  </a:lnTo>
                  <a:lnTo>
                    <a:pt x="11531" y="5958"/>
                  </a:lnTo>
                  <a:lnTo>
                    <a:pt x="11531" y="5984"/>
                  </a:lnTo>
                  <a:lnTo>
                    <a:pt x="11531" y="5993"/>
                  </a:lnTo>
                  <a:lnTo>
                    <a:pt x="11531" y="6002"/>
                  </a:lnTo>
                  <a:lnTo>
                    <a:pt x="11531" y="6011"/>
                  </a:lnTo>
                  <a:lnTo>
                    <a:pt x="11531" y="6020"/>
                  </a:lnTo>
                  <a:lnTo>
                    <a:pt x="11540" y="6028"/>
                  </a:lnTo>
                  <a:lnTo>
                    <a:pt x="11531" y="6028"/>
                  </a:lnTo>
                  <a:lnTo>
                    <a:pt x="11531" y="6037"/>
                  </a:lnTo>
                  <a:lnTo>
                    <a:pt x="11540" y="6037"/>
                  </a:lnTo>
                  <a:lnTo>
                    <a:pt x="11540" y="6046"/>
                  </a:lnTo>
                  <a:lnTo>
                    <a:pt x="11540" y="6055"/>
                  </a:lnTo>
                  <a:lnTo>
                    <a:pt x="11540" y="6046"/>
                  </a:lnTo>
                  <a:lnTo>
                    <a:pt x="11549" y="6046"/>
                  </a:lnTo>
                  <a:lnTo>
                    <a:pt x="11549" y="6037"/>
                  </a:lnTo>
                  <a:lnTo>
                    <a:pt x="11549" y="6046"/>
                  </a:lnTo>
                  <a:lnTo>
                    <a:pt x="11549" y="6037"/>
                  </a:lnTo>
                  <a:lnTo>
                    <a:pt x="11549" y="6028"/>
                  </a:lnTo>
                  <a:lnTo>
                    <a:pt x="11558" y="6028"/>
                  </a:lnTo>
                  <a:lnTo>
                    <a:pt x="11567" y="6028"/>
                  </a:lnTo>
                  <a:lnTo>
                    <a:pt x="11558" y="6020"/>
                  </a:lnTo>
                  <a:lnTo>
                    <a:pt x="11567" y="6020"/>
                  </a:lnTo>
                  <a:lnTo>
                    <a:pt x="11567" y="6011"/>
                  </a:lnTo>
                  <a:lnTo>
                    <a:pt x="11575" y="6011"/>
                  </a:lnTo>
                  <a:lnTo>
                    <a:pt x="11575" y="6020"/>
                  </a:lnTo>
                  <a:lnTo>
                    <a:pt x="11584" y="6020"/>
                  </a:lnTo>
                  <a:lnTo>
                    <a:pt x="11584" y="6028"/>
                  </a:lnTo>
                  <a:lnTo>
                    <a:pt x="11593" y="6028"/>
                  </a:lnTo>
                  <a:lnTo>
                    <a:pt x="11602" y="6028"/>
                  </a:lnTo>
                  <a:lnTo>
                    <a:pt x="11611" y="6028"/>
                  </a:lnTo>
                  <a:lnTo>
                    <a:pt x="11611" y="6037"/>
                  </a:lnTo>
                  <a:lnTo>
                    <a:pt x="11619" y="6046"/>
                  </a:lnTo>
                  <a:lnTo>
                    <a:pt x="11611" y="6055"/>
                  </a:lnTo>
                  <a:lnTo>
                    <a:pt x="11611" y="6064"/>
                  </a:lnTo>
                  <a:lnTo>
                    <a:pt x="11619" y="6055"/>
                  </a:lnTo>
                  <a:lnTo>
                    <a:pt x="11619" y="6037"/>
                  </a:lnTo>
                  <a:lnTo>
                    <a:pt x="11619" y="6028"/>
                  </a:lnTo>
                  <a:lnTo>
                    <a:pt x="11619" y="6020"/>
                  </a:lnTo>
                  <a:lnTo>
                    <a:pt x="11628" y="6020"/>
                  </a:lnTo>
                  <a:lnTo>
                    <a:pt x="11637" y="6028"/>
                  </a:lnTo>
                  <a:lnTo>
                    <a:pt x="11655" y="6028"/>
                  </a:lnTo>
                  <a:lnTo>
                    <a:pt x="11664" y="6020"/>
                  </a:lnTo>
                  <a:lnTo>
                    <a:pt x="11672" y="6020"/>
                  </a:lnTo>
                  <a:lnTo>
                    <a:pt x="11681" y="6011"/>
                  </a:lnTo>
                  <a:lnTo>
                    <a:pt x="11681" y="6002"/>
                  </a:lnTo>
                  <a:lnTo>
                    <a:pt x="11672" y="6002"/>
                  </a:lnTo>
                  <a:lnTo>
                    <a:pt x="11664" y="6002"/>
                  </a:lnTo>
                  <a:lnTo>
                    <a:pt x="11646" y="6002"/>
                  </a:lnTo>
                  <a:lnTo>
                    <a:pt x="11646" y="5993"/>
                  </a:lnTo>
                  <a:lnTo>
                    <a:pt x="11655" y="5993"/>
                  </a:lnTo>
                  <a:lnTo>
                    <a:pt x="11664" y="5993"/>
                  </a:lnTo>
                  <a:lnTo>
                    <a:pt x="11664" y="5984"/>
                  </a:lnTo>
                  <a:lnTo>
                    <a:pt x="11655" y="5984"/>
                  </a:lnTo>
                  <a:lnTo>
                    <a:pt x="11646" y="5984"/>
                  </a:lnTo>
                  <a:lnTo>
                    <a:pt x="11655" y="5984"/>
                  </a:lnTo>
                  <a:lnTo>
                    <a:pt x="11655" y="5975"/>
                  </a:lnTo>
                  <a:lnTo>
                    <a:pt x="11664" y="5975"/>
                  </a:lnTo>
                  <a:lnTo>
                    <a:pt x="11672" y="5975"/>
                  </a:lnTo>
                  <a:lnTo>
                    <a:pt x="11672" y="5967"/>
                  </a:lnTo>
                  <a:close/>
                  <a:moveTo>
                    <a:pt x="11558" y="6020"/>
                  </a:moveTo>
                  <a:lnTo>
                    <a:pt x="11549" y="6020"/>
                  </a:lnTo>
                  <a:lnTo>
                    <a:pt x="11549" y="6028"/>
                  </a:lnTo>
                  <a:lnTo>
                    <a:pt x="11540" y="6028"/>
                  </a:lnTo>
                  <a:lnTo>
                    <a:pt x="11540" y="6020"/>
                  </a:lnTo>
                  <a:lnTo>
                    <a:pt x="11540" y="6011"/>
                  </a:lnTo>
                  <a:lnTo>
                    <a:pt x="11540" y="6002"/>
                  </a:lnTo>
                  <a:lnTo>
                    <a:pt x="11540" y="6011"/>
                  </a:lnTo>
                  <a:lnTo>
                    <a:pt x="11549" y="6011"/>
                  </a:lnTo>
                  <a:lnTo>
                    <a:pt x="11558" y="6011"/>
                  </a:lnTo>
                  <a:close/>
                  <a:moveTo>
                    <a:pt x="11575" y="5878"/>
                  </a:moveTo>
                  <a:lnTo>
                    <a:pt x="11558" y="5887"/>
                  </a:lnTo>
                  <a:lnTo>
                    <a:pt x="11567" y="5878"/>
                  </a:lnTo>
                  <a:lnTo>
                    <a:pt x="11567" y="5870"/>
                  </a:lnTo>
                  <a:lnTo>
                    <a:pt x="11558" y="5870"/>
                  </a:lnTo>
                  <a:lnTo>
                    <a:pt x="11558" y="5861"/>
                  </a:lnTo>
                  <a:lnTo>
                    <a:pt x="11567" y="5861"/>
                  </a:lnTo>
                  <a:lnTo>
                    <a:pt x="11567" y="5870"/>
                  </a:lnTo>
                  <a:lnTo>
                    <a:pt x="11575" y="5870"/>
                  </a:lnTo>
                  <a:close/>
                  <a:moveTo>
                    <a:pt x="11637" y="6002"/>
                  </a:moveTo>
                  <a:lnTo>
                    <a:pt x="11628" y="6002"/>
                  </a:lnTo>
                  <a:lnTo>
                    <a:pt x="11619" y="6002"/>
                  </a:lnTo>
                  <a:lnTo>
                    <a:pt x="11611" y="5993"/>
                  </a:lnTo>
                  <a:lnTo>
                    <a:pt x="11611" y="5984"/>
                  </a:lnTo>
                  <a:lnTo>
                    <a:pt x="11619" y="5984"/>
                  </a:lnTo>
                  <a:lnTo>
                    <a:pt x="11619" y="5993"/>
                  </a:lnTo>
                  <a:lnTo>
                    <a:pt x="11628" y="5993"/>
                  </a:lnTo>
                  <a:lnTo>
                    <a:pt x="11637" y="5993"/>
                  </a:lnTo>
                  <a:close/>
                  <a:moveTo>
                    <a:pt x="11655" y="5834"/>
                  </a:moveTo>
                  <a:lnTo>
                    <a:pt x="11646" y="5834"/>
                  </a:lnTo>
                  <a:lnTo>
                    <a:pt x="11655" y="5843"/>
                  </a:lnTo>
                  <a:lnTo>
                    <a:pt x="11646" y="5834"/>
                  </a:lnTo>
                  <a:lnTo>
                    <a:pt x="11637" y="5834"/>
                  </a:lnTo>
                  <a:lnTo>
                    <a:pt x="11646" y="5834"/>
                  </a:lnTo>
                  <a:lnTo>
                    <a:pt x="11646" y="5825"/>
                  </a:lnTo>
                  <a:lnTo>
                    <a:pt x="11655" y="5825"/>
                  </a:lnTo>
                  <a:close/>
                  <a:moveTo>
                    <a:pt x="11505" y="5675"/>
                  </a:moveTo>
                  <a:lnTo>
                    <a:pt x="11505" y="5684"/>
                  </a:lnTo>
                  <a:lnTo>
                    <a:pt x="11496" y="5693"/>
                  </a:lnTo>
                  <a:lnTo>
                    <a:pt x="11478" y="5702"/>
                  </a:lnTo>
                  <a:lnTo>
                    <a:pt x="11469" y="5711"/>
                  </a:lnTo>
                  <a:lnTo>
                    <a:pt x="11461" y="5720"/>
                  </a:lnTo>
                  <a:lnTo>
                    <a:pt x="11452" y="5720"/>
                  </a:lnTo>
                  <a:lnTo>
                    <a:pt x="11452" y="5728"/>
                  </a:lnTo>
                  <a:lnTo>
                    <a:pt x="11443" y="5737"/>
                  </a:lnTo>
                  <a:lnTo>
                    <a:pt x="11434" y="5746"/>
                  </a:lnTo>
                  <a:lnTo>
                    <a:pt x="11434" y="5755"/>
                  </a:lnTo>
                  <a:lnTo>
                    <a:pt x="11443" y="5755"/>
                  </a:lnTo>
                  <a:lnTo>
                    <a:pt x="11443" y="5764"/>
                  </a:lnTo>
                  <a:lnTo>
                    <a:pt x="11443" y="5772"/>
                  </a:lnTo>
                  <a:lnTo>
                    <a:pt x="11452" y="5772"/>
                  </a:lnTo>
                  <a:lnTo>
                    <a:pt x="11461" y="5755"/>
                  </a:lnTo>
                  <a:lnTo>
                    <a:pt x="11469" y="5737"/>
                  </a:lnTo>
                  <a:lnTo>
                    <a:pt x="11478" y="5737"/>
                  </a:lnTo>
                  <a:lnTo>
                    <a:pt x="11478" y="5728"/>
                  </a:lnTo>
                  <a:lnTo>
                    <a:pt x="11487" y="5728"/>
                  </a:lnTo>
                  <a:lnTo>
                    <a:pt x="11496" y="5720"/>
                  </a:lnTo>
                  <a:lnTo>
                    <a:pt x="11505" y="5720"/>
                  </a:lnTo>
                  <a:lnTo>
                    <a:pt x="11505" y="5711"/>
                  </a:lnTo>
                  <a:lnTo>
                    <a:pt x="11505" y="5684"/>
                  </a:lnTo>
                  <a:lnTo>
                    <a:pt x="11505" y="5675"/>
                  </a:lnTo>
                  <a:lnTo>
                    <a:pt x="11514" y="5675"/>
                  </a:lnTo>
                  <a:lnTo>
                    <a:pt x="11514" y="5667"/>
                  </a:lnTo>
                  <a:lnTo>
                    <a:pt x="11514" y="5675"/>
                  </a:lnTo>
                  <a:close/>
                  <a:moveTo>
                    <a:pt x="11522" y="804"/>
                  </a:moveTo>
                  <a:lnTo>
                    <a:pt x="11531" y="795"/>
                  </a:lnTo>
                  <a:lnTo>
                    <a:pt x="11540" y="795"/>
                  </a:lnTo>
                  <a:lnTo>
                    <a:pt x="11558" y="795"/>
                  </a:lnTo>
                  <a:lnTo>
                    <a:pt x="11567" y="804"/>
                  </a:lnTo>
                  <a:lnTo>
                    <a:pt x="11575" y="804"/>
                  </a:lnTo>
                  <a:lnTo>
                    <a:pt x="11593" y="804"/>
                  </a:lnTo>
                  <a:lnTo>
                    <a:pt x="11593" y="795"/>
                  </a:lnTo>
                  <a:lnTo>
                    <a:pt x="11593" y="786"/>
                  </a:lnTo>
                  <a:lnTo>
                    <a:pt x="11602" y="777"/>
                  </a:lnTo>
                  <a:lnTo>
                    <a:pt x="11602" y="768"/>
                  </a:lnTo>
                  <a:lnTo>
                    <a:pt x="11593" y="768"/>
                  </a:lnTo>
                  <a:lnTo>
                    <a:pt x="11593" y="759"/>
                  </a:lnTo>
                  <a:lnTo>
                    <a:pt x="11602" y="759"/>
                  </a:lnTo>
                  <a:lnTo>
                    <a:pt x="11602" y="768"/>
                  </a:lnTo>
                  <a:lnTo>
                    <a:pt x="11611" y="768"/>
                  </a:lnTo>
                  <a:lnTo>
                    <a:pt x="11619" y="759"/>
                  </a:lnTo>
                  <a:lnTo>
                    <a:pt x="11619" y="751"/>
                  </a:lnTo>
                  <a:lnTo>
                    <a:pt x="11619" y="742"/>
                  </a:lnTo>
                  <a:lnTo>
                    <a:pt x="11611" y="742"/>
                  </a:lnTo>
                  <a:lnTo>
                    <a:pt x="11611" y="733"/>
                  </a:lnTo>
                  <a:lnTo>
                    <a:pt x="11611" y="724"/>
                  </a:lnTo>
                  <a:lnTo>
                    <a:pt x="11602" y="715"/>
                  </a:lnTo>
                  <a:lnTo>
                    <a:pt x="11593" y="715"/>
                  </a:lnTo>
                  <a:lnTo>
                    <a:pt x="11593" y="707"/>
                  </a:lnTo>
                  <a:lnTo>
                    <a:pt x="11593" y="698"/>
                  </a:lnTo>
                  <a:lnTo>
                    <a:pt x="11575" y="689"/>
                  </a:lnTo>
                  <a:lnTo>
                    <a:pt x="11549" y="671"/>
                  </a:lnTo>
                  <a:lnTo>
                    <a:pt x="11540" y="671"/>
                  </a:lnTo>
                  <a:lnTo>
                    <a:pt x="11531" y="671"/>
                  </a:lnTo>
                  <a:lnTo>
                    <a:pt x="11531" y="662"/>
                  </a:lnTo>
                  <a:lnTo>
                    <a:pt x="11522" y="662"/>
                  </a:lnTo>
                  <a:lnTo>
                    <a:pt x="11514" y="654"/>
                  </a:lnTo>
                  <a:lnTo>
                    <a:pt x="11514" y="645"/>
                  </a:lnTo>
                  <a:lnTo>
                    <a:pt x="11505" y="645"/>
                  </a:lnTo>
                  <a:lnTo>
                    <a:pt x="11496" y="645"/>
                  </a:lnTo>
                  <a:lnTo>
                    <a:pt x="11496" y="636"/>
                  </a:lnTo>
                  <a:lnTo>
                    <a:pt x="11487" y="636"/>
                  </a:lnTo>
                  <a:lnTo>
                    <a:pt x="11487" y="645"/>
                  </a:lnTo>
                  <a:lnTo>
                    <a:pt x="11487" y="636"/>
                  </a:lnTo>
                  <a:lnTo>
                    <a:pt x="11478" y="627"/>
                  </a:lnTo>
                  <a:lnTo>
                    <a:pt x="11469" y="627"/>
                  </a:lnTo>
                  <a:lnTo>
                    <a:pt x="11461" y="627"/>
                  </a:lnTo>
                  <a:lnTo>
                    <a:pt x="11452" y="645"/>
                  </a:lnTo>
                  <a:lnTo>
                    <a:pt x="11452" y="654"/>
                  </a:lnTo>
                  <a:lnTo>
                    <a:pt x="11443" y="654"/>
                  </a:lnTo>
                  <a:lnTo>
                    <a:pt x="11425" y="654"/>
                  </a:lnTo>
                  <a:lnTo>
                    <a:pt x="11425" y="662"/>
                  </a:lnTo>
                  <a:lnTo>
                    <a:pt x="11417" y="662"/>
                  </a:lnTo>
                  <a:lnTo>
                    <a:pt x="11417" y="671"/>
                  </a:lnTo>
                  <a:lnTo>
                    <a:pt x="11417" y="680"/>
                  </a:lnTo>
                  <a:lnTo>
                    <a:pt x="11408" y="680"/>
                  </a:lnTo>
                  <a:lnTo>
                    <a:pt x="11399" y="680"/>
                  </a:lnTo>
                  <a:lnTo>
                    <a:pt x="11390" y="680"/>
                  </a:lnTo>
                  <a:lnTo>
                    <a:pt x="11399" y="680"/>
                  </a:lnTo>
                  <a:lnTo>
                    <a:pt x="11390" y="689"/>
                  </a:lnTo>
                  <a:lnTo>
                    <a:pt x="11399" y="689"/>
                  </a:lnTo>
                  <a:lnTo>
                    <a:pt x="11417" y="698"/>
                  </a:lnTo>
                  <a:lnTo>
                    <a:pt x="11425" y="707"/>
                  </a:lnTo>
                  <a:lnTo>
                    <a:pt x="11434" y="715"/>
                  </a:lnTo>
                  <a:lnTo>
                    <a:pt x="11434" y="724"/>
                  </a:lnTo>
                  <a:lnTo>
                    <a:pt x="11443" y="724"/>
                  </a:lnTo>
                  <a:lnTo>
                    <a:pt x="11443" y="733"/>
                  </a:lnTo>
                  <a:lnTo>
                    <a:pt x="11443" y="742"/>
                  </a:lnTo>
                  <a:lnTo>
                    <a:pt x="11443" y="751"/>
                  </a:lnTo>
                  <a:lnTo>
                    <a:pt x="11452" y="759"/>
                  </a:lnTo>
                  <a:lnTo>
                    <a:pt x="11461" y="759"/>
                  </a:lnTo>
                  <a:lnTo>
                    <a:pt x="11461" y="768"/>
                  </a:lnTo>
                  <a:lnTo>
                    <a:pt x="11469" y="768"/>
                  </a:lnTo>
                  <a:lnTo>
                    <a:pt x="11469" y="777"/>
                  </a:lnTo>
                  <a:lnTo>
                    <a:pt x="11478" y="795"/>
                  </a:lnTo>
                  <a:lnTo>
                    <a:pt x="11478" y="804"/>
                  </a:lnTo>
                  <a:lnTo>
                    <a:pt x="11487" y="804"/>
                  </a:lnTo>
                  <a:lnTo>
                    <a:pt x="11487" y="812"/>
                  </a:lnTo>
                  <a:lnTo>
                    <a:pt x="11487" y="821"/>
                  </a:lnTo>
                  <a:lnTo>
                    <a:pt x="11487" y="830"/>
                  </a:lnTo>
                  <a:lnTo>
                    <a:pt x="11478" y="830"/>
                  </a:lnTo>
                  <a:lnTo>
                    <a:pt x="11487" y="830"/>
                  </a:lnTo>
                  <a:lnTo>
                    <a:pt x="11496" y="830"/>
                  </a:lnTo>
                  <a:lnTo>
                    <a:pt x="11505" y="830"/>
                  </a:lnTo>
                  <a:lnTo>
                    <a:pt x="11514" y="830"/>
                  </a:lnTo>
                  <a:lnTo>
                    <a:pt x="11522" y="830"/>
                  </a:lnTo>
                  <a:lnTo>
                    <a:pt x="11522" y="821"/>
                  </a:lnTo>
                  <a:lnTo>
                    <a:pt x="11522" y="812"/>
                  </a:lnTo>
                  <a:close/>
                </a:path>
              </a:pathLst>
            </a:custGeom>
            <a:solidFill>
              <a:schemeClr val="bg1"/>
            </a:solidFill>
            <a:ln w="6350" cap="flat" cmpd="sng" algn="ctr">
              <a:no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54565A"/>
                </a:solidFill>
                <a:effectLst/>
                <a:uLnTx/>
                <a:uFillTx/>
                <a:latin typeface="Arial"/>
                <a:ea typeface="+mn-ea"/>
                <a:cs typeface="Arial"/>
              </a:endParaRPr>
            </a:p>
          </p:txBody>
        </p:sp>
      </p:grpSp>
      <p:sp>
        <p:nvSpPr>
          <p:cNvPr id="165" name="Rectangle 164"/>
          <p:cNvSpPr/>
          <p:nvPr/>
        </p:nvSpPr>
        <p:spPr>
          <a:xfrm>
            <a:off x="8534400" y="4435461"/>
            <a:ext cx="1783422" cy="18288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61" name="Rectangle 160"/>
          <p:cNvSpPr/>
          <p:nvPr/>
        </p:nvSpPr>
        <p:spPr>
          <a:xfrm>
            <a:off x="8534400" y="1149203"/>
            <a:ext cx="3276599" cy="249966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60" name="Rectangle 159"/>
          <p:cNvSpPr/>
          <p:nvPr/>
        </p:nvSpPr>
        <p:spPr>
          <a:xfrm>
            <a:off x="385762" y="2078356"/>
            <a:ext cx="3182938" cy="85070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 name="Title 1"/>
          <p:cNvSpPr>
            <a:spLocks noGrp="1"/>
          </p:cNvSpPr>
          <p:nvPr>
            <p:ph type="title"/>
          </p:nvPr>
        </p:nvSpPr>
        <p:spPr/>
        <p:txBody>
          <a:bodyPr/>
          <a:lstStyle/>
          <a:p>
            <a:r>
              <a:rPr lang="en-US" dirty="0"/>
              <a:t>Global Locations and Resources</a:t>
            </a:r>
            <a:endParaRPr lang="en-CA" dirty="0"/>
          </a:p>
        </p:txBody>
      </p:sp>
      <p:cxnSp>
        <p:nvCxnSpPr>
          <p:cNvPr id="20" name="Straight Connector 19"/>
          <p:cNvCxnSpPr/>
          <p:nvPr/>
        </p:nvCxnSpPr>
        <p:spPr>
          <a:xfrm>
            <a:off x="3576638" y="3360738"/>
            <a:ext cx="244474" cy="0"/>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568700" y="2769393"/>
            <a:ext cx="605082"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74256" y="3958431"/>
            <a:ext cx="1216819" cy="0"/>
          </a:xfrm>
          <a:prstGeom prst="line">
            <a:avLst/>
          </a:prstGeom>
          <a:ln w="12700" cap="sq">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581799" y="2133600"/>
            <a:ext cx="1881188" cy="330842"/>
          </a:xfrm>
          <a:prstGeom prst="rect">
            <a:avLst/>
          </a:prstGeom>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Windsor, Ontario, Canada</a:t>
            </a:r>
            <a:r>
              <a:rPr kumimoji="0" lang="en-CA" sz="1200" b="0" i="0" u="none" strike="noStrike" kern="1200" cap="none" spc="0" normalizeH="0" baseline="0" noProof="0" dirty="0">
                <a:ln>
                  <a:noFill/>
                </a:ln>
                <a:solidFill>
                  <a:srgbClr val="54565A"/>
                </a:solidFill>
                <a:effectLst/>
                <a:uLnTx/>
                <a:uFillTx/>
                <a:latin typeface="Gilroy"/>
                <a:ea typeface="+mn-ea"/>
                <a:cs typeface="+mn-cs"/>
              </a:rPr>
              <a:t/>
            </a:r>
            <a:br>
              <a:rPr kumimoji="0" lang="en-CA" sz="1200" b="0" i="0" u="none" strike="noStrike" kern="1200" cap="none" spc="0" normalizeH="0" baseline="0" noProof="0" dirty="0">
                <a:ln>
                  <a:noFill/>
                </a:ln>
                <a:solidFill>
                  <a:srgbClr val="54565A"/>
                </a:solidFill>
                <a:effectLst/>
                <a:uLnTx/>
                <a:uFillTx/>
                <a:latin typeface="Gilroy"/>
                <a:ea typeface="+mn-ea"/>
                <a:cs typeface="+mn-cs"/>
              </a:rPr>
            </a:br>
            <a:r>
              <a:rPr kumimoji="0" lang="en-CA" sz="1000" b="0" i="0" u="none" strike="noStrike" kern="1200" cap="none" spc="0" normalizeH="0" baseline="0" noProof="0" dirty="0">
                <a:ln>
                  <a:noFill/>
                </a:ln>
                <a:solidFill>
                  <a:srgbClr val="54565A"/>
                </a:solidFill>
                <a:effectLst/>
                <a:uLnTx/>
                <a:uFillTx/>
                <a:latin typeface="Gilroy"/>
                <a:ea typeface="+mn-ea"/>
                <a:cs typeface="+mn-cs"/>
              </a:rPr>
              <a:t>6 Locations</a:t>
            </a:r>
          </a:p>
        </p:txBody>
      </p:sp>
      <p:sp>
        <p:nvSpPr>
          <p:cNvPr id="27" name="TextBox 26"/>
          <p:cNvSpPr txBox="1"/>
          <p:nvPr/>
        </p:nvSpPr>
        <p:spPr>
          <a:xfrm>
            <a:off x="1473332" y="2687753"/>
            <a:ext cx="1989655" cy="182880"/>
          </a:xfrm>
          <a:prstGeom prst="rect">
            <a:avLst/>
          </a:prstGeom>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Auburn Hills, Michigan, USA</a:t>
            </a:r>
            <a:endParaRPr kumimoji="0" lang="en-CA" sz="1000" b="0" i="0" u="none" strike="noStrike" kern="1200" cap="none" spc="0" normalizeH="0" baseline="0" noProof="0" dirty="0">
              <a:ln>
                <a:noFill/>
              </a:ln>
              <a:solidFill>
                <a:srgbClr val="898A8D"/>
              </a:solidFill>
              <a:effectLst/>
              <a:uLnTx/>
              <a:uFillTx/>
              <a:latin typeface="Gilroy Bold"/>
              <a:ea typeface="+mn-ea"/>
              <a:cs typeface="+mn-cs"/>
            </a:endParaRPr>
          </a:p>
        </p:txBody>
      </p:sp>
      <p:sp>
        <p:nvSpPr>
          <p:cNvPr id="28" name="TextBox 27"/>
          <p:cNvSpPr txBox="1"/>
          <p:nvPr/>
        </p:nvSpPr>
        <p:spPr>
          <a:xfrm>
            <a:off x="2086010" y="3256230"/>
            <a:ext cx="1376977" cy="182880"/>
          </a:xfrm>
          <a:prstGeom prst="rect">
            <a:avLst/>
          </a:prstGeom>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Querétaro, Mexico</a:t>
            </a:r>
          </a:p>
        </p:txBody>
      </p:sp>
      <p:sp>
        <p:nvSpPr>
          <p:cNvPr id="29" name="TextBox 28"/>
          <p:cNvSpPr txBox="1"/>
          <p:nvPr/>
        </p:nvSpPr>
        <p:spPr>
          <a:xfrm>
            <a:off x="2249036" y="3860643"/>
            <a:ext cx="1213951" cy="182880"/>
          </a:xfrm>
          <a:prstGeom prst="rect">
            <a:avLst/>
          </a:prstGeom>
        </p:spPr>
        <p:txBody>
          <a:bodyPr vert="horz"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São Paulo, Brazil</a:t>
            </a:r>
          </a:p>
        </p:txBody>
      </p:sp>
      <p:cxnSp>
        <p:nvCxnSpPr>
          <p:cNvPr id="31" name="Straight Connector 30"/>
          <p:cNvCxnSpPr/>
          <p:nvPr/>
        </p:nvCxnSpPr>
        <p:spPr>
          <a:xfrm flipH="1">
            <a:off x="7038975" y="4519611"/>
            <a:ext cx="1495424" cy="0"/>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7" idx="6"/>
          </p:cNvCxnSpPr>
          <p:nvPr/>
        </p:nvCxnSpPr>
        <p:spPr>
          <a:xfrm>
            <a:off x="7280427" y="2617792"/>
            <a:ext cx="125397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249193" y="2092228"/>
            <a:ext cx="1031234" cy="1051128"/>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9" name="Oval 38"/>
          <p:cNvSpPr>
            <a:spLocks noChangeAspect="1"/>
          </p:cNvSpPr>
          <p:nvPr/>
        </p:nvSpPr>
        <p:spPr>
          <a:xfrm>
            <a:off x="6333906" y="2794040"/>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40" name="Oval 39"/>
          <p:cNvSpPr>
            <a:spLocks noChangeAspect="1"/>
          </p:cNvSpPr>
          <p:nvPr/>
        </p:nvSpPr>
        <p:spPr>
          <a:xfrm>
            <a:off x="6512294" y="2506825"/>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41" name="Oval 40"/>
          <p:cNvSpPr>
            <a:spLocks noChangeAspect="1"/>
          </p:cNvSpPr>
          <p:nvPr/>
        </p:nvSpPr>
        <p:spPr>
          <a:xfrm>
            <a:off x="6560751" y="2601124"/>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42" name="Oval 41"/>
          <p:cNvSpPr>
            <a:spLocks noChangeAspect="1"/>
          </p:cNvSpPr>
          <p:nvPr/>
        </p:nvSpPr>
        <p:spPr>
          <a:xfrm>
            <a:off x="6688506" y="2594932"/>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43" name="Oval 42"/>
          <p:cNvSpPr>
            <a:spLocks noChangeAspect="1"/>
          </p:cNvSpPr>
          <p:nvPr/>
        </p:nvSpPr>
        <p:spPr>
          <a:xfrm>
            <a:off x="6748513" y="2545678"/>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grpSp>
        <p:nvGrpSpPr>
          <p:cNvPr id="46" name="Group 45"/>
          <p:cNvGrpSpPr/>
          <p:nvPr/>
        </p:nvGrpSpPr>
        <p:grpSpPr>
          <a:xfrm>
            <a:off x="4173782" y="2674143"/>
            <a:ext cx="190500" cy="190500"/>
            <a:chOff x="4173782" y="2674144"/>
            <a:chExt cx="190500" cy="190500"/>
          </a:xfrm>
        </p:grpSpPr>
        <p:sp>
          <p:nvSpPr>
            <p:cNvPr id="8" name="Oval 7"/>
            <p:cNvSpPr/>
            <p:nvPr/>
          </p:nvSpPr>
          <p:spPr>
            <a:xfrm>
              <a:off x="4173782" y="2674144"/>
              <a:ext cx="190500" cy="190500"/>
            </a:xfrm>
            <a:prstGeom prst="ellipse">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8" name="Oval 37"/>
            <p:cNvSpPr>
              <a:spLocks noChangeAspect="1"/>
            </p:cNvSpPr>
            <p:nvPr/>
          </p:nvSpPr>
          <p:spPr>
            <a:xfrm>
              <a:off x="4223384" y="2739390"/>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68" name="Oval 67"/>
            <p:cNvSpPr>
              <a:spLocks noChangeAspect="1"/>
            </p:cNvSpPr>
            <p:nvPr/>
          </p:nvSpPr>
          <p:spPr>
            <a:xfrm>
              <a:off x="4276724" y="2756059"/>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grpSp>
      <p:sp>
        <p:nvSpPr>
          <p:cNvPr id="71" name="Oval 70"/>
          <p:cNvSpPr>
            <a:spLocks noChangeAspect="1"/>
          </p:cNvSpPr>
          <p:nvPr/>
        </p:nvSpPr>
        <p:spPr>
          <a:xfrm>
            <a:off x="6776613" y="2499682"/>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2" name="Oval 71"/>
          <p:cNvSpPr>
            <a:spLocks noChangeAspect="1"/>
          </p:cNvSpPr>
          <p:nvPr/>
        </p:nvSpPr>
        <p:spPr>
          <a:xfrm>
            <a:off x="6838525" y="2678275"/>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75" name="TextBox 74"/>
          <p:cNvSpPr txBox="1"/>
          <p:nvPr/>
        </p:nvSpPr>
        <p:spPr>
          <a:xfrm>
            <a:off x="8670215" y="1170634"/>
            <a:ext cx="1881188" cy="2410766"/>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Linz, Austria</a:t>
            </a:r>
            <a:r>
              <a:rPr kumimoji="0" lang="en-CA" sz="1200" b="0" i="0" u="none" strike="noStrike" kern="1200" cap="none" spc="0" normalizeH="0" baseline="0" noProof="0" dirty="0">
                <a:ln>
                  <a:noFill/>
                </a:ln>
                <a:solidFill>
                  <a:srgbClr val="54565A"/>
                </a:solidFill>
                <a:effectLst/>
                <a:uLnTx/>
                <a:uFillTx/>
                <a:latin typeface="Gilroy"/>
                <a:ea typeface="+mn-ea"/>
                <a:cs typeface="+mn-cs"/>
              </a:rPr>
              <a:t/>
            </a:r>
            <a:br>
              <a:rPr kumimoji="0" lang="en-CA" sz="1200" b="0" i="0" u="none" strike="noStrike" kern="1200" cap="none" spc="0" normalizeH="0" baseline="0" noProof="0" dirty="0">
                <a:ln>
                  <a:noFill/>
                </a:ln>
                <a:solidFill>
                  <a:srgbClr val="54565A"/>
                </a:solidFill>
                <a:effectLst/>
                <a:uLnTx/>
                <a:uFillTx/>
                <a:latin typeface="Gilroy"/>
                <a:ea typeface="+mn-ea"/>
                <a:cs typeface="+mn-cs"/>
              </a:rPr>
            </a:br>
            <a:r>
              <a:rPr kumimoji="0" lang="en-CA" sz="1000" b="0" i="0" u="none" strike="noStrike" kern="1200" cap="none" spc="0" normalizeH="0" baseline="0" noProof="0" dirty="0">
                <a:ln>
                  <a:noFill/>
                </a:ln>
                <a:solidFill>
                  <a:srgbClr val="54565A"/>
                </a:solidFill>
                <a:effectLst/>
                <a:uLnTx/>
                <a:uFillTx/>
                <a:latin typeface="Gilroy"/>
                <a:ea typeface="+mn-ea"/>
                <a:cs typeface="+mn-cs"/>
              </a:rPr>
              <a:t>2 Location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Sarleinsbach, Austri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Cologne, German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Augsburg, German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Olomouc, Czech Republic</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Gliwice, Polan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Oradea Romani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Kaluga, Russi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54565A"/>
                </a:solidFill>
                <a:effectLst/>
                <a:uLnTx/>
                <a:uFillTx/>
                <a:latin typeface="Gilroy Bold"/>
                <a:ea typeface="+mn-ea"/>
                <a:cs typeface="+mn-cs"/>
              </a:rPr>
              <a:t>Barcelona, Spain</a:t>
            </a:r>
          </a:p>
        </p:txBody>
      </p:sp>
      <p:sp>
        <p:nvSpPr>
          <p:cNvPr id="85" name="TextBox 84"/>
          <p:cNvSpPr txBox="1"/>
          <p:nvPr/>
        </p:nvSpPr>
        <p:spPr>
          <a:xfrm>
            <a:off x="8637335" y="4074018"/>
            <a:ext cx="1881188" cy="18288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Pune, India</a:t>
            </a:r>
            <a:endParaRPr kumimoji="0" lang="en-CA" sz="1000" b="0" i="0" u="none" strike="noStrike" kern="1200" cap="none" spc="0" normalizeH="0" baseline="0" noProof="0" dirty="0">
              <a:ln>
                <a:noFill/>
              </a:ln>
              <a:solidFill>
                <a:srgbClr val="898A8D"/>
              </a:solidFill>
              <a:effectLst/>
              <a:uLnTx/>
              <a:uFillTx/>
              <a:latin typeface="Gilroy Bold"/>
              <a:ea typeface="+mn-ea"/>
              <a:cs typeface="+mn-cs"/>
            </a:endParaRPr>
          </a:p>
        </p:txBody>
      </p:sp>
      <p:sp>
        <p:nvSpPr>
          <p:cNvPr id="86" name="TextBox 85"/>
          <p:cNvSpPr txBox="1"/>
          <p:nvPr/>
        </p:nvSpPr>
        <p:spPr>
          <a:xfrm>
            <a:off x="8637335" y="4435461"/>
            <a:ext cx="1881188" cy="18288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54565A"/>
                </a:solidFill>
                <a:effectLst/>
                <a:uLnTx/>
                <a:uFillTx/>
                <a:latin typeface="Gilroy Bold"/>
                <a:ea typeface="+mn-ea"/>
                <a:cs typeface="+mn-cs"/>
              </a:rPr>
              <a:t>Pretoria, South Africa</a:t>
            </a:r>
            <a:endParaRPr kumimoji="0" lang="en-CA" sz="1000" b="0" i="0" u="none" strike="noStrike" kern="1200" cap="none" spc="0" normalizeH="0" baseline="0" noProof="0" dirty="0">
              <a:ln>
                <a:noFill/>
              </a:ln>
              <a:solidFill>
                <a:srgbClr val="898A8D"/>
              </a:solidFill>
              <a:effectLst/>
              <a:uLnTx/>
              <a:uFillTx/>
              <a:latin typeface="Gilroy Bold"/>
              <a:ea typeface="+mn-ea"/>
              <a:cs typeface="+mn-cs"/>
            </a:endParaRPr>
          </a:p>
        </p:txBody>
      </p:sp>
      <p:grpSp>
        <p:nvGrpSpPr>
          <p:cNvPr id="234" name="Group 233"/>
          <p:cNvGrpSpPr/>
          <p:nvPr/>
        </p:nvGrpSpPr>
        <p:grpSpPr>
          <a:xfrm>
            <a:off x="459687" y="2143829"/>
            <a:ext cx="1054703" cy="155448"/>
            <a:chOff x="459687" y="2143829"/>
            <a:chExt cx="1054703" cy="155448"/>
          </a:xfrm>
        </p:grpSpPr>
        <p:sp>
          <p:nvSpPr>
            <p:cNvPr id="87"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88" name="Oval 87"/>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89" name="Oval 88"/>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90" name="Oval 89"/>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91" name="Oval 90"/>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92" name="Oval 91"/>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sp>
        <p:nvSpPr>
          <p:cNvPr id="102" name="Oval 101"/>
          <p:cNvSpPr>
            <a:spLocks noChangeAspect="1"/>
          </p:cNvSpPr>
          <p:nvPr/>
        </p:nvSpPr>
        <p:spPr>
          <a:xfrm>
            <a:off x="7144568" y="2392609"/>
            <a:ext cx="45720" cy="457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Gilroy"/>
              <a:ea typeface="+mn-ea"/>
              <a:cs typeface="+mn-cs"/>
            </a:endParaRPr>
          </a:p>
        </p:txBody>
      </p:sp>
      <p:grpSp>
        <p:nvGrpSpPr>
          <p:cNvPr id="236" name="Group 235"/>
          <p:cNvGrpSpPr/>
          <p:nvPr/>
        </p:nvGrpSpPr>
        <p:grpSpPr>
          <a:xfrm>
            <a:off x="381963" y="4926589"/>
            <a:ext cx="1060280" cy="1112180"/>
            <a:chOff x="381963" y="4926589"/>
            <a:chExt cx="1060280" cy="1112180"/>
          </a:xfrm>
        </p:grpSpPr>
        <p:sp>
          <p:nvSpPr>
            <p:cNvPr id="62" name="TextBox 61"/>
            <p:cNvSpPr txBox="1"/>
            <p:nvPr/>
          </p:nvSpPr>
          <p:spPr>
            <a:xfrm>
              <a:off x="626110" y="492658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Sales</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sp>
          <p:nvSpPr>
            <p:cNvPr id="63" name="TextBox 62"/>
            <p:cNvSpPr txBox="1"/>
            <p:nvPr/>
          </p:nvSpPr>
          <p:spPr>
            <a:xfrm>
              <a:off x="626110" y="511244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Engineering</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sp>
          <p:nvSpPr>
            <p:cNvPr id="64" name="TextBox 63"/>
            <p:cNvSpPr txBox="1"/>
            <p:nvPr/>
          </p:nvSpPr>
          <p:spPr>
            <a:xfrm>
              <a:off x="626110" y="529830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Manufacturing</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sp>
          <p:nvSpPr>
            <p:cNvPr id="65" name="TextBox 64"/>
            <p:cNvSpPr txBox="1"/>
            <p:nvPr/>
          </p:nvSpPr>
          <p:spPr>
            <a:xfrm>
              <a:off x="626110" y="548416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Service</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sp>
          <p:nvSpPr>
            <p:cNvPr id="66" name="TextBox 65"/>
            <p:cNvSpPr txBox="1"/>
            <p:nvPr/>
          </p:nvSpPr>
          <p:spPr>
            <a:xfrm>
              <a:off x="626110" y="567002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Procurement</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sp>
          <p:nvSpPr>
            <p:cNvPr id="67" name="TextBox 66"/>
            <p:cNvSpPr txBox="1"/>
            <p:nvPr/>
          </p:nvSpPr>
          <p:spPr>
            <a:xfrm>
              <a:off x="626110" y="5855889"/>
              <a:ext cx="816133" cy="18288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mn-cs"/>
                </a:rPr>
                <a:t>Quality</a:t>
              </a:r>
              <a:endParaRPr kumimoji="0" lang="en-CA" sz="600" b="0" i="0" u="none" strike="noStrike" kern="1200" cap="none" spc="0" normalizeH="0" baseline="0" noProof="0" dirty="0">
                <a:ln>
                  <a:noFill/>
                </a:ln>
                <a:solidFill>
                  <a:srgbClr val="54565A"/>
                </a:solidFill>
                <a:effectLst/>
                <a:uLnTx/>
                <a:uFillTx/>
                <a:latin typeface="Gilroy"/>
                <a:ea typeface="+mn-ea"/>
                <a:cs typeface="+mn-cs"/>
              </a:endParaRPr>
            </a:p>
          </p:txBody>
        </p:sp>
        <p:grpSp>
          <p:nvGrpSpPr>
            <p:cNvPr id="235" name="Group 234"/>
            <p:cNvGrpSpPr/>
            <p:nvPr/>
          </p:nvGrpSpPr>
          <p:grpSpPr>
            <a:xfrm>
              <a:off x="381963" y="4940305"/>
              <a:ext cx="155675" cy="1079495"/>
              <a:chOff x="381963" y="4940305"/>
              <a:chExt cx="155675" cy="1079495"/>
            </a:xfrm>
          </p:grpSpPr>
          <p:sp>
            <p:nvSpPr>
              <p:cNvPr id="104" name="Oval 103"/>
              <p:cNvSpPr>
                <a:spLocks noChangeAspect="1"/>
              </p:cNvSpPr>
              <p:nvPr/>
            </p:nvSpPr>
            <p:spPr>
              <a:xfrm>
                <a:off x="382190" y="4940305"/>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105" name="Oval 104"/>
              <p:cNvSpPr>
                <a:spLocks noChangeAspect="1"/>
              </p:cNvSpPr>
              <p:nvPr/>
            </p:nvSpPr>
            <p:spPr>
              <a:xfrm>
                <a:off x="382190" y="5125316"/>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106" name="Oval 105"/>
              <p:cNvSpPr>
                <a:spLocks noChangeAspect="1"/>
              </p:cNvSpPr>
              <p:nvPr/>
            </p:nvSpPr>
            <p:spPr>
              <a:xfrm>
                <a:off x="381963" y="5310327"/>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107" name="Oval 106"/>
              <p:cNvSpPr>
                <a:spLocks noChangeAspect="1"/>
              </p:cNvSpPr>
              <p:nvPr/>
            </p:nvSpPr>
            <p:spPr>
              <a:xfrm>
                <a:off x="381963" y="5495002"/>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108" name="Oval 107"/>
              <p:cNvSpPr>
                <a:spLocks noChangeAspect="1"/>
              </p:cNvSpPr>
              <p:nvPr/>
            </p:nvSpPr>
            <p:spPr>
              <a:xfrm>
                <a:off x="381963" y="5679677"/>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109" name="Oval 108"/>
              <p:cNvSpPr>
                <a:spLocks noChangeAspect="1"/>
              </p:cNvSpPr>
              <p:nvPr/>
            </p:nvSpPr>
            <p:spPr>
              <a:xfrm>
                <a:off x="381963" y="5864352"/>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grpSp>
        <p:nvGrpSpPr>
          <p:cNvPr id="82" name="Group 81"/>
          <p:cNvGrpSpPr/>
          <p:nvPr/>
        </p:nvGrpSpPr>
        <p:grpSpPr>
          <a:xfrm>
            <a:off x="3135105" y="5574400"/>
            <a:ext cx="5921789" cy="583407"/>
            <a:chOff x="6091237" y="4579043"/>
            <a:chExt cx="5921789" cy="583407"/>
          </a:xfrm>
        </p:grpSpPr>
        <p:sp>
          <p:nvSpPr>
            <p:cNvPr id="83" name="TextBox 82"/>
            <p:cNvSpPr txBox="1"/>
            <p:nvPr/>
          </p:nvSpPr>
          <p:spPr>
            <a:xfrm>
              <a:off x="6091237" y="4579043"/>
              <a:ext cx="995363" cy="58340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4565A"/>
                  </a:solidFill>
                  <a:effectLst/>
                  <a:uLnTx/>
                  <a:uFillTx/>
                  <a:latin typeface="Gilroy Bold"/>
                  <a:ea typeface="+mn-ea"/>
                  <a:cs typeface="+mn-cs"/>
                </a:rPr>
                <a:t>1,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A"/>
                  </a:solidFill>
                  <a:effectLst/>
                  <a:uLnTx/>
                  <a:uFillTx/>
                  <a:latin typeface="Gilroy"/>
                  <a:ea typeface="+mn-ea"/>
                  <a:cs typeface="+mn-cs"/>
                </a:rPr>
                <a:t>Team Members</a:t>
              </a:r>
              <a:endParaRPr kumimoji="0" lang="en-CA" sz="1100" b="0" i="0" u="none" strike="noStrike" kern="1200" cap="none" spc="0" normalizeH="0" baseline="0" noProof="0" dirty="0">
                <a:ln>
                  <a:noFill/>
                </a:ln>
                <a:solidFill>
                  <a:srgbClr val="54565A"/>
                </a:solidFill>
                <a:effectLst/>
                <a:uLnTx/>
                <a:uFillTx/>
                <a:latin typeface="Gilroy"/>
                <a:ea typeface="+mn-ea"/>
                <a:cs typeface="+mn-cs"/>
              </a:endParaRPr>
            </a:p>
          </p:txBody>
        </p:sp>
        <p:sp>
          <p:nvSpPr>
            <p:cNvPr id="84" name="TextBox 83"/>
            <p:cNvSpPr txBox="1"/>
            <p:nvPr/>
          </p:nvSpPr>
          <p:spPr>
            <a:xfrm>
              <a:off x="7339765" y="4579043"/>
              <a:ext cx="690444" cy="58340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4565A"/>
                  </a:solidFill>
                  <a:effectLst/>
                  <a:uLnTx/>
                  <a:uFillTx/>
                  <a:latin typeface="Gilroy Bold"/>
                  <a:ea typeface="+mn-ea"/>
                  <a:cs typeface="+mn-cs"/>
                </a:rPr>
                <a:t>20</a:t>
              </a:r>
              <a:endParaRPr kumimoji="0" lang="en-US" sz="2800" b="0" i="0" u="none" strike="noStrike" kern="1200" cap="none" spc="0" normalizeH="0" baseline="0" noProof="0" dirty="0">
                <a:ln>
                  <a:noFill/>
                </a:ln>
                <a:solidFill>
                  <a:srgbClr val="54565A"/>
                </a:solidFill>
                <a:effectLst/>
                <a:uLnTx/>
                <a:uFillTx/>
                <a:latin typeface="Gilroy Bold"/>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A"/>
                  </a:solidFill>
                  <a:effectLst/>
                  <a:uLnTx/>
                  <a:uFillTx/>
                  <a:latin typeface="Gilroy"/>
                  <a:ea typeface="+mn-ea"/>
                  <a:cs typeface="+mn-cs"/>
                </a:rPr>
                <a:t>Locations</a:t>
              </a:r>
              <a:endParaRPr kumimoji="0" lang="en-CA" sz="1100" b="0" i="0" u="none" strike="noStrike" kern="1200" cap="none" spc="0" normalizeH="0" baseline="0" noProof="0" dirty="0">
                <a:ln>
                  <a:noFill/>
                </a:ln>
                <a:solidFill>
                  <a:srgbClr val="54565A"/>
                </a:solidFill>
                <a:effectLst/>
                <a:uLnTx/>
                <a:uFillTx/>
                <a:latin typeface="Gilroy"/>
                <a:ea typeface="+mn-ea"/>
                <a:cs typeface="+mn-cs"/>
              </a:endParaRPr>
            </a:p>
          </p:txBody>
        </p:sp>
        <p:sp>
          <p:nvSpPr>
            <p:cNvPr id="93" name="TextBox 92"/>
            <p:cNvSpPr txBox="1"/>
            <p:nvPr/>
          </p:nvSpPr>
          <p:spPr>
            <a:xfrm>
              <a:off x="8283374" y="4579043"/>
              <a:ext cx="685800" cy="58340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4565A"/>
                  </a:solidFill>
                  <a:effectLst/>
                  <a:uLnTx/>
                  <a:uFillTx/>
                  <a:latin typeface="Gilroy Bold"/>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A"/>
                  </a:solidFill>
                  <a:effectLst/>
                  <a:uLnTx/>
                  <a:uFillTx/>
                  <a:latin typeface="Gilroy"/>
                  <a:ea typeface="+mn-ea"/>
                  <a:cs typeface="+mn-cs"/>
                </a:rPr>
                <a:t>Countries</a:t>
              </a:r>
              <a:endParaRPr kumimoji="0" lang="en-CA" sz="1100" b="0" i="0" u="none" strike="noStrike" kern="1200" cap="none" spc="0" normalizeH="0" baseline="0" noProof="0" dirty="0">
                <a:ln>
                  <a:noFill/>
                </a:ln>
                <a:solidFill>
                  <a:srgbClr val="54565A"/>
                </a:solidFill>
                <a:effectLst/>
                <a:uLnTx/>
                <a:uFillTx/>
                <a:latin typeface="Gilroy"/>
                <a:ea typeface="+mn-ea"/>
                <a:cs typeface="+mn-cs"/>
              </a:endParaRPr>
            </a:p>
          </p:txBody>
        </p:sp>
        <p:sp>
          <p:nvSpPr>
            <p:cNvPr id="94" name="TextBox 93"/>
            <p:cNvSpPr txBox="1"/>
            <p:nvPr/>
          </p:nvSpPr>
          <p:spPr>
            <a:xfrm>
              <a:off x="9222339" y="4579043"/>
              <a:ext cx="1429343" cy="58340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4565A"/>
                  </a:solidFill>
                  <a:effectLst/>
                  <a:uLnTx/>
                  <a:uFillTx/>
                  <a:latin typeface="Gilroy Bold"/>
                  <a:ea typeface="+mn-ea"/>
                  <a:cs typeface="+mn-cs"/>
                </a:rPr>
                <a:t>1.3 M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A"/>
                  </a:solidFill>
                  <a:effectLst/>
                  <a:uLnTx/>
                  <a:uFillTx/>
                  <a:latin typeface="Gilroy"/>
                  <a:ea typeface="+mn-ea"/>
                  <a:cs typeface="+mn-cs"/>
                </a:rPr>
                <a:t>Square Feet Capacity</a:t>
              </a:r>
              <a:endParaRPr kumimoji="0" lang="en-CA" sz="1100" b="0" i="0" u="none" strike="noStrike" kern="1200" cap="none" spc="0" normalizeH="0" baseline="0" noProof="0" dirty="0">
                <a:ln>
                  <a:noFill/>
                </a:ln>
                <a:solidFill>
                  <a:srgbClr val="54565A"/>
                </a:solidFill>
                <a:effectLst/>
                <a:uLnTx/>
                <a:uFillTx/>
                <a:latin typeface="Gilroy"/>
                <a:ea typeface="+mn-ea"/>
                <a:cs typeface="+mn-cs"/>
              </a:endParaRPr>
            </a:p>
          </p:txBody>
        </p:sp>
        <p:sp>
          <p:nvSpPr>
            <p:cNvPr id="95" name="TextBox 94"/>
            <p:cNvSpPr txBox="1"/>
            <p:nvPr/>
          </p:nvSpPr>
          <p:spPr>
            <a:xfrm>
              <a:off x="10904846" y="4579043"/>
              <a:ext cx="1108180" cy="583407"/>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4565A"/>
                  </a:solidFill>
                  <a:effectLst/>
                  <a:uLnTx/>
                  <a:uFillTx/>
                  <a:latin typeface="Gilroy Bold"/>
                  <a:ea typeface="+mn-ea"/>
                  <a:cs typeface="+mn-cs"/>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A"/>
                  </a:solidFill>
                  <a:effectLst/>
                  <a:uLnTx/>
                  <a:uFillTx/>
                  <a:latin typeface="Gilroy"/>
                  <a:ea typeface="+mn-ea"/>
                  <a:cs typeface="+mn-cs"/>
                </a:rPr>
                <a:t>Years in Business</a:t>
              </a:r>
              <a:endParaRPr kumimoji="0" lang="en-CA" sz="1100" b="0" i="0" u="none" strike="noStrike" kern="1200" cap="none" spc="0" normalizeH="0" baseline="0" noProof="0" dirty="0">
                <a:ln>
                  <a:noFill/>
                </a:ln>
                <a:solidFill>
                  <a:srgbClr val="54565A"/>
                </a:solidFill>
                <a:effectLst/>
                <a:uLnTx/>
                <a:uFillTx/>
                <a:latin typeface="Gilroy"/>
                <a:ea typeface="+mn-ea"/>
                <a:cs typeface="+mn-cs"/>
              </a:endParaRPr>
            </a:p>
          </p:txBody>
        </p:sp>
      </p:grpSp>
      <p:cxnSp>
        <p:nvCxnSpPr>
          <p:cNvPr id="12" name="Straight Connector 11"/>
          <p:cNvCxnSpPr/>
          <p:nvPr/>
        </p:nvCxnSpPr>
        <p:spPr>
          <a:xfrm>
            <a:off x="3568700" y="2078356"/>
            <a:ext cx="0" cy="850704"/>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3569931" y="3280661"/>
            <a:ext cx="0" cy="160153"/>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8534400" y="1149203"/>
            <a:ext cx="1" cy="2499666"/>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8534399" y="4083896"/>
            <a:ext cx="0" cy="160153"/>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8534399" y="4441915"/>
            <a:ext cx="0" cy="160153"/>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flipV="1">
            <a:off x="8191500" y="3495675"/>
            <a:ext cx="0" cy="665079"/>
          </a:xfrm>
          <a:prstGeom prst="line">
            <a:avLst/>
          </a:prstGeom>
          <a:ln w="12700" cap="sq">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H="1">
            <a:off x="8191501" y="4160754"/>
            <a:ext cx="342898" cy="0"/>
          </a:xfrm>
          <a:prstGeom prst="line">
            <a:avLst/>
          </a:prstGeom>
          <a:ln w="12700" cap="sq">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4798219" y="3962400"/>
            <a:ext cx="372489" cy="536725"/>
          </a:xfrm>
          <a:prstGeom prst="line">
            <a:avLst/>
          </a:prstGeom>
          <a:ln w="12700" cap="sq">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3569931" y="3878607"/>
            <a:ext cx="0" cy="160153"/>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8" name="Group 237"/>
          <p:cNvGrpSpPr/>
          <p:nvPr/>
        </p:nvGrpSpPr>
        <p:grpSpPr>
          <a:xfrm>
            <a:off x="390789" y="2696615"/>
            <a:ext cx="1054703" cy="155448"/>
            <a:chOff x="459687" y="2143829"/>
            <a:chExt cx="1054703" cy="155448"/>
          </a:xfrm>
        </p:grpSpPr>
        <p:sp>
          <p:nvSpPr>
            <p:cNvPr id="239"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0" name="Oval 239"/>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1" name="Oval 240"/>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2" name="Oval 241"/>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3" name="Oval 242"/>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4" name="Oval 243"/>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45" name="Group 244"/>
          <p:cNvGrpSpPr/>
          <p:nvPr/>
        </p:nvGrpSpPr>
        <p:grpSpPr>
          <a:xfrm>
            <a:off x="1200414" y="3271290"/>
            <a:ext cx="874852" cy="155448"/>
            <a:chOff x="459687" y="2143829"/>
            <a:chExt cx="874852" cy="155448"/>
          </a:xfrm>
        </p:grpSpPr>
        <p:sp>
          <p:nvSpPr>
            <p:cNvPr id="246"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7" name="Oval 246"/>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8" name="Oval 247"/>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49" name="Oval 248"/>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50" name="Oval 249"/>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58" name="Group 257"/>
          <p:cNvGrpSpPr/>
          <p:nvPr/>
        </p:nvGrpSpPr>
        <p:grpSpPr>
          <a:xfrm>
            <a:off x="1870339" y="3874540"/>
            <a:ext cx="335299" cy="155448"/>
            <a:chOff x="1330589" y="3874540"/>
            <a:chExt cx="335299" cy="155448"/>
          </a:xfrm>
        </p:grpSpPr>
        <p:sp>
          <p:nvSpPr>
            <p:cNvPr id="253" name="Rectangle 86"/>
            <p:cNvSpPr>
              <a:spLocks noChangeAspect="1"/>
            </p:cNvSpPr>
            <p:nvPr/>
          </p:nvSpPr>
          <p:spPr>
            <a:xfrm>
              <a:off x="1330589" y="3874540"/>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54" name="Oval 253"/>
            <p:cNvSpPr>
              <a:spLocks noChangeAspect="1"/>
            </p:cNvSpPr>
            <p:nvPr/>
          </p:nvSpPr>
          <p:spPr>
            <a:xfrm>
              <a:off x="1510440" y="3874540"/>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61" name="Group 260"/>
          <p:cNvGrpSpPr/>
          <p:nvPr/>
        </p:nvGrpSpPr>
        <p:grpSpPr>
          <a:xfrm>
            <a:off x="9598925" y="1172279"/>
            <a:ext cx="1054703" cy="155448"/>
            <a:chOff x="459687" y="2143829"/>
            <a:chExt cx="1054703" cy="155448"/>
          </a:xfrm>
        </p:grpSpPr>
        <p:sp>
          <p:nvSpPr>
            <p:cNvPr id="262"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63" name="Oval 262"/>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64" name="Oval 263"/>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65" name="Oval 264"/>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66" name="Oval 265"/>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67" name="Oval 266"/>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sp>
        <p:nvSpPr>
          <p:cNvPr id="270" name="Oval 269"/>
          <p:cNvSpPr>
            <a:spLocks noChangeAspect="1"/>
          </p:cNvSpPr>
          <p:nvPr/>
        </p:nvSpPr>
        <p:spPr>
          <a:xfrm>
            <a:off x="10240739" y="1596141"/>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nvGrpSpPr>
          <p:cNvPr id="275" name="Group 274"/>
          <p:cNvGrpSpPr/>
          <p:nvPr/>
        </p:nvGrpSpPr>
        <p:grpSpPr>
          <a:xfrm>
            <a:off x="10075175" y="1855698"/>
            <a:ext cx="335299" cy="155448"/>
            <a:chOff x="459687" y="2143829"/>
            <a:chExt cx="335299" cy="155448"/>
          </a:xfrm>
        </p:grpSpPr>
        <p:sp>
          <p:nvSpPr>
            <p:cNvPr id="276"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77" name="Oval 276"/>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82" name="Group 281"/>
          <p:cNvGrpSpPr/>
          <p:nvPr/>
        </p:nvGrpSpPr>
        <p:grpSpPr>
          <a:xfrm>
            <a:off x="10160900" y="2119223"/>
            <a:ext cx="335299" cy="155448"/>
            <a:chOff x="459687" y="2143829"/>
            <a:chExt cx="335299" cy="155448"/>
          </a:xfrm>
        </p:grpSpPr>
        <p:sp>
          <p:nvSpPr>
            <p:cNvPr id="283"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84" name="Oval 283"/>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85" name="Group 284"/>
          <p:cNvGrpSpPr/>
          <p:nvPr/>
        </p:nvGrpSpPr>
        <p:grpSpPr>
          <a:xfrm>
            <a:off x="10560218" y="2379756"/>
            <a:ext cx="1054703" cy="155448"/>
            <a:chOff x="459687" y="2143829"/>
            <a:chExt cx="1054703" cy="155448"/>
          </a:xfrm>
        </p:grpSpPr>
        <p:sp>
          <p:nvSpPr>
            <p:cNvPr id="286"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87" name="Oval 286"/>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88" name="Oval 287"/>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89" name="Oval 288"/>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0" name="Oval 289"/>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1" name="Oval 290"/>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92" name="Group 291"/>
          <p:cNvGrpSpPr/>
          <p:nvPr/>
        </p:nvGrpSpPr>
        <p:grpSpPr>
          <a:xfrm>
            <a:off x="9836561" y="2631131"/>
            <a:ext cx="335299" cy="155448"/>
            <a:chOff x="459687" y="2143829"/>
            <a:chExt cx="335299" cy="155448"/>
          </a:xfrm>
        </p:grpSpPr>
        <p:sp>
          <p:nvSpPr>
            <p:cNvPr id="293"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4" name="Oval 293"/>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295" name="Group 294"/>
          <p:cNvGrpSpPr/>
          <p:nvPr/>
        </p:nvGrpSpPr>
        <p:grpSpPr>
          <a:xfrm>
            <a:off x="9954525" y="2887756"/>
            <a:ext cx="1054703" cy="155448"/>
            <a:chOff x="459687" y="2143829"/>
            <a:chExt cx="1054703" cy="155448"/>
          </a:xfrm>
        </p:grpSpPr>
        <p:sp>
          <p:nvSpPr>
            <p:cNvPr id="296"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7" name="Oval 296"/>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8" name="Oval 297"/>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299" name="Oval 298"/>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00" name="Oval 299"/>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01" name="Oval 300"/>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302" name="Group 301"/>
          <p:cNvGrpSpPr/>
          <p:nvPr/>
        </p:nvGrpSpPr>
        <p:grpSpPr>
          <a:xfrm>
            <a:off x="9782781" y="3153479"/>
            <a:ext cx="335299" cy="155448"/>
            <a:chOff x="819389" y="2143829"/>
            <a:chExt cx="335299" cy="155448"/>
          </a:xfrm>
        </p:grpSpPr>
        <p:sp>
          <p:nvSpPr>
            <p:cNvPr id="305" name="Oval 304"/>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06" name="Oval 305"/>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309" name="Group 308"/>
          <p:cNvGrpSpPr/>
          <p:nvPr/>
        </p:nvGrpSpPr>
        <p:grpSpPr>
          <a:xfrm>
            <a:off x="9938161" y="3408762"/>
            <a:ext cx="335299" cy="155448"/>
            <a:chOff x="459687" y="2143829"/>
            <a:chExt cx="335299" cy="155448"/>
          </a:xfrm>
        </p:grpSpPr>
        <p:sp>
          <p:nvSpPr>
            <p:cNvPr id="310"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1" name="Oval 310"/>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312" name="Group 311"/>
          <p:cNvGrpSpPr/>
          <p:nvPr/>
        </p:nvGrpSpPr>
        <p:grpSpPr>
          <a:xfrm>
            <a:off x="9501232" y="4087417"/>
            <a:ext cx="1054703" cy="155448"/>
            <a:chOff x="459687" y="2143829"/>
            <a:chExt cx="1054703" cy="155448"/>
          </a:xfrm>
        </p:grpSpPr>
        <p:sp>
          <p:nvSpPr>
            <p:cNvPr id="313"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4" name="Oval 313"/>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5" name="Oval 314"/>
            <p:cNvSpPr>
              <a:spLocks noChangeAspect="1"/>
            </p:cNvSpPr>
            <p:nvPr/>
          </p:nvSpPr>
          <p:spPr>
            <a:xfrm>
              <a:off x="819389" y="2143829"/>
              <a:ext cx="155448" cy="155448"/>
            </a:xfrm>
            <a:prstGeom prst="ellipse">
              <a:avLst/>
            </a:prstGeom>
            <a:solidFill>
              <a:srgbClr val="FFFFCC"/>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M</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6" name="Oval 315"/>
            <p:cNvSpPr>
              <a:spLocks noChangeAspect="1"/>
            </p:cNvSpPr>
            <p:nvPr/>
          </p:nvSpPr>
          <p:spPr>
            <a:xfrm>
              <a:off x="999240" y="2143829"/>
              <a:ext cx="155448" cy="155448"/>
            </a:xfrm>
            <a:prstGeom prst="ellipse">
              <a:avLst/>
            </a:prstGeom>
            <a:solidFill>
              <a:schemeClr val="accent6">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7" name="Oval 316"/>
            <p:cNvSpPr>
              <a:spLocks noChangeAspect="1"/>
            </p:cNvSpPr>
            <p:nvPr/>
          </p:nvSpPr>
          <p:spPr>
            <a:xfrm>
              <a:off x="1179091" y="2143829"/>
              <a:ext cx="155448" cy="155448"/>
            </a:xfrm>
            <a:prstGeom prst="ellipse">
              <a:avLst/>
            </a:prstGeom>
            <a:solidFill>
              <a:srgbClr val="FFDEBD"/>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P</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18" name="Oval 317"/>
            <p:cNvSpPr>
              <a:spLocks noChangeAspect="1"/>
            </p:cNvSpPr>
            <p:nvPr/>
          </p:nvSpPr>
          <p:spPr>
            <a:xfrm>
              <a:off x="1358942" y="2143829"/>
              <a:ext cx="155448" cy="155448"/>
            </a:xfrm>
            <a:prstGeom prst="ellipse">
              <a:avLst/>
            </a:prstGeom>
            <a:solidFill>
              <a:schemeClr val="accent5">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Q</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grpSp>
        <p:nvGrpSpPr>
          <p:cNvPr id="319" name="Group 318"/>
          <p:cNvGrpSpPr/>
          <p:nvPr/>
        </p:nvGrpSpPr>
        <p:grpSpPr>
          <a:xfrm>
            <a:off x="10235145" y="4448207"/>
            <a:ext cx="335299" cy="155448"/>
            <a:chOff x="459687" y="2143829"/>
            <a:chExt cx="335299" cy="155448"/>
          </a:xfrm>
        </p:grpSpPr>
        <p:sp>
          <p:nvSpPr>
            <p:cNvPr id="320" name="Rectangle 86"/>
            <p:cNvSpPr>
              <a:spLocks noChangeAspect="1"/>
            </p:cNvSpPr>
            <p:nvPr/>
          </p:nvSpPr>
          <p:spPr>
            <a:xfrm>
              <a:off x="459687" y="2143829"/>
              <a:ext cx="155448" cy="155448"/>
            </a:xfrm>
            <a:prstGeom prst="ellipse">
              <a:avLst/>
            </a:prstGeom>
            <a:solidFill>
              <a:schemeClr val="accent4">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Sa</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sp>
          <p:nvSpPr>
            <p:cNvPr id="321" name="Oval 320"/>
            <p:cNvSpPr>
              <a:spLocks noChangeAspect="1"/>
            </p:cNvSpPr>
            <p:nvPr/>
          </p:nvSpPr>
          <p:spPr>
            <a:xfrm>
              <a:off x="639538" y="2143829"/>
              <a:ext cx="155448" cy="155448"/>
            </a:xfrm>
            <a:prstGeom prst="ellipse">
              <a:avLst/>
            </a:prstGeom>
            <a:solidFill>
              <a:schemeClr val="accent2">
                <a:lumMod val="20000"/>
                <a:lumOff val="80000"/>
              </a:schemeClr>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4565A"/>
                  </a:solidFill>
                  <a:effectLst/>
                  <a:uLnTx/>
                  <a:uFillTx/>
                  <a:latin typeface="Gilroy Bold"/>
                  <a:ea typeface="+mn-ea"/>
                  <a:cs typeface="+mn-cs"/>
                </a:rPr>
                <a:t>E</a:t>
              </a:r>
              <a:endParaRPr kumimoji="0" lang="en-CA" sz="600" b="0" i="0" u="none" strike="noStrike" kern="1200" cap="none" spc="0" normalizeH="0" baseline="0" noProof="0" dirty="0">
                <a:ln>
                  <a:noFill/>
                </a:ln>
                <a:solidFill>
                  <a:srgbClr val="54565A"/>
                </a:solidFill>
                <a:effectLst/>
                <a:uLnTx/>
                <a:uFillTx/>
                <a:latin typeface="Gilroy Bold"/>
                <a:ea typeface="+mn-ea"/>
                <a:cs typeface="+mn-cs"/>
              </a:endParaRPr>
            </a:p>
          </p:txBody>
        </p:sp>
      </p:grpSp>
      <p:sp>
        <p:nvSpPr>
          <p:cNvPr id="133" name="TextBox 132"/>
          <p:cNvSpPr txBox="1"/>
          <p:nvPr/>
        </p:nvSpPr>
        <p:spPr>
          <a:xfrm>
            <a:off x="381000" y="4680544"/>
            <a:ext cx="549342" cy="18288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54565A"/>
                </a:solidFill>
                <a:effectLst/>
                <a:uLnTx/>
                <a:uFillTx/>
                <a:latin typeface="Gilroy Bold"/>
                <a:ea typeface="+mn-ea"/>
                <a:cs typeface="+mn-cs"/>
              </a:rPr>
              <a:t>Legend</a:t>
            </a:r>
            <a:endParaRPr kumimoji="0" lang="en-CA" sz="700" b="0" i="0" u="none" strike="noStrike" kern="1200" cap="none" spc="0" normalizeH="0" baseline="0" noProof="0" dirty="0">
              <a:ln>
                <a:noFill/>
              </a:ln>
              <a:solidFill>
                <a:srgbClr val="898A8D"/>
              </a:solidFill>
              <a:effectLst/>
              <a:uLnTx/>
              <a:uFillTx/>
              <a:latin typeface="Gilroy Bold"/>
              <a:ea typeface="+mn-ea"/>
              <a:cs typeface="+mn-cs"/>
            </a:endParaRPr>
          </a:p>
        </p:txBody>
      </p:sp>
    </p:spTree>
    <p:extLst>
      <p:ext uri="{BB962C8B-B14F-4D97-AF65-F5344CB8AC3E}">
        <p14:creationId xmlns:p14="http://schemas.microsoft.com/office/powerpoint/2010/main" val="27610890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 Placeholder 56"/>
          <p:cNvSpPr>
            <a:spLocks noGrp="1"/>
          </p:cNvSpPr>
          <p:nvPr>
            <p:ph type="body" sz="quarter" idx="13"/>
          </p:nvPr>
        </p:nvSpPr>
        <p:spPr/>
        <p:txBody>
          <a:bodyPr/>
          <a:lstStyle/>
          <a:p>
            <a:r>
              <a:rPr lang="en-US" dirty="0"/>
              <a:t>Scope of supply to the automotive production process</a:t>
            </a:r>
          </a:p>
        </p:txBody>
      </p:sp>
      <p:sp>
        <p:nvSpPr>
          <p:cNvPr id="2" name="Title 1"/>
          <p:cNvSpPr>
            <a:spLocks noGrp="1"/>
          </p:cNvSpPr>
          <p:nvPr>
            <p:ph type="title"/>
          </p:nvPr>
        </p:nvSpPr>
        <p:spPr/>
        <p:txBody>
          <a:bodyPr/>
          <a:lstStyle/>
          <a:p>
            <a:r>
              <a:rPr lang="en-US" dirty="0"/>
              <a:t>Automotive Value Chain</a:t>
            </a:r>
            <a:endParaRPr lang="en-CA" dirty="0"/>
          </a:p>
        </p:txBody>
      </p:sp>
      <p:cxnSp>
        <p:nvCxnSpPr>
          <p:cNvPr id="5" name="Straight Arrow Connector 4"/>
          <p:cNvCxnSpPr/>
          <p:nvPr/>
        </p:nvCxnSpPr>
        <p:spPr>
          <a:xfrm>
            <a:off x="9009535" y="898423"/>
            <a:ext cx="12236" cy="4341885"/>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5" idx="2"/>
          </p:cNvCxnSpPr>
          <p:nvPr/>
        </p:nvCxnSpPr>
        <p:spPr>
          <a:xfrm flipH="1">
            <a:off x="10980464" y="5043769"/>
            <a:ext cx="5575" cy="188254"/>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bwMode="auto">
          <a:xfrm>
            <a:off x="8206664" y="3518036"/>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hassis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sp>
        <p:nvSpPr>
          <p:cNvPr id="8" name="Content Placeholder 2"/>
          <p:cNvSpPr txBox="1">
            <a:spLocks/>
          </p:cNvSpPr>
          <p:nvPr/>
        </p:nvSpPr>
        <p:spPr bwMode="auto">
          <a:xfrm>
            <a:off x="8206664" y="4051420"/>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hassis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Assembly</a:t>
            </a:r>
          </a:p>
        </p:txBody>
      </p:sp>
      <p:sp>
        <p:nvSpPr>
          <p:cNvPr id="9" name="Content Placeholder 2"/>
          <p:cNvSpPr txBox="1">
            <a:spLocks/>
          </p:cNvSpPr>
          <p:nvPr/>
        </p:nvSpPr>
        <p:spPr bwMode="auto">
          <a:xfrm>
            <a:off x="8206664" y="2980240"/>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Propulsion System</a:t>
            </a:r>
          </a:p>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Final Assembly</a:t>
            </a:r>
          </a:p>
        </p:txBody>
      </p:sp>
      <p:sp>
        <p:nvSpPr>
          <p:cNvPr id="10" name="Content Placeholder 2"/>
          <p:cNvSpPr txBox="1">
            <a:spLocks/>
          </p:cNvSpPr>
          <p:nvPr/>
        </p:nvSpPr>
        <p:spPr bwMode="auto">
          <a:xfrm>
            <a:off x="8206664" y="2440258"/>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Powertrain System</a:t>
            </a:r>
          </a:p>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and Test</a:t>
            </a:r>
          </a:p>
        </p:txBody>
      </p:sp>
      <p:sp>
        <p:nvSpPr>
          <p:cNvPr id="11" name="Content Placeholder 2"/>
          <p:cNvSpPr txBox="1">
            <a:spLocks/>
          </p:cNvSpPr>
          <p:nvPr/>
        </p:nvSpPr>
        <p:spPr bwMode="auto">
          <a:xfrm>
            <a:off x="8206664"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Body Chassis Marriage</a:t>
            </a:r>
          </a:p>
        </p:txBody>
      </p:sp>
      <p:sp>
        <p:nvSpPr>
          <p:cNvPr id="12" name="Content Placeholder 2"/>
          <p:cNvSpPr txBox="1">
            <a:spLocks/>
          </p:cNvSpPr>
          <p:nvPr/>
        </p:nvSpPr>
        <p:spPr bwMode="auto">
          <a:xfrm>
            <a:off x="8206664" y="838200"/>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asting Automation</a:t>
            </a:r>
          </a:p>
        </p:txBody>
      </p:sp>
      <p:sp>
        <p:nvSpPr>
          <p:cNvPr id="13" name="Content Placeholder 2"/>
          <p:cNvSpPr txBox="1">
            <a:spLocks/>
          </p:cNvSpPr>
          <p:nvPr/>
        </p:nvSpPr>
        <p:spPr bwMode="auto">
          <a:xfrm>
            <a:off x="8206664" y="1371600"/>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Machining Automation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and Washers</a:t>
            </a:r>
          </a:p>
        </p:txBody>
      </p:sp>
      <p:sp>
        <p:nvSpPr>
          <p:cNvPr id="14" name="Content Placeholder 2"/>
          <p:cNvSpPr txBox="1">
            <a:spLocks/>
          </p:cNvSpPr>
          <p:nvPr/>
        </p:nvSpPr>
        <p:spPr bwMode="auto">
          <a:xfrm>
            <a:off x="8206664" y="1904257"/>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defPPr>
              <a:defRPr lang="en-US"/>
            </a:defPPr>
            <a:lvl1pPr indent="0" algn="ctr" eaLnBrk="0" fontAlgn="base" hangingPunct="0">
              <a:spcBef>
                <a:spcPct val="20000"/>
              </a:spcBef>
              <a:spcAft>
                <a:spcPct val="0"/>
              </a:spcAft>
              <a:buFont typeface="Arial" charset="0"/>
              <a:buNone/>
              <a:defRPr sz="900">
                <a:cs typeface="Arial" pitchFamily="34" charset="0"/>
              </a:defRPr>
            </a:lvl1pPr>
            <a:lvl2pPr marL="742950" indent="-285750" eaLnBrk="0" fontAlgn="base" hangingPunct="0">
              <a:spcBef>
                <a:spcPct val="20000"/>
              </a:spcBef>
              <a:spcAft>
                <a:spcPct val="0"/>
              </a:spcAft>
              <a:buFont typeface="Arial" charset="0"/>
              <a:buChar char="–"/>
              <a:defRPr sz="2400">
                <a:solidFill>
                  <a:srgbClr val="636466"/>
                </a:solidFill>
                <a:cs typeface="Arial" pitchFamily="34" charset="0"/>
              </a:defRPr>
            </a:lvl2pPr>
            <a:lvl3pPr marL="1143000" indent="-228600" eaLnBrk="0" fontAlgn="base" hangingPunct="0">
              <a:spcBef>
                <a:spcPct val="20000"/>
              </a:spcBef>
              <a:spcAft>
                <a:spcPct val="0"/>
              </a:spcAft>
              <a:buFont typeface="Arial" charset="0"/>
              <a:buChar char="•"/>
              <a:defRPr sz="2000">
                <a:solidFill>
                  <a:srgbClr val="636466"/>
                </a:solidFill>
                <a:cs typeface="Arial" pitchFamily="34" charset="0"/>
              </a:defRPr>
            </a:lvl3pPr>
            <a:lvl4pPr marL="1600200" indent="-228600" eaLnBrk="0" fontAlgn="base" hangingPunct="0">
              <a:spcBef>
                <a:spcPct val="20000"/>
              </a:spcBef>
              <a:spcAft>
                <a:spcPct val="0"/>
              </a:spcAft>
              <a:buFont typeface="Arial" charset="0"/>
              <a:buChar char="–"/>
              <a:defRPr>
                <a:solidFill>
                  <a:srgbClr val="636466"/>
                </a:solidFill>
                <a:cs typeface="Arial" pitchFamily="34" charset="0"/>
              </a:defRPr>
            </a:lvl4pPr>
            <a:lvl5pPr marL="2057400" indent="-228600" eaLnBrk="0" fontAlgn="base" hangingPunct="0">
              <a:spcBef>
                <a:spcPct val="20000"/>
              </a:spcBef>
              <a:spcAft>
                <a:spcPct val="0"/>
              </a:spcAft>
              <a:buFont typeface="Arial" charset="0"/>
              <a:buChar char="»"/>
              <a:defRPr>
                <a:solidFill>
                  <a:srgbClr val="636466"/>
                </a:solidFill>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Electric Motor and Battery Assembly and Test</a:t>
            </a:r>
          </a:p>
        </p:txBody>
      </p:sp>
      <p:sp>
        <p:nvSpPr>
          <p:cNvPr id="15" name="Content Placeholder 2"/>
          <p:cNvSpPr txBox="1">
            <a:spLocks/>
          </p:cNvSpPr>
          <p:nvPr/>
        </p:nvSpPr>
        <p:spPr bwMode="auto">
          <a:xfrm>
            <a:off x="10163079"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Final Assembly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omponent Installation)</a:t>
            </a:r>
          </a:p>
        </p:txBody>
      </p:sp>
      <p:cxnSp>
        <p:nvCxnSpPr>
          <p:cNvPr id="16" name="Straight Arrow Connector 15"/>
          <p:cNvCxnSpPr>
            <a:stCxn id="24" idx="2"/>
          </p:cNvCxnSpPr>
          <p:nvPr/>
        </p:nvCxnSpPr>
        <p:spPr>
          <a:xfrm>
            <a:off x="3160375" y="3975236"/>
            <a:ext cx="2409" cy="1256787"/>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25" idx="2"/>
          </p:cNvCxnSpPr>
          <p:nvPr/>
        </p:nvCxnSpPr>
        <p:spPr>
          <a:xfrm flipH="1">
            <a:off x="5116634" y="5043769"/>
            <a:ext cx="158" cy="188254"/>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26" idx="2"/>
          </p:cNvCxnSpPr>
          <p:nvPr/>
        </p:nvCxnSpPr>
        <p:spPr>
          <a:xfrm flipH="1">
            <a:off x="7067632" y="3439063"/>
            <a:ext cx="3010" cy="1792960"/>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23" idx="2"/>
          </p:cNvCxnSpPr>
          <p:nvPr/>
        </p:nvCxnSpPr>
        <p:spPr>
          <a:xfrm flipH="1">
            <a:off x="1203959" y="3972114"/>
            <a:ext cx="1" cy="1259909"/>
          </a:xfrm>
          <a:prstGeom prst="straightConnector1">
            <a:avLst/>
          </a:prstGeom>
          <a:ln w="1270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Content Placeholder 2"/>
          <p:cNvSpPr txBox="1">
            <a:spLocks/>
          </p:cNvSpPr>
          <p:nvPr/>
        </p:nvSpPr>
        <p:spPr bwMode="auto">
          <a:xfrm>
            <a:off x="381000"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Underbody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sp>
        <p:nvSpPr>
          <p:cNvPr id="21" name="Content Placeholder 2"/>
          <p:cNvSpPr txBox="1">
            <a:spLocks/>
          </p:cNvSpPr>
          <p:nvPr/>
        </p:nvSpPr>
        <p:spPr bwMode="auto">
          <a:xfrm>
            <a:off x="2341885"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Underbody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Marriage</a:t>
            </a:r>
          </a:p>
        </p:txBody>
      </p:sp>
      <p:sp>
        <p:nvSpPr>
          <p:cNvPr id="22" name="Content Placeholder 2"/>
          <p:cNvSpPr txBox="1">
            <a:spLocks/>
          </p:cNvSpPr>
          <p:nvPr/>
        </p:nvSpPr>
        <p:spPr bwMode="auto">
          <a:xfrm>
            <a:off x="2337415" y="4054216"/>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Bodyside Panel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sp>
        <p:nvSpPr>
          <p:cNvPr id="23" name="Content Placeholder 2"/>
          <p:cNvSpPr txBox="1">
            <a:spLocks/>
          </p:cNvSpPr>
          <p:nvPr/>
        </p:nvSpPr>
        <p:spPr bwMode="auto">
          <a:xfrm>
            <a:off x="381000" y="3514914"/>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tructural Reinforcement</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ies</a:t>
            </a:r>
          </a:p>
        </p:txBody>
      </p:sp>
      <p:sp>
        <p:nvSpPr>
          <p:cNvPr id="24" name="Content Placeholder 2"/>
          <p:cNvSpPr txBox="1">
            <a:spLocks/>
          </p:cNvSpPr>
          <p:nvPr/>
        </p:nvSpPr>
        <p:spPr bwMode="auto">
          <a:xfrm>
            <a:off x="2337415" y="3518036"/>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Roof Panel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sp>
        <p:nvSpPr>
          <p:cNvPr id="25" name="Content Placeholder 2"/>
          <p:cNvSpPr txBox="1">
            <a:spLocks/>
          </p:cNvSpPr>
          <p:nvPr/>
        </p:nvSpPr>
        <p:spPr bwMode="auto">
          <a:xfrm>
            <a:off x="4293832"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Framing</a:t>
            </a:r>
          </a:p>
        </p:txBody>
      </p:sp>
      <p:sp>
        <p:nvSpPr>
          <p:cNvPr id="26" name="Content Placeholder 2"/>
          <p:cNvSpPr txBox="1">
            <a:spLocks/>
          </p:cNvSpPr>
          <p:nvPr/>
        </p:nvSpPr>
        <p:spPr bwMode="auto">
          <a:xfrm>
            <a:off x="6247682" y="2981863"/>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Forming Dies</a:t>
            </a:r>
          </a:p>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with Partner)</a:t>
            </a:r>
          </a:p>
        </p:txBody>
      </p:sp>
      <p:sp>
        <p:nvSpPr>
          <p:cNvPr id="27" name="Content Placeholder 2"/>
          <p:cNvSpPr txBox="1">
            <a:spLocks/>
          </p:cNvSpPr>
          <p:nvPr/>
        </p:nvSpPr>
        <p:spPr bwMode="auto">
          <a:xfrm>
            <a:off x="6247682" y="4053783"/>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Hemming</a:t>
            </a:r>
          </a:p>
        </p:txBody>
      </p:sp>
      <p:sp>
        <p:nvSpPr>
          <p:cNvPr id="28" name="Content Placeholder 2"/>
          <p:cNvSpPr txBox="1">
            <a:spLocks/>
          </p:cNvSpPr>
          <p:nvPr/>
        </p:nvSpPr>
        <p:spPr bwMode="auto">
          <a:xfrm>
            <a:off x="6247682" y="3518084"/>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losure</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sp>
        <p:nvSpPr>
          <p:cNvPr id="29" name="Content Placeholder 2"/>
          <p:cNvSpPr txBox="1">
            <a:spLocks/>
          </p:cNvSpPr>
          <p:nvPr/>
        </p:nvSpPr>
        <p:spPr bwMode="auto">
          <a:xfrm>
            <a:off x="6250248" y="4586569"/>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losure</a:t>
            </a:r>
          </a:p>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Hang</a:t>
            </a:r>
          </a:p>
        </p:txBody>
      </p:sp>
      <p:cxnSp>
        <p:nvCxnSpPr>
          <p:cNvPr id="30" name="Straight Arrow Connector 29"/>
          <p:cNvCxnSpPr/>
          <p:nvPr/>
        </p:nvCxnSpPr>
        <p:spPr>
          <a:xfrm>
            <a:off x="6091396" y="2981863"/>
            <a:ext cx="0" cy="1523303"/>
          </a:xfrm>
          <a:prstGeom prst="straightConnector1">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6034246" y="2981863"/>
            <a:ext cx="114300" cy="0"/>
          </a:xfrm>
          <a:prstGeom prst="straightConnector1">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6034246" y="4505166"/>
            <a:ext cx="114300" cy="0"/>
          </a:xfrm>
          <a:prstGeom prst="straightConnector1">
            <a:avLst/>
          </a:prstGeom>
          <a:ln w="1270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Content Placeholder 2"/>
          <p:cNvSpPr txBox="1">
            <a:spLocks/>
          </p:cNvSpPr>
          <p:nvPr/>
        </p:nvSpPr>
        <p:spPr bwMode="auto">
          <a:xfrm>
            <a:off x="5327498" y="3514914"/>
            <a:ext cx="720497" cy="457200"/>
          </a:xfrm>
          <a:prstGeom prst="rect">
            <a:avLst/>
          </a:prstGeom>
          <a:noFill/>
          <a:ln>
            <a:noFill/>
          </a:ln>
        </p:spPr>
        <p:txBody>
          <a:bodyPr vert="horz" wrap="square" lIns="0" tIns="0" rIns="0" bIns="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005487"/>
                </a:solidFill>
                <a:effectLst/>
                <a:uLnTx/>
                <a:uFillTx/>
                <a:latin typeface="Gilroy"/>
                <a:ea typeface="+mn-ea"/>
                <a:cs typeface="Arial" pitchFamily="34" charset="0"/>
              </a:rPr>
              <a:t>Vertical </a:t>
            </a:r>
            <a:br>
              <a:rPr kumimoji="0" lang="en-CA" sz="900" b="0" i="0" u="none" strike="noStrike" kern="1200" cap="none" spc="0" normalizeH="0" baseline="0" noProof="0" dirty="0">
                <a:ln>
                  <a:noFill/>
                </a:ln>
                <a:solidFill>
                  <a:srgbClr val="005487"/>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005487"/>
                </a:solidFill>
                <a:effectLst/>
                <a:uLnTx/>
                <a:uFillTx/>
                <a:latin typeface="Gilroy"/>
                <a:ea typeface="+mn-ea"/>
                <a:cs typeface="Arial" pitchFamily="34" charset="0"/>
              </a:rPr>
              <a:t>Integration</a:t>
            </a:r>
          </a:p>
        </p:txBody>
      </p:sp>
      <p:sp>
        <p:nvSpPr>
          <p:cNvPr id="34" name="Content Placeholder 2"/>
          <p:cNvSpPr txBox="1">
            <a:spLocks/>
          </p:cNvSpPr>
          <p:nvPr/>
        </p:nvSpPr>
        <p:spPr bwMode="auto">
          <a:xfrm>
            <a:off x="378134" y="2440258"/>
            <a:ext cx="7515467" cy="457200"/>
          </a:xfrm>
          <a:prstGeom prst="rect">
            <a:avLst/>
          </a:prstGeom>
          <a:solidFill>
            <a:schemeClr val="bg1"/>
          </a:solidFill>
          <a:ln>
            <a:solidFill>
              <a:schemeClr val="tx2"/>
            </a:solidFill>
          </a:ln>
        </p:spPr>
        <p:txBody>
          <a:bodyPr vert="horz" wrap="square" lIns="0" tIns="0" rIns="0" bIns="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Integrated Material Handling Systems (Robotic Integration / Floor &amp; Overhead Conveyors)</a:t>
            </a:r>
          </a:p>
        </p:txBody>
      </p:sp>
      <p:sp>
        <p:nvSpPr>
          <p:cNvPr id="35" name="Content Placeholder 2"/>
          <p:cNvSpPr txBox="1">
            <a:spLocks/>
          </p:cNvSpPr>
          <p:nvPr/>
        </p:nvSpPr>
        <p:spPr bwMode="auto">
          <a:xfrm>
            <a:off x="378134" y="1907208"/>
            <a:ext cx="7515467" cy="457200"/>
          </a:xfrm>
          <a:prstGeom prst="rect">
            <a:avLst/>
          </a:prstGeom>
          <a:solidFill>
            <a:schemeClr val="bg1"/>
          </a:solidFill>
          <a:ln>
            <a:solidFill>
              <a:schemeClr val="tx2"/>
            </a:solidFill>
          </a:ln>
        </p:spPr>
        <p:txBody>
          <a:bodyPr vert="horz" wrap="square" lIns="0" tIns="0" rIns="0" bIns="0" numCol="1" anchor="ctr" anchorCtr="0" compatLnSpc="1">
            <a:prstTxWarp prst="textNoShape">
              <a:avLst/>
            </a:prstTxWarp>
          </a:bodyPr>
          <a:lstStyle>
            <a:lvl1pPr marL="346075" indent="-230188" algn="l" rtl="0" eaLnBrk="0" fontAlgn="base" hangingPunct="0">
              <a:spcBef>
                <a:spcPct val="20000"/>
              </a:spcBef>
              <a:spcAft>
                <a:spcPct val="0"/>
              </a:spcAft>
              <a:buFont typeface="Arial" charset="0"/>
              <a:buChar char="•"/>
              <a:defRPr sz="2800" kern="1200">
                <a:solidFill>
                  <a:srgbClr val="636466"/>
                </a:solidFill>
                <a:latin typeface="+mn-lt"/>
                <a:ea typeface="+mn-ea"/>
                <a:cs typeface="Arial" pitchFamily="34" charset="0"/>
              </a:defRPr>
            </a:lvl1pPr>
            <a:lvl2pPr marL="742950" indent="-285750" algn="l" rtl="0" eaLnBrk="0" fontAlgn="base" hangingPunct="0">
              <a:spcBef>
                <a:spcPct val="20000"/>
              </a:spcBef>
              <a:spcAft>
                <a:spcPct val="0"/>
              </a:spcAft>
              <a:buFont typeface="Arial" charset="0"/>
              <a:buChar char="–"/>
              <a:defRPr sz="2400" kern="1200">
                <a:solidFill>
                  <a:srgbClr val="636466"/>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rgbClr val="636466"/>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4pPr>
            <a:lvl5pPr marL="2057400" indent="-228600" algn="l" rtl="0" eaLnBrk="0" fontAlgn="base" hangingPunct="0">
              <a:spcBef>
                <a:spcPct val="20000"/>
              </a:spcBef>
              <a:spcAft>
                <a:spcPct val="0"/>
              </a:spcAft>
              <a:buFont typeface="Arial" charset="0"/>
              <a:buChar char="»"/>
              <a:defRPr sz="1800" kern="1200">
                <a:solidFill>
                  <a:srgbClr val="636466"/>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Complete Body Shop Assembly Automation</a:t>
            </a:r>
          </a:p>
        </p:txBody>
      </p:sp>
      <p:pic>
        <p:nvPicPr>
          <p:cNvPr id="3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flipH="1">
            <a:off x="692698" y="5352151"/>
            <a:ext cx="993661" cy="649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2706568" y="5485199"/>
            <a:ext cx="872073" cy="456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4"/>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4575595" y="5356343"/>
            <a:ext cx="1077515" cy="645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5"/>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flipH="1">
            <a:off x="6650064" y="5442715"/>
            <a:ext cx="835135" cy="49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0" name="Group 39"/>
          <p:cNvGrpSpPr/>
          <p:nvPr/>
        </p:nvGrpSpPr>
        <p:grpSpPr>
          <a:xfrm>
            <a:off x="914400" y="2990418"/>
            <a:ext cx="480224" cy="461180"/>
            <a:chOff x="990300" y="2251626"/>
            <a:chExt cx="613259" cy="588939"/>
          </a:xfrm>
        </p:grpSpPr>
        <p:pic>
          <p:nvPicPr>
            <p:cNvPr id="41"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11057" y="2292045"/>
              <a:ext cx="323356" cy="2549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472973" y="2251626"/>
              <a:ext cx="130586" cy="335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9"/>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90300" y="2595261"/>
              <a:ext cx="613259" cy="245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5" name="Picture 11" descr="U:\3dsMax\scenes\2015-11-11-Automotive-Mfg-Value-Chain\chassis-suspension-sub-assembly.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0051950" y="3510602"/>
            <a:ext cx="549275" cy="37178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2" descr="http://www.automotivemanufacturingsolutions.com/wp-content/uploads/2015/01/GM-Large-Gas-Engine-LGE-I4-cylinder-block-copy.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084190" y="845498"/>
            <a:ext cx="484794" cy="42766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6" descr="http://gmauthority.com/blog/wp-content/uploads/2012/11/2014-6.2L-LT1-C-Crankshaft.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055654" y="1387439"/>
            <a:ext cx="541866" cy="40639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descr="http://cfront.burtonpower.com/media/catalog/product/cache/1/image/dbee39002c3ed3c5438224ee0989910f/F/B/FB101.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10109979" y="2461540"/>
            <a:ext cx="433216" cy="36120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U:\3dsMax\scenes\2015-11-11-Automotive-Mfg-Value-Chain\complete-car.png"/>
          <p:cNvPicPr>
            <a:picLocks noChangeAspect="1" noChangeArrowheads="1"/>
          </p:cNvPicPr>
          <p:nvPr/>
        </p:nvPicPr>
        <p:blipFill>
          <a:blip r:embed="rId13" cstate="screen">
            <a:extLst>
              <a:ext uri="{BEBA8EAE-BF5A-486C-A8C5-ECC9F3942E4B}">
                <a14:imgProps xmlns:a14="http://schemas.microsoft.com/office/drawing/2010/main">
                  <a14:imgLayer r:embed="rId14">
                    <a14:imgEffect>
                      <a14:saturation sat="0"/>
                    </a14:imgEffect>
                    <a14:imgEffect>
                      <a14:brightnessContrast bright="15000"/>
                    </a14:imgEffect>
                  </a14:imgLayer>
                </a14:imgProps>
              </a:ext>
              <a:ext uri="{28A0092B-C50C-407E-A947-70E740481C1C}">
                <a14:useLocalDpi xmlns:a14="http://schemas.microsoft.com/office/drawing/2010/main"/>
              </a:ext>
            </a:extLst>
          </a:blip>
          <a:srcRect/>
          <a:stretch>
            <a:fillRect/>
          </a:stretch>
        </p:blipFill>
        <p:spPr bwMode="auto">
          <a:xfrm>
            <a:off x="10434363" y="5320846"/>
            <a:ext cx="1176786" cy="66292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U:\3dsMax\scenes\2015-11-11-Automotive-Mfg-Value-Chain\marriage.png"/>
          <p:cNvPicPr>
            <a:picLocks noChangeAspect="1" noChangeArrowheads="1"/>
          </p:cNvPicPr>
          <p:nvPr/>
        </p:nvPicPr>
        <p:blipFill>
          <a:blip r:embed="rId15" cstate="screen">
            <a:extLst>
              <a:ext uri="{BEBA8EAE-BF5A-486C-A8C5-ECC9F3942E4B}">
                <a14:imgProps xmlns:a14="http://schemas.microsoft.com/office/drawing/2010/main">
                  <a14:imgLayer r:embed="rId16">
                    <a14:imgEffect>
                      <a14:saturation sat="0"/>
                    </a14:imgEffect>
                    <a14:imgEffect>
                      <a14:brightnessContrast bright="15000"/>
                    </a14:imgEffect>
                  </a14:imgLayer>
                </a14:imgProps>
              </a:ext>
              <a:ext uri="{28A0092B-C50C-407E-A947-70E740481C1C}">
                <a14:useLocalDpi xmlns:a14="http://schemas.microsoft.com/office/drawing/2010/main"/>
              </a:ext>
            </a:extLst>
          </a:blip>
          <a:srcRect/>
          <a:stretch>
            <a:fillRect/>
          </a:stretch>
        </p:blipFill>
        <p:spPr bwMode="auto">
          <a:xfrm>
            <a:off x="8318742" y="5258998"/>
            <a:ext cx="1491763" cy="840360"/>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Straight Arrow Connector 50"/>
          <p:cNvCxnSpPr/>
          <p:nvPr/>
        </p:nvCxnSpPr>
        <p:spPr>
          <a:xfrm>
            <a:off x="381000" y="5245510"/>
            <a:ext cx="11430000"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52" name="Grafik 4">
            <a:extLst>
              <a:ext uri="{FF2B5EF4-FFF2-40B4-BE49-F238E27FC236}">
                <a16:creationId xmlns:a16="http://schemas.microsoft.com/office/drawing/2014/main" id="{74D993E9-084E-4E94-9522-C963E63B7FA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030793" y="2996761"/>
            <a:ext cx="591589" cy="394226"/>
          </a:xfrm>
          <a:prstGeom prst="rect">
            <a:avLst/>
          </a:prstGeom>
        </p:spPr>
      </p:pic>
      <p:sp>
        <p:nvSpPr>
          <p:cNvPr id="54" name="Content Placeholder 2"/>
          <p:cNvSpPr txBox="1">
            <a:spLocks/>
          </p:cNvSpPr>
          <p:nvPr/>
        </p:nvSpPr>
        <p:spPr bwMode="auto">
          <a:xfrm>
            <a:off x="381000" y="4055553"/>
            <a:ext cx="1645920" cy="457200"/>
          </a:xfrm>
          <a:prstGeom prst="rect">
            <a:avLst/>
          </a:prstGeom>
          <a:solidFill>
            <a:schemeClr val="bg1"/>
          </a:solidFill>
          <a:ln>
            <a:solidFill>
              <a:schemeClr val="tx2"/>
            </a:solidFill>
          </a:ln>
        </p:spPr>
        <p:txBody>
          <a:bodyPr vert="horz" wrap="square" lIns="91440" tIns="91440" rIns="91440" bIns="91440" numCol="1" anchor="ctr" anchorCtr="0" compatLnSpc="1">
            <a:prstTxWarp prst="textNoShape">
              <a:avLst/>
            </a:prstTxWarp>
          </a:bodyPr>
          <a:lstStyle>
            <a:defPPr>
              <a:defRPr lang="en-US"/>
            </a:defPPr>
            <a:lvl1pPr indent="0" algn="ctr" eaLnBrk="0" fontAlgn="base" hangingPunct="0">
              <a:spcBef>
                <a:spcPct val="20000"/>
              </a:spcBef>
              <a:spcAft>
                <a:spcPct val="0"/>
              </a:spcAft>
              <a:buFont typeface="Arial" charset="0"/>
              <a:buNone/>
              <a:defRPr sz="900">
                <a:cs typeface="Arial" pitchFamily="34" charset="0"/>
              </a:defRPr>
            </a:lvl1pPr>
            <a:lvl2pPr marL="742950" indent="-285750" eaLnBrk="0" fontAlgn="base" hangingPunct="0">
              <a:spcBef>
                <a:spcPct val="20000"/>
              </a:spcBef>
              <a:spcAft>
                <a:spcPct val="0"/>
              </a:spcAft>
              <a:buFont typeface="Arial" charset="0"/>
              <a:buChar char="–"/>
              <a:defRPr sz="2400">
                <a:solidFill>
                  <a:srgbClr val="636466"/>
                </a:solidFill>
                <a:cs typeface="Arial" pitchFamily="34" charset="0"/>
              </a:defRPr>
            </a:lvl2pPr>
            <a:lvl3pPr marL="1143000" indent="-228600" eaLnBrk="0" fontAlgn="base" hangingPunct="0">
              <a:spcBef>
                <a:spcPct val="20000"/>
              </a:spcBef>
              <a:spcAft>
                <a:spcPct val="0"/>
              </a:spcAft>
              <a:buFont typeface="Arial" charset="0"/>
              <a:buChar char="•"/>
              <a:defRPr sz="2000">
                <a:solidFill>
                  <a:srgbClr val="636466"/>
                </a:solidFill>
                <a:cs typeface="Arial" pitchFamily="34" charset="0"/>
              </a:defRPr>
            </a:lvl3pPr>
            <a:lvl4pPr marL="1600200" indent="-228600" eaLnBrk="0" fontAlgn="base" hangingPunct="0">
              <a:spcBef>
                <a:spcPct val="20000"/>
              </a:spcBef>
              <a:spcAft>
                <a:spcPct val="0"/>
              </a:spcAft>
              <a:buFont typeface="Arial" charset="0"/>
              <a:buChar char="–"/>
              <a:defRPr>
                <a:solidFill>
                  <a:srgbClr val="636466"/>
                </a:solidFill>
                <a:cs typeface="Arial" pitchFamily="34" charset="0"/>
              </a:defRPr>
            </a:lvl4pPr>
            <a:lvl5pPr marL="2057400" indent="-228600" eaLnBrk="0" fontAlgn="base" hangingPunct="0">
              <a:spcBef>
                <a:spcPct val="20000"/>
              </a:spcBef>
              <a:spcAft>
                <a:spcPct val="0"/>
              </a:spcAft>
              <a:buFont typeface="Arial" charset="0"/>
              <a:buChar char="»"/>
              <a:defRPr>
                <a:solidFill>
                  <a:srgbClr val="636466"/>
                </a:solidFill>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defRPr/>
            </a:pP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Battery Tray </a:t>
            </a:r>
            <a:b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br>
            <a:r>
              <a:rPr kumimoji="0" lang="en-CA" sz="900" b="0" i="0" u="none" strike="noStrike" kern="1200" cap="none" spc="0" normalizeH="0" baseline="0" noProof="0" dirty="0">
                <a:ln>
                  <a:noFill/>
                </a:ln>
                <a:solidFill>
                  <a:srgbClr val="54565A"/>
                </a:solidFill>
                <a:effectLst/>
                <a:uLnTx/>
                <a:uFillTx/>
                <a:latin typeface="Gilroy"/>
                <a:ea typeface="+mn-ea"/>
                <a:cs typeface="Arial" pitchFamily="34" charset="0"/>
              </a:rPr>
              <a:t>Sub-Assembly</a:t>
            </a:r>
          </a:p>
        </p:txBody>
      </p:sp>
      <p:pic>
        <p:nvPicPr>
          <p:cNvPr id="75" name="Picture 74"/>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669951" y="1860752"/>
            <a:ext cx="705609" cy="500508"/>
          </a:xfrm>
          <a:prstGeom prst="rect">
            <a:avLst/>
          </a:prstGeom>
        </p:spPr>
      </p:pic>
      <p:pic>
        <p:nvPicPr>
          <p:cNvPr id="76" name="Picture 75"/>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061659" y="1963102"/>
            <a:ext cx="564161" cy="342196"/>
          </a:xfrm>
          <a:prstGeom prst="rect">
            <a:avLst/>
          </a:prstGeom>
        </p:spPr>
      </p:pic>
      <p:pic>
        <p:nvPicPr>
          <p:cNvPr id="77" name="Picture 76"/>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9980467" y="3943015"/>
            <a:ext cx="783889" cy="571676"/>
          </a:xfrm>
          <a:prstGeom prst="rect">
            <a:avLst/>
          </a:prstGeom>
        </p:spPr>
      </p:pic>
    </p:spTree>
    <p:extLst>
      <p:ext uri="{BB962C8B-B14F-4D97-AF65-F5344CB8AC3E}">
        <p14:creationId xmlns:p14="http://schemas.microsoft.com/office/powerpoint/2010/main" val="13716088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dustry 4.0 Technology Pillars</a:t>
            </a:r>
            <a:endParaRPr lang="en-CA" dirty="0"/>
          </a:p>
        </p:txBody>
      </p:sp>
      <p:grpSp>
        <p:nvGrpSpPr>
          <p:cNvPr id="135" name="Group 134"/>
          <p:cNvGrpSpPr/>
          <p:nvPr/>
        </p:nvGrpSpPr>
        <p:grpSpPr>
          <a:xfrm>
            <a:off x="990600" y="1031142"/>
            <a:ext cx="9211620" cy="5002188"/>
            <a:chOff x="990600" y="1031142"/>
            <a:chExt cx="9211620" cy="5002188"/>
          </a:xfrm>
        </p:grpSpPr>
        <p:pic>
          <p:nvPicPr>
            <p:cNvPr id="131" name="Picture 130"/>
            <p:cNvPicPr>
              <a:picLocks noChangeAspect="1"/>
            </p:cNvPicPr>
            <p:nvPr/>
          </p:nvPicPr>
          <p:blipFill>
            <a:blip r:embed="rId2"/>
            <a:stretch>
              <a:fillRect/>
            </a:stretch>
          </p:blipFill>
          <p:spPr>
            <a:xfrm>
              <a:off x="4230964" y="1874520"/>
              <a:ext cx="3723750" cy="3678750"/>
            </a:xfrm>
            <a:prstGeom prst="rect">
              <a:avLst/>
            </a:prstGeom>
          </p:spPr>
        </p:pic>
        <p:sp>
          <p:nvSpPr>
            <p:cNvPr id="7" name="TextBox 6"/>
            <p:cNvSpPr txBox="1"/>
            <p:nvPr/>
          </p:nvSpPr>
          <p:spPr>
            <a:xfrm>
              <a:off x="990600" y="3253740"/>
              <a:ext cx="3119830" cy="457200"/>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Augmented, Virtual and Mixed Reality</a:t>
              </a:r>
            </a:p>
          </p:txBody>
        </p:sp>
        <p:sp>
          <p:nvSpPr>
            <p:cNvPr id="8" name="TextBox 7"/>
            <p:cNvSpPr txBox="1"/>
            <p:nvPr/>
          </p:nvSpPr>
          <p:spPr>
            <a:xfrm>
              <a:off x="8072830" y="3253740"/>
              <a:ext cx="1756970" cy="45720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System Integration</a:t>
              </a:r>
            </a:p>
          </p:txBody>
        </p:sp>
        <p:sp>
          <p:nvSpPr>
            <p:cNvPr id="9" name="TextBox 8"/>
            <p:cNvSpPr txBox="1"/>
            <p:nvPr/>
          </p:nvSpPr>
          <p:spPr>
            <a:xfrm>
              <a:off x="7844230" y="4320540"/>
              <a:ext cx="1447800" cy="45720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Internet of Things</a:t>
              </a:r>
            </a:p>
          </p:txBody>
        </p:sp>
        <p:sp>
          <p:nvSpPr>
            <p:cNvPr id="10" name="TextBox 9"/>
            <p:cNvSpPr txBox="1"/>
            <p:nvPr/>
          </p:nvSpPr>
          <p:spPr>
            <a:xfrm>
              <a:off x="7463230" y="2293620"/>
              <a:ext cx="1447800" cy="45720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Simulation</a:t>
              </a:r>
            </a:p>
          </p:txBody>
        </p:sp>
        <p:sp>
          <p:nvSpPr>
            <p:cNvPr id="11" name="TextBox 10"/>
            <p:cNvSpPr txBox="1"/>
            <p:nvPr/>
          </p:nvSpPr>
          <p:spPr>
            <a:xfrm>
              <a:off x="2891230" y="2293620"/>
              <a:ext cx="1781175" cy="457200"/>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Big Data, AI, ML, DL</a:t>
              </a:r>
            </a:p>
          </p:txBody>
        </p:sp>
        <p:sp>
          <p:nvSpPr>
            <p:cNvPr id="12" name="TextBox 11"/>
            <p:cNvSpPr txBox="1"/>
            <p:nvPr/>
          </p:nvSpPr>
          <p:spPr>
            <a:xfrm>
              <a:off x="5454756" y="2458720"/>
              <a:ext cx="1246442" cy="665480"/>
            </a:xfrm>
            <a:prstGeom prst="rect">
              <a:avLst/>
            </a:prstGeom>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Autonomous Robo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and Guidance</a:t>
              </a:r>
            </a:p>
          </p:txBody>
        </p:sp>
        <p:sp>
          <p:nvSpPr>
            <p:cNvPr id="13" name="TextBox 12"/>
            <p:cNvSpPr txBox="1"/>
            <p:nvPr/>
          </p:nvSpPr>
          <p:spPr>
            <a:xfrm>
              <a:off x="2133600" y="4320540"/>
              <a:ext cx="2174950" cy="457200"/>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Additive Manufacturing</a:t>
              </a:r>
            </a:p>
          </p:txBody>
        </p:sp>
        <p:sp>
          <p:nvSpPr>
            <p:cNvPr id="14" name="TextBox 13"/>
            <p:cNvSpPr txBox="1"/>
            <p:nvPr/>
          </p:nvSpPr>
          <p:spPr>
            <a:xfrm>
              <a:off x="2978434" y="5576130"/>
              <a:ext cx="2591711" cy="457200"/>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Cloud Computing</a:t>
              </a:r>
            </a:p>
          </p:txBody>
        </p:sp>
        <p:sp>
          <p:nvSpPr>
            <p:cNvPr id="15" name="TextBox 14"/>
            <p:cNvSpPr txBox="1"/>
            <p:nvPr/>
          </p:nvSpPr>
          <p:spPr>
            <a:xfrm>
              <a:off x="6625031" y="5576130"/>
              <a:ext cx="1257300" cy="457200"/>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4565A"/>
                  </a:solidFill>
                  <a:effectLst/>
                  <a:uLnTx/>
                  <a:uFillTx/>
                  <a:latin typeface="Gilroy"/>
                  <a:ea typeface="+mn-ea"/>
                  <a:cs typeface="+mn-cs"/>
                </a:rPr>
                <a:t>Cybersecurity</a:t>
              </a:r>
            </a:p>
          </p:txBody>
        </p:sp>
        <p:sp>
          <p:nvSpPr>
            <p:cNvPr id="16" name="TextBox 15"/>
            <p:cNvSpPr txBox="1"/>
            <p:nvPr/>
          </p:nvSpPr>
          <p:spPr>
            <a:xfrm>
              <a:off x="5161990" y="3482340"/>
              <a:ext cx="1859280" cy="457200"/>
            </a:xfrm>
            <a:prstGeom prst="rect">
              <a:avLst/>
            </a:prstGeom>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65A"/>
                  </a:solidFill>
                  <a:effectLst/>
                  <a:uLnTx/>
                  <a:uFillTx/>
                  <a:latin typeface="Gilroy Bold"/>
                  <a:ea typeface="+mn-ea"/>
                  <a:cs typeface="+mn-cs"/>
                </a:rPr>
                <a:t>Industry 4.0</a:t>
              </a:r>
            </a:p>
          </p:txBody>
        </p:sp>
        <p:grpSp>
          <p:nvGrpSpPr>
            <p:cNvPr id="17" name="Group 16"/>
            <p:cNvGrpSpPr/>
            <p:nvPr/>
          </p:nvGrpSpPr>
          <p:grpSpPr>
            <a:xfrm>
              <a:off x="1976830" y="1085187"/>
              <a:ext cx="4125300" cy="2210463"/>
              <a:chOff x="457200" y="1085187"/>
              <a:chExt cx="4125300" cy="2210463"/>
            </a:xfrm>
          </p:grpSpPr>
          <p:pic>
            <p:nvPicPr>
              <p:cNvPr id="18" name="Picture 7" descr="image004"/>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57200" y="1085187"/>
                <a:ext cx="1833009"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p:cNvCxnSpPr>
                <a:stCxn id="18" idx="2"/>
              </p:cNvCxnSpPr>
              <p:nvPr/>
            </p:nvCxnSpPr>
            <p:spPr>
              <a:xfrm flipH="1">
                <a:off x="1371600" y="2182467"/>
                <a:ext cx="2105" cy="63693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371600" y="2819400"/>
                <a:ext cx="1404938" cy="47625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4582499" y="1569819"/>
                <a:ext cx="1" cy="31846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1976830" y="4724401"/>
              <a:ext cx="2508250" cy="1176791"/>
              <a:chOff x="457200" y="4724401"/>
              <a:chExt cx="2508250" cy="1176791"/>
            </a:xfrm>
          </p:grpSpPr>
          <p:pic>
            <p:nvPicPr>
              <p:cNvPr id="22" name="Picture 21"/>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7200" y="4803913"/>
                <a:ext cx="1828800" cy="1097279"/>
              </a:xfrm>
              <a:prstGeom prst="rect">
                <a:avLst/>
              </a:prstGeom>
            </p:spPr>
          </p:pic>
          <p:cxnSp>
            <p:nvCxnSpPr>
              <p:cNvPr id="23" name="Straight Connector 22"/>
              <p:cNvCxnSpPr/>
              <p:nvPr/>
            </p:nvCxnSpPr>
            <p:spPr>
              <a:xfrm flipV="1">
                <a:off x="2587625" y="4724401"/>
                <a:ext cx="377825" cy="63182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22" idx="3"/>
              </p:cNvCxnSpPr>
              <p:nvPr/>
            </p:nvCxnSpPr>
            <p:spPr>
              <a:xfrm flipV="1">
                <a:off x="2286000" y="5352552"/>
                <a:ext cx="304800"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7698181" y="4727575"/>
              <a:ext cx="2504038" cy="1173617"/>
              <a:chOff x="6178551" y="4727575"/>
              <a:chExt cx="2504038" cy="1173617"/>
            </a:xfrm>
          </p:grpSpPr>
          <p:pic>
            <p:nvPicPr>
              <p:cNvPr id="26" name="Picture 4" descr="Related image"/>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853791" y="4803913"/>
                <a:ext cx="1828798" cy="1097279"/>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Connector 26"/>
              <p:cNvCxnSpPr/>
              <p:nvPr/>
            </p:nvCxnSpPr>
            <p:spPr>
              <a:xfrm flipH="1" flipV="1">
                <a:off x="6178551" y="4727575"/>
                <a:ext cx="555624" cy="62547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26" idx="1"/>
              </p:cNvCxnSpPr>
              <p:nvPr/>
            </p:nvCxnSpPr>
            <p:spPr>
              <a:xfrm>
                <a:off x="6731458" y="5352553"/>
                <a:ext cx="12233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7329880" y="1085187"/>
              <a:ext cx="2872340" cy="1262727"/>
              <a:chOff x="5810250" y="1085187"/>
              <a:chExt cx="2872340" cy="1262727"/>
            </a:xfrm>
          </p:grpSpPr>
          <p:pic>
            <p:nvPicPr>
              <p:cNvPr id="30" name="Picture 29"/>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853792" y="1085187"/>
                <a:ext cx="1828798" cy="1097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1" name="Straight Connector 30"/>
              <p:cNvCxnSpPr/>
              <p:nvPr/>
            </p:nvCxnSpPr>
            <p:spPr>
              <a:xfrm flipV="1">
                <a:off x="6538831" y="1633826"/>
                <a:ext cx="304800"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810250" y="1635919"/>
                <a:ext cx="731044" cy="71199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33" name="Picture 32"/>
            <p:cNvPicPr>
              <a:picLocks noChangeAspect="1"/>
            </p:cNvPicPr>
            <p:nvPr/>
          </p:nvPicPr>
          <p:blipFill>
            <a:blip r:embed="rId7"/>
            <a:stretch>
              <a:fillRect/>
            </a:stretch>
          </p:blipFill>
          <p:spPr>
            <a:xfrm>
              <a:off x="5570145" y="1031142"/>
              <a:ext cx="1054886" cy="717492"/>
            </a:xfrm>
            <a:prstGeom prst="rect">
              <a:avLst/>
            </a:prstGeom>
          </p:spPr>
        </p:pic>
      </p:grpSp>
    </p:spTree>
    <p:extLst>
      <p:ext uri="{BB962C8B-B14F-4D97-AF65-F5344CB8AC3E}">
        <p14:creationId xmlns:p14="http://schemas.microsoft.com/office/powerpoint/2010/main" val="28461610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gmented Reality Use Cases (Microsoft HoloLens)</a:t>
            </a:r>
            <a:endParaRPr lang="en-CA" dirty="0"/>
          </a:p>
        </p:txBody>
      </p:sp>
      <p:sp>
        <p:nvSpPr>
          <p:cNvPr id="5" name="Content Placeholder 2"/>
          <p:cNvSpPr txBox="1">
            <a:spLocks/>
          </p:cNvSpPr>
          <p:nvPr/>
        </p:nvSpPr>
        <p:spPr>
          <a:xfrm>
            <a:off x="6088415" y="1568361"/>
            <a:ext cx="4522470" cy="4003764"/>
          </a:xfrm>
          <a:prstGeom prst="rect">
            <a:avLst/>
          </a:prstGeom>
        </p:spPr>
        <p:txBody>
          <a:bodyPr/>
          <a:lstStyle>
            <a:lvl1pPr marL="171450" indent="-171450" algn="l" defTabSz="914491" rtl="0" eaLnBrk="1" latinLnBrk="0" hangingPunct="1">
              <a:lnSpc>
                <a:spcPct val="125000"/>
              </a:lnSpc>
              <a:spcBef>
                <a:spcPts val="400"/>
              </a:spcBef>
              <a:spcAft>
                <a:spcPts val="0"/>
              </a:spcAft>
              <a:buFont typeface="Arial" panose="020B0604020202020204" pitchFamily="34" charset="0"/>
              <a:buChar char="•"/>
              <a:defRPr sz="1400" b="0" i="0" u="none" kern="1200" spc="0" baseline="0">
                <a:solidFill>
                  <a:schemeClr val="tx1"/>
                </a:solidFill>
                <a:latin typeface="+mn-lt"/>
                <a:ea typeface="+mn-ea"/>
                <a:cs typeface="Gilroy" panose="00000500000000000000" pitchFamily="2" charset="0"/>
              </a:defRPr>
            </a:lvl1pPr>
            <a:lvl2pPr marL="460421" indent="-230211"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2pPr>
            <a:lvl3pPr marL="684281" indent="-173055" algn="l" defTabSz="914491" rtl="0" eaLnBrk="1" latinLnBrk="0" hangingPunct="1">
              <a:lnSpc>
                <a:spcPct val="125000"/>
              </a:lnSpc>
              <a:spcBef>
                <a:spcPts val="400"/>
              </a:spcBef>
              <a:spcAft>
                <a:spcPts val="0"/>
              </a:spcAft>
              <a:buFont typeface="Gilroy" panose="020B0604020202020204" pitchFamily="34" charset="0"/>
              <a:buChar char="•"/>
              <a:defRPr sz="1400" b="0" i="0" kern="1200" spc="0" baseline="0">
                <a:solidFill>
                  <a:schemeClr val="tx1"/>
                </a:solidFill>
                <a:latin typeface="+mn-lt"/>
                <a:ea typeface="+mn-ea"/>
                <a:cs typeface="Gilroy" panose="00000500000000000000" pitchFamily="2" charset="0"/>
              </a:defRPr>
            </a:lvl3pPr>
            <a:lvl4pPr marL="1030391" indent="-231798" algn="l" defTabSz="914491" rtl="0" eaLnBrk="1" latinLnBrk="0" hangingPunct="1">
              <a:lnSpc>
                <a:spcPct val="125000"/>
              </a:lnSpc>
              <a:spcBef>
                <a:spcPts val="400"/>
              </a:spcBef>
              <a:spcAft>
                <a:spcPts val="0"/>
              </a:spcAft>
              <a:buFont typeface="Gilroy" panose="020B0604020202020204" pitchFamily="34" charset="0"/>
              <a:buChar char="–"/>
              <a:defRPr lang="en-US" sz="1400" kern="1200" spc="-20" baseline="0" dirty="0" smtClean="0">
                <a:solidFill>
                  <a:schemeClr val="tx1"/>
                </a:solidFill>
                <a:latin typeface="+mn-lt"/>
                <a:ea typeface="+mn-ea"/>
                <a:cs typeface="Gilroy" panose="020F0302020204030204" pitchFamily="34" charset="0"/>
              </a:defRPr>
            </a:lvl4pPr>
            <a:lvl5pPr marL="1260601" indent="-173055" algn="l" defTabSz="914491" rtl="0" eaLnBrk="1" latinLnBrk="0" hangingPunct="1">
              <a:lnSpc>
                <a:spcPct val="125000"/>
              </a:lnSpc>
              <a:spcBef>
                <a:spcPts val="400"/>
              </a:spcBef>
              <a:spcAft>
                <a:spcPts val="0"/>
              </a:spcAft>
              <a:buFont typeface="Gilroy" panose="020B0604020202020204" pitchFamily="34" charset="0"/>
              <a:buChar char="•"/>
              <a:defRPr sz="1400" kern="1200" spc="-20" baseline="0">
                <a:solidFill>
                  <a:schemeClr val="tx1"/>
                </a:solidFill>
                <a:latin typeface="+mn-lt"/>
                <a:ea typeface="+mn-ea"/>
                <a:cs typeface="Gilroy" panose="020F0302020204030204" pitchFamily="34" charset="0"/>
              </a:defRPr>
            </a:lvl5pPr>
            <a:lvl6pPr marL="2514851"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6pPr>
            <a:lvl7pPr marL="2972097"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7pPr>
            <a:lvl8pPr marL="3429343"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8pPr>
            <a:lvl9pPr marL="3886589" indent="-228623" algn="l" defTabSz="914491" rtl="0" eaLnBrk="1" latinLnBrk="0" hangingPunct="1">
              <a:spcBef>
                <a:spcPct val="20000"/>
              </a:spcBef>
              <a:buFont typeface="Gilroy" panose="020B0604020202020204" pitchFamily="34" charset="0"/>
              <a:buChar char="•"/>
              <a:defRPr sz="2000" kern="1200">
                <a:solidFill>
                  <a:schemeClr val="tx1"/>
                </a:solidFill>
                <a:latin typeface="+mn-lt"/>
                <a:ea typeface="+mn-ea"/>
                <a:cs typeface="+mn-cs"/>
              </a:defRPr>
            </a:lvl9pPr>
          </a:lstStyle>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Tool Build Review</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Kit Build Review</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Virtual Metal Overlay for Buy-off</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Multi-User Reviews (Global)</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Line Build Review</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Ergo Review and Operator Training</a:t>
            </a:r>
          </a:p>
          <a:p>
            <a:pPr marL="288925" marR="0" lvl="0" indent="-288925" algn="l" defTabSz="914491" rtl="0" eaLnBrk="1" fontAlgn="auto" latinLnBrk="0" hangingPunct="1">
              <a:lnSpc>
                <a:spcPct val="125000"/>
              </a:lnSpc>
              <a:spcBef>
                <a:spcPts val="400"/>
              </a:spcBef>
              <a:spcAft>
                <a:spcPts val="1600"/>
              </a:spcAft>
              <a:buClrTx/>
              <a:buSzTx/>
              <a:buFont typeface="+mj-lt"/>
              <a:buAutoNum type="arabicPeriod"/>
              <a:tabLst/>
              <a:defRPr/>
            </a:pPr>
            <a:r>
              <a:rPr kumimoji="0" lang="en-US" sz="1800" b="0" i="0" u="none" strike="noStrike" kern="1200" cap="none" spc="0" normalizeH="0" baseline="0" noProof="0" dirty="0">
                <a:ln>
                  <a:noFill/>
                </a:ln>
                <a:solidFill>
                  <a:srgbClr val="54565A"/>
                </a:solidFill>
                <a:effectLst/>
                <a:uLnTx/>
                <a:uFillTx/>
                <a:latin typeface="Gilroy"/>
                <a:ea typeface="+mn-ea"/>
              </a:rPr>
              <a:t>Upfront Maintainability Review</a:t>
            </a:r>
          </a:p>
        </p:txBody>
      </p:sp>
      <p:grpSp>
        <p:nvGrpSpPr>
          <p:cNvPr id="6" name="Group 5"/>
          <p:cNvGrpSpPr/>
          <p:nvPr/>
        </p:nvGrpSpPr>
        <p:grpSpPr>
          <a:xfrm>
            <a:off x="5657885" y="1596582"/>
            <a:ext cx="274320" cy="274320"/>
            <a:chOff x="5715000" y="3322639"/>
            <a:chExt cx="457200" cy="457200"/>
          </a:xfrm>
        </p:grpSpPr>
        <p:sp>
          <p:nvSpPr>
            <p:cNvPr id="7" name="Oval 6"/>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8" name="L-Shape 7"/>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9" name="Group 8"/>
          <p:cNvGrpSpPr/>
          <p:nvPr/>
        </p:nvGrpSpPr>
        <p:grpSpPr>
          <a:xfrm>
            <a:off x="5657885" y="4034469"/>
            <a:ext cx="274320" cy="274320"/>
            <a:chOff x="5715000" y="3322639"/>
            <a:chExt cx="457200" cy="457200"/>
          </a:xfrm>
        </p:grpSpPr>
        <p:sp>
          <p:nvSpPr>
            <p:cNvPr id="10" name="Oval 9"/>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1" name="L-Shape 10"/>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12" name="Group 11"/>
          <p:cNvGrpSpPr/>
          <p:nvPr/>
        </p:nvGrpSpPr>
        <p:grpSpPr>
          <a:xfrm>
            <a:off x="5657885" y="4646969"/>
            <a:ext cx="274320" cy="274320"/>
            <a:chOff x="5715000" y="3322639"/>
            <a:chExt cx="457200" cy="457200"/>
          </a:xfrm>
        </p:grpSpPr>
        <p:sp>
          <p:nvSpPr>
            <p:cNvPr id="13" name="Oval 12"/>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4" name="L-Shape 13"/>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15" name="Group 14"/>
          <p:cNvGrpSpPr/>
          <p:nvPr/>
        </p:nvGrpSpPr>
        <p:grpSpPr>
          <a:xfrm>
            <a:off x="5657885" y="3429157"/>
            <a:ext cx="274320" cy="274320"/>
            <a:chOff x="5715000" y="3322639"/>
            <a:chExt cx="457200" cy="457200"/>
          </a:xfrm>
        </p:grpSpPr>
        <p:sp>
          <p:nvSpPr>
            <p:cNvPr id="16" name="Oval 15"/>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17" name="L-Shape 16"/>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18" name="Group 17"/>
          <p:cNvGrpSpPr/>
          <p:nvPr/>
        </p:nvGrpSpPr>
        <p:grpSpPr>
          <a:xfrm>
            <a:off x="5657885" y="2207517"/>
            <a:ext cx="274320" cy="274320"/>
            <a:chOff x="3740525" y="2209800"/>
            <a:chExt cx="457200" cy="457200"/>
          </a:xfrm>
        </p:grpSpPr>
        <p:sp>
          <p:nvSpPr>
            <p:cNvPr id="19" name="Oval 18"/>
            <p:cNvSpPr/>
            <p:nvPr/>
          </p:nvSpPr>
          <p:spPr>
            <a:xfrm>
              <a:off x="3740525" y="22098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0" name="L-Shape 19"/>
            <p:cNvSpPr/>
            <p:nvPr/>
          </p:nvSpPr>
          <p:spPr>
            <a:xfrm rot="18900000">
              <a:off x="3873875" y="2381250"/>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21" name="Group 20"/>
          <p:cNvGrpSpPr/>
          <p:nvPr/>
        </p:nvGrpSpPr>
        <p:grpSpPr>
          <a:xfrm>
            <a:off x="5657885" y="2827126"/>
            <a:ext cx="274320" cy="274320"/>
            <a:chOff x="5715000" y="3322639"/>
            <a:chExt cx="457200" cy="457200"/>
          </a:xfrm>
        </p:grpSpPr>
        <p:sp>
          <p:nvSpPr>
            <p:cNvPr id="22" name="Oval 21"/>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3" name="L-Shape 22"/>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nvGrpSpPr>
          <p:cNvPr id="24" name="Group 23"/>
          <p:cNvGrpSpPr/>
          <p:nvPr/>
        </p:nvGrpSpPr>
        <p:grpSpPr>
          <a:xfrm>
            <a:off x="5657885" y="5259411"/>
            <a:ext cx="274320" cy="274320"/>
            <a:chOff x="5715000" y="3322639"/>
            <a:chExt cx="457200" cy="457200"/>
          </a:xfrm>
        </p:grpSpPr>
        <p:sp>
          <p:nvSpPr>
            <p:cNvPr id="25" name="Oval 24"/>
            <p:cNvSpPr/>
            <p:nvPr/>
          </p:nvSpPr>
          <p:spPr>
            <a:xfrm>
              <a:off x="5715000" y="3322639"/>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6" name="L-Shape 25"/>
            <p:cNvSpPr/>
            <p:nvPr/>
          </p:nvSpPr>
          <p:spPr>
            <a:xfrm rot="18900000">
              <a:off x="5848350" y="3494089"/>
              <a:ext cx="190500" cy="1143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sp>
        <p:nvSpPr>
          <p:cNvPr id="27" name="Rectangle 26"/>
          <p:cNvSpPr/>
          <p:nvPr/>
        </p:nvSpPr>
        <p:spPr>
          <a:xfrm>
            <a:off x="3277634" y="1282165"/>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8" name="Rectangle 27"/>
          <p:cNvSpPr/>
          <p:nvPr/>
        </p:nvSpPr>
        <p:spPr>
          <a:xfrm>
            <a:off x="1470243" y="1892347"/>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29" name="Rectangle 28"/>
          <p:cNvSpPr/>
          <p:nvPr/>
        </p:nvSpPr>
        <p:spPr>
          <a:xfrm>
            <a:off x="3277634" y="2502529"/>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0" name="Rectangle 29"/>
          <p:cNvSpPr/>
          <p:nvPr/>
        </p:nvSpPr>
        <p:spPr>
          <a:xfrm>
            <a:off x="1470243" y="3107841"/>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1" name="Rectangle 30"/>
          <p:cNvSpPr/>
          <p:nvPr/>
        </p:nvSpPr>
        <p:spPr>
          <a:xfrm>
            <a:off x="3277634" y="3718023"/>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2" name="Rectangle 31"/>
          <p:cNvSpPr/>
          <p:nvPr/>
        </p:nvSpPr>
        <p:spPr>
          <a:xfrm>
            <a:off x="1470243" y="4323335"/>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33" name="Rectangle 32"/>
          <p:cNvSpPr/>
          <p:nvPr/>
        </p:nvSpPr>
        <p:spPr>
          <a:xfrm>
            <a:off x="3277634" y="4933517"/>
            <a:ext cx="137160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pic>
        <p:nvPicPr>
          <p:cNvPr id="34" name="Picture 33"/>
          <p:cNvPicPr>
            <a:picLocks noChangeAspect="1"/>
          </p:cNvPicPr>
          <p:nvPr/>
        </p:nvPicPr>
        <p:blipFill rotWithShape="1">
          <a:blip r:embed="rId2" cstate="print">
            <a:extLst>
              <a:ext uri="{28A0092B-C50C-407E-A947-70E740481C1C}">
                <a14:useLocalDpi xmlns:a14="http://schemas.microsoft.com/office/drawing/2010/main"/>
              </a:ext>
            </a:extLst>
          </a:blip>
          <a:srcRect t="-1"/>
          <a:stretch/>
        </p:blipFill>
        <p:spPr>
          <a:xfrm>
            <a:off x="3276600" y="1282164"/>
            <a:ext cx="1372634" cy="914401"/>
          </a:xfrm>
          <a:prstGeom prst="rect">
            <a:avLst/>
          </a:prstGeom>
        </p:spPr>
      </p:pic>
      <p:pic>
        <p:nvPicPr>
          <p:cNvPr id="35" name="Picture 3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80399" y="3718023"/>
            <a:ext cx="1368836" cy="91440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a:ext>
            </a:extLst>
          </a:blip>
          <a:srcRect r="9030"/>
          <a:stretch/>
        </p:blipFill>
        <p:spPr>
          <a:xfrm>
            <a:off x="1466885" y="4327312"/>
            <a:ext cx="1374957" cy="910423"/>
          </a:xfrm>
          <a:prstGeom prst="rect">
            <a:avLst/>
          </a:prstGeom>
        </p:spPr>
      </p:pic>
      <p:pic>
        <p:nvPicPr>
          <p:cNvPr id="37" name="Picture 36"/>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282149" y="4933517"/>
            <a:ext cx="1367085" cy="914400"/>
          </a:xfrm>
          <a:prstGeom prst="rect">
            <a:avLst/>
          </a:prstGeom>
        </p:spPr>
      </p:pic>
      <p:pic>
        <p:nvPicPr>
          <p:cNvPr id="38" name="Picture 37"/>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466885" y="1892347"/>
            <a:ext cx="1374957" cy="913818"/>
          </a:xfrm>
          <a:prstGeom prst="rect">
            <a:avLst/>
          </a:prstGeom>
        </p:spPr>
      </p:pic>
      <p:pic>
        <p:nvPicPr>
          <p:cNvPr id="39" name="Picture 38"/>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282149" y="2497659"/>
            <a:ext cx="1367085" cy="919270"/>
          </a:xfrm>
          <a:prstGeom prst="rect">
            <a:avLst/>
          </a:prstGeom>
        </p:spPr>
      </p:pic>
      <p:pic>
        <p:nvPicPr>
          <p:cNvPr id="40" name="Picture 39"/>
          <p:cNvPicPr>
            <a:picLocks noChangeAspect="1"/>
          </p:cNvPicPr>
          <p:nvPr/>
        </p:nvPicPr>
        <p:blipFill rotWithShape="1">
          <a:blip r:embed="rId8" cstate="print">
            <a:extLst>
              <a:ext uri="{28A0092B-C50C-407E-A947-70E740481C1C}">
                <a14:useLocalDpi xmlns:a14="http://schemas.microsoft.com/office/drawing/2010/main"/>
              </a:ext>
            </a:extLst>
          </a:blip>
          <a:srcRect l="-171"/>
          <a:stretch/>
        </p:blipFill>
        <p:spPr>
          <a:xfrm>
            <a:off x="1466885" y="3113529"/>
            <a:ext cx="1374957" cy="908712"/>
          </a:xfrm>
          <a:prstGeom prst="rect">
            <a:avLst/>
          </a:prstGeom>
        </p:spPr>
      </p:pic>
      <p:cxnSp>
        <p:nvCxnSpPr>
          <p:cNvPr id="41" name="Straight Arrow Connector 40"/>
          <p:cNvCxnSpPr>
            <a:stCxn id="7" idx="2"/>
            <a:endCxn id="34" idx="3"/>
          </p:cNvCxnSpPr>
          <p:nvPr/>
        </p:nvCxnSpPr>
        <p:spPr>
          <a:xfrm flipH="1">
            <a:off x="4649234" y="1733742"/>
            <a:ext cx="1008651" cy="5623"/>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9" idx="2"/>
            <a:endCxn id="38" idx="3"/>
          </p:cNvCxnSpPr>
          <p:nvPr/>
        </p:nvCxnSpPr>
        <p:spPr>
          <a:xfrm flipH="1">
            <a:off x="2841842" y="2344677"/>
            <a:ext cx="2816043" cy="4579"/>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22" idx="2"/>
            <a:endCxn id="29" idx="3"/>
          </p:cNvCxnSpPr>
          <p:nvPr/>
        </p:nvCxnSpPr>
        <p:spPr>
          <a:xfrm flipH="1" flipV="1">
            <a:off x="4649234" y="2959729"/>
            <a:ext cx="1008651" cy="455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6" idx="2"/>
            <a:endCxn id="30" idx="3"/>
          </p:cNvCxnSpPr>
          <p:nvPr/>
        </p:nvCxnSpPr>
        <p:spPr>
          <a:xfrm flipH="1" flipV="1">
            <a:off x="2841843" y="3565041"/>
            <a:ext cx="2816042" cy="1276"/>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0" idx="2"/>
            <a:endCxn id="35" idx="3"/>
          </p:cNvCxnSpPr>
          <p:nvPr/>
        </p:nvCxnSpPr>
        <p:spPr>
          <a:xfrm flipH="1">
            <a:off x="4649235" y="4171629"/>
            <a:ext cx="1008650" cy="359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13" idx="2"/>
            <a:endCxn id="36" idx="3"/>
          </p:cNvCxnSpPr>
          <p:nvPr/>
        </p:nvCxnSpPr>
        <p:spPr>
          <a:xfrm flipH="1" flipV="1">
            <a:off x="2841842" y="4782524"/>
            <a:ext cx="2816043" cy="1605"/>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2"/>
            <a:endCxn id="33" idx="3"/>
          </p:cNvCxnSpPr>
          <p:nvPr/>
        </p:nvCxnSpPr>
        <p:spPr>
          <a:xfrm flipH="1" flipV="1">
            <a:off x="4649234" y="5390717"/>
            <a:ext cx="1008651" cy="585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10058400" y="1109256"/>
            <a:ext cx="1857523" cy="648204"/>
            <a:chOff x="9191477" y="1520381"/>
            <a:chExt cx="1857523" cy="648204"/>
          </a:xfrm>
        </p:grpSpPr>
        <p:grpSp>
          <p:nvGrpSpPr>
            <p:cNvPr id="48" name="Group 47"/>
            <p:cNvGrpSpPr/>
            <p:nvPr/>
          </p:nvGrpSpPr>
          <p:grpSpPr>
            <a:xfrm>
              <a:off x="9191477" y="1520381"/>
              <a:ext cx="1636161" cy="297683"/>
              <a:chOff x="7010400" y="475998"/>
              <a:chExt cx="1636161" cy="297683"/>
            </a:xfrm>
          </p:grpSpPr>
          <p:sp>
            <p:nvSpPr>
              <p:cNvPr id="49" name="TextBox 48"/>
              <p:cNvSpPr txBox="1"/>
              <p:nvPr/>
            </p:nvSpPr>
            <p:spPr>
              <a:xfrm>
                <a:off x="7366287" y="475998"/>
                <a:ext cx="1280274" cy="29768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ABF4B"/>
                    </a:solidFill>
                    <a:effectLst/>
                    <a:uLnTx/>
                    <a:uFillTx/>
                    <a:latin typeface="Gilroy"/>
                    <a:ea typeface="+mn-ea"/>
                    <a:cs typeface="+mn-cs"/>
                  </a:rPr>
                  <a:t>User Acceptance</a:t>
                </a:r>
              </a:p>
            </p:txBody>
          </p:sp>
          <p:grpSp>
            <p:nvGrpSpPr>
              <p:cNvPr id="50" name="Group 49"/>
              <p:cNvGrpSpPr/>
              <p:nvPr/>
            </p:nvGrpSpPr>
            <p:grpSpPr>
              <a:xfrm>
                <a:off x="7010400" y="475998"/>
                <a:ext cx="274320" cy="274320"/>
                <a:chOff x="691774" y="5554095"/>
                <a:chExt cx="347472" cy="347472"/>
              </a:xfrm>
            </p:grpSpPr>
            <p:sp>
              <p:nvSpPr>
                <p:cNvPr id="51" name="Oval 50"/>
                <p:cNvSpPr/>
                <p:nvPr/>
              </p:nvSpPr>
              <p:spPr>
                <a:xfrm>
                  <a:off x="691774" y="5554095"/>
                  <a:ext cx="347472" cy="3474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52" name="L-Shape 51"/>
                <p:cNvSpPr/>
                <p:nvPr/>
              </p:nvSpPr>
              <p:spPr>
                <a:xfrm rot="18900000">
                  <a:off x="793120" y="5684397"/>
                  <a:ext cx="144780" cy="86868"/>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grpSp>
        <p:grpSp>
          <p:nvGrpSpPr>
            <p:cNvPr id="53" name="Group 52"/>
            <p:cNvGrpSpPr/>
            <p:nvPr/>
          </p:nvGrpSpPr>
          <p:grpSpPr>
            <a:xfrm>
              <a:off x="9200295" y="1870902"/>
              <a:ext cx="1848705" cy="297683"/>
              <a:chOff x="7019218" y="826519"/>
              <a:chExt cx="1848705" cy="297683"/>
            </a:xfrm>
          </p:grpSpPr>
          <p:grpSp>
            <p:nvGrpSpPr>
              <p:cNvPr id="54" name="Group 53"/>
              <p:cNvGrpSpPr/>
              <p:nvPr/>
            </p:nvGrpSpPr>
            <p:grpSpPr>
              <a:xfrm>
                <a:off x="7019218" y="849882"/>
                <a:ext cx="274320" cy="274320"/>
                <a:chOff x="7019218" y="849882"/>
                <a:chExt cx="274320" cy="274320"/>
              </a:xfrm>
            </p:grpSpPr>
            <p:sp>
              <p:nvSpPr>
                <p:cNvPr id="56" name="Oval 55"/>
                <p:cNvSpPr/>
                <p:nvPr/>
              </p:nvSpPr>
              <p:spPr>
                <a:xfrm>
                  <a:off x="7019218" y="849882"/>
                  <a:ext cx="274320" cy="2743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sp>
              <p:nvSpPr>
                <p:cNvPr id="57" name="L-Shape 56"/>
                <p:cNvSpPr/>
                <p:nvPr/>
              </p:nvSpPr>
              <p:spPr>
                <a:xfrm rot="18900000">
                  <a:off x="7099228" y="952752"/>
                  <a:ext cx="114300" cy="6858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roy"/>
                    <a:ea typeface="+mn-ea"/>
                    <a:cs typeface="+mn-cs"/>
                  </a:endParaRPr>
                </a:p>
              </p:txBody>
            </p:sp>
          </p:grpSp>
          <p:sp>
            <p:nvSpPr>
              <p:cNvPr id="55" name="TextBox 54"/>
              <p:cNvSpPr txBox="1"/>
              <p:nvPr/>
            </p:nvSpPr>
            <p:spPr>
              <a:xfrm>
                <a:off x="7366286" y="826519"/>
                <a:ext cx="1501637" cy="29768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C000"/>
                    </a:solidFill>
                    <a:effectLst/>
                    <a:uLnTx/>
                    <a:uFillTx/>
                    <a:latin typeface="Gilroy"/>
                    <a:ea typeface="+mn-ea"/>
                    <a:cs typeface="+mn-cs"/>
                  </a:rPr>
                  <a:t>Under development</a:t>
                </a:r>
              </a:p>
            </p:txBody>
          </p:sp>
        </p:grpSp>
      </p:grpSp>
    </p:spTree>
    <p:extLst>
      <p:ext uri="{BB962C8B-B14F-4D97-AF65-F5344CB8AC3E}">
        <p14:creationId xmlns:p14="http://schemas.microsoft.com/office/powerpoint/2010/main" val="3430476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UKwzI.7QXuw5JNcAwBGkA"/>
</p:tagLst>
</file>

<file path=ppt/tags/tag4.xml><?xml version="1.0" encoding="utf-8"?>
<p:tagLst xmlns:a="http://schemas.openxmlformats.org/drawingml/2006/main" xmlns:r="http://schemas.openxmlformats.org/officeDocument/2006/relationships" xmlns:p="http://schemas.openxmlformats.org/presentationml/2006/main">
  <p:tag name="TIMING" val="|1.8"/>
</p:tagLst>
</file>

<file path=ppt/tags/tag5.xml><?xml version="1.0" encoding="utf-8"?>
<p:tagLst xmlns:a="http://schemas.openxmlformats.org/drawingml/2006/main" xmlns:r="http://schemas.openxmlformats.org/officeDocument/2006/relationships" xmlns:p="http://schemas.openxmlformats.org/presentationml/2006/main">
  <p:tag name="TIMING" val="|15|0.8|1.9|0.5|2.6|0.3"/>
</p:tagLst>
</file>

<file path=ppt/tags/tag6.xml><?xml version="1.0" encoding="utf-8"?>
<p:tagLst xmlns:a="http://schemas.openxmlformats.org/drawingml/2006/main" xmlns:r="http://schemas.openxmlformats.org/officeDocument/2006/relationships" xmlns:p="http://schemas.openxmlformats.org/presentationml/2006/main">
  <p:tag name="TIMING" val="|3.9|11.3|8.6|19.9"/>
</p:tagLst>
</file>

<file path=ppt/tags/tag7.xml><?xml version="1.0" encoding="utf-8"?>
<p:tagLst xmlns:a="http://schemas.openxmlformats.org/drawingml/2006/main" xmlns:r="http://schemas.openxmlformats.org/officeDocument/2006/relationships" xmlns:p="http://schemas.openxmlformats.org/presentationml/2006/main">
  <p:tag name="TIMING" val="|34.1|14|24.8|28.5"/>
</p:tagLst>
</file>

<file path=ppt/theme/theme1.xml><?xml version="1.0" encoding="utf-8"?>
<a:theme xmlns:a="http://schemas.openxmlformats.org/drawingml/2006/main" name="150707 TEMPLATE OMRON Automation and Safety">
  <a:themeElements>
    <a:clrScheme name="Omron Palette">
      <a:dk1>
        <a:srgbClr val="000000"/>
      </a:dk1>
      <a:lt1>
        <a:srgbClr val="FFFFFF"/>
      </a:lt1>
      <a:dk2>
        <a:srgbClr val="333333"/>
      </a:dk2>
      <a:lt2>
        <a:srgbClr val="58595B"/>
      </a:lt2>
      <a:accent1>
        <a:srgbClr val="0079C2"/>
      </a:accent1>
      <a:accent2>
        <a:srgbClr val="FF0000"/>
      </a:accent2>
      <a:accent3>
        <a:srgbClr val="33CC33"/>
      </a:accent3>
      <a:accent4>
        <a:srgbClr val="FF6600"/>
      </a:accent4>
      <a:accent5>
        <a:srgbClr val="7030A0"/>
      </a:accent5>
      <a:accent6>
        <a:srgbClr val="FFFF00"/>
      </a:accent6>
      <a:hlink>
        <a:srgbClr val="0079C2"/>
      </a:hlink>
      <a:folHlink>
        <a:srgbClr val="0079C2"/>
      </a:folHlink>
    </a:clrScheme>
    <a:fontScheme name="Omron Fonts">
      <a:majorFont>
        <a:latin typeface="Myriad Pro Light"/>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45720" rIns="45720" rtlCol="0" anchor="ctr">
        <a:noAutofit/>
      </a:bodyPr>
      <a:lstStyle>
        <a:defPPr algn="ctr">
          <a:spcAft>
            <a:spcPts val="300"/>
          </a:spcAft>
          <a:defRPr dirty="0" smtClean="0">
            <a:latin typeface="Calibri" panose="020F0502020204030204" pitchFamily="34" charset="0"/>
          </a:defRPr>
        </a:defPPr>
      </a:lstStyle>
      <a:style>
        <a:lnRef idx="2">
          <a:schemeClr val="accent1"/>
        </a:lnRef>
        <a:fillRef idx="1">
          <a:schemeClr val="lt1"/>
        </a:fillRef>
        <a:effectRef idx="0">
          <a:schemeClr val="accent1"/>
        </a:effectRef>
        <a:fontRef idx="minor">
          <a:schemeClr val="dk1"/>
        </a:fontRef>
      </a:style>
    </a:spDef>
    <a:txDef>
      <a:spPr>
        <a:noFill/>
      </a:spPr>
      <a:bodyPr wrap="square" lIns="45720" rIns="45720" rtlCol="0" anchor="ctr" anchorCtr="0">
        <a:spAutoFit/>
      </a:bodyPr>
      <a:lstStyle>
        <a:defPPr algn="ctr">
          <a:spcAft>
            <a:spcPts val="300"/>
          </a:spcAft>
          <a:defRPr dirty="0" err="1" smtClean="0">
            <a:solidFill>
              <a:srgbClr val="4D4D4D"/>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1_2016_OMRON_kickoff_format_A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28575">
          <a:solidFill>
            <a:schemeClr val="accent1"/>
          </a:solidFill>
        </a:ln>
        <a:effectLst/>
      </a:spPr>
      <a:bodyPr rtlCol="0" anchor="t"/>
      <a:lstStyle>
        <a:defPPr>
          <a:defRPr sz="1400" b="1" dirty="0" smtClean="0">
            <a:solidFill>
              <a:schemeClr val="tx1"/>
            </a:solidFill>
            <a:latin typeface="Meiryo UI" panose="020B0604030504040204" pitchFamily="50" charset="-128"/>
            <a:ea typeface="Meiryo UI" panose="020B0604030504040204" pitchFamily="50" charset="-128"/>
          </a:defRPr>
        </a:defPPr>
      </a:lstStyle>
      <a:style>
        <a:lnRef idx="1">
          <a:schemeClr val="accent1"/>
        </a:lnRef>
        <a:fillRef idx="3">
          <a:schemeClr val="accent1"/>
        </a:fillRef>
        <a:effectRef idx="2">
          <a:schemeClr val="accent1"/>
        </a:effectRef>
        <a:fontRef idx="minor">
          <a:schemeClr val="lt1"/>
        </a:fontRef>
      </a:style>
    </a:spDef>
    <a:lnDef>
      <a:spPr>
        <a:ln w="38100">
          <a:solidFill>
            <a:schemeClr val="accent1"/>
          </a:solidFill>
          <a:prstDash val="soli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none" rtlCol="0" anchor="t" anchorCtr="0">
        <a:spAutoFit/>
      </a:bodyPr>
      <a:lstStyle>
        <a:defPPr>
          <a:defRPr sz="2000"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3.xml><?xml version="1.0" encoding="utf-8"?>
<a:theme xmlns:a="http://schemas.openxmlformats.org/drawingml/2006/main" name="1_150707 TEMPLATE OMRON Automation and Safety">
  <a:themeElements>
    <a:clrScheme name="Omron Palette">
      <a:dk1>
        <a:srgbClr val="000000"/>
      </a:dk1>
      <a:lt1>
        <a:srgbClr val="FFFFFF"/>
      </a:lt1>
      <a:dk2>
        <a:srgbClr val="333333"/>
      </a:dk2>
      <a:lt2>
        <a:srgbClr val="58595B"/>
      </a:lt2>
      <a:accent1>
        <a:srgbClr val="0079C2"/>
      </a:accent1>
      <a:accent2>
        <a:srgbClr val="FF0000"/>
      </a:accent2>
      <a:accent3>
        <a:srgbClr val="33CC33"/>
      </a:accent3>
      <a:accent4>
        <a:srgbClr val="FF6600"/>
      </a:accent4>
      <a:accent5>
        <a:srgbClr val="7030A0"/>
      </a:accent5>
      <a:accent6>
        <a:srgbClr val="FFFF00"/>
      </a:accent6>
      <a:hlink>
        <a:srgbClr val="0079C2"/>
      </a:hlink>
      <a:folHlink>
        <a:srgbClr val="0079C2"/>
      </a:folHlink>
    </a:clrScheme>
    <a:fontScheme name="Omron Fonts">
      <a:majorFont>
        <a:latin typeface="Myriad Pro Light"/>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45720" rIns="45720" rtlCol="0" anchor="ctr">
        <a:noAutofit/>
      </a:bodyPr>
      <a:lstStyle>
        <a:defPPr algn="ctr">
          <a:spcAft>
            <a:spcPts val="300"/>
          </a:spcAft>
          <a:defRPr dirty="0" smtClean="0">
            <a:latin typeface="Calibri" panose="020F0502020204030204" pitchFamily="34" charset="0"/>
          </a:defRPr>
        </a:defPPr>
      </a:lstStyle>
      <a:style>
        <a:lnRef idx="2">
          <a:schemeClr val="accent1"/>
        </a:lnRef>
        <a:fillRef idx="1">
          <a:schemeClr val="lt1"/>
        </a:fillRef>
        <a:effectRef idx="0">
          <a:schemeClr val="accent1"/>
        </a:effectRef>
        <a:fontRef idx="minor">
          <a:schemeClr val="dk1"/>
        </a:fontRef>
      </a:style>
    </a:spDef>
    <a:txDef>
      <a:spPr>
        <a:noFill/>
      </a:spPr>
      <a:bodyPr wrap="square" lIns="45720" rIns="45720" rtlCol="0" anchor="ctr" anchorCtr="0">
        <a:spAutoFit/>
      </a:bodyPr>
      <a:lstStyle>
        <a:defPPr algn="ctr">
          <a:spcAft>
            <a:spcPts val="300"/>
          </a:spcAft>
          <a:defRPr dirty="0" err="1" smtClean="0">
            <a:solidFill>
              <a:srgbClr val="4D4D4D"/>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Valiant TMS">
  <a:themeElements>
    <a:clrScheme name="Valiant TMS">
      <a:dk1>
        <a:srgbClr val="54565A"/>
      </a:dk1>
      <a:lt1>
        <a:srgbClr val="FFFFFF"/>
      </a:lt1>
      <a:dk2>
        <a:srgbClr val="005487"/>
      </a:dk2>
      <a:lt2>
        <a:srgbClr val="FFFFFF"/>
      </a:lt2>
      <a:accent1>
        <a:srgbClr val="898A8D"/>
      </a:accent1>
      <a:accent2>
        <a:srgbClr val="0083D3"/>
      </a:accent2>
      <a:accent3>
        <a:srgbClr val="54565A"/>
      </a:accent3>
      <a:accent4>
        <a:srgbClr val="6ABF4B"/>
      </a:accent4>
      <a:accent5>
        <a:srgbClr val="9264CC"/>
      </a:accent5>
      <a:accent6>
        <a:srgbClr val="F93549"/>
      </a:accent6>
      <a:hlink>
        <a:srgbClr val="0083D3"/>
      </a:hlink>
      <a:folHlink>
        <a:srgbClr val="F93549"/>
      </a:folHlink>
    </a:clrScheme>
    <a:fontScheme name="Valiant TMS">
      <a:majorFont>
        <a:latin typeface="Gilroy Bold"/>
        <a:ea typeface=""/>
        <a:cs typeface=""/>
      </a:majorFont>
      <a:minorFont>
        <a:latin typeface="Gilro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0" rIns="0" bIns="0" rtlCol="0">
        <a:noAutofit/>
      </a:bodyPr>
      <a:lstStyle>
        <a:defPPr>
          <a:defRPr sz="1200" dirty="0" smtClean="0"/>
        </a:defPPr>
      </a:lstStyle>
    </a:txDef>
  </a:objectDefaults>
  <a:extraClrSchemeLst/>
  <a:extLst>
    <a:ext uri="{05A4C25C-085E-4340-85A3-A5531E510DB2}">
      <thm15:themeFamily xmlns:thm15="http://schemas.microsoft.com/office/thememl/2012/main" name="Presentation1" id="{BF1010A8-C6C5-418F-A6A3-BDFC963A3E89}" vid="{04F11EAE-5B66-4E07-8835-253CAEA088E1}"/>
    </a:ext>
  </a:extLst>
</a:theme>
</file>

<file path=ppt/theme/theme5.xml><?xml version="1.0" encoding="utf-8"?>
<a:theme xmlns:a="http://schemas.openxmlformats.org/drawingml/2006/main" name="Content Page Design">
  <a:themeElements>
    <a:clrScheme name="Microscan theme">
      <a:dk1>
        <a:sysClr val="windowText" lastClr="000000"/>
      </a:dk1>
      <a:lt1>
        <a:sysClr val="window" lastClr="FFFFFF"/>
      </a:lt1>
      <a:dk2>
        <a:srgbClr val="7F7F7F"/>
      </a:dk2>
      <a:lt2>
        <a:srgbClr val="E7E6E6"/>
      </a:lt2>
      <a:accent1>
        <a:srgbClr val="000000"/>
      </a:accent1>
      <a:accent2>
        <a:srgbClr val="7F7F7F"/>
      </a:accent2>
      <a:accent3>
        <a:srgbClr val="70AD47"/>
      </a:accent3>
      <a:accent4>
        <a:srgbClr val="FFC000"/>
      </a:accent4>
      <a:accent5>
        <a:srgbClr val="034A90"/>
      </a:accent5>
      <a:accent6>
        <a:srgbClr val="BF2E1A"/>
      </a:accent6>
      <a:hlink>
        <a:srgbClr val="BF2E1A"/>
      </a:hlink>
      <a:folHlink>
        <a:srgbClr val="BF2E1A"/>
      </a:folHlink>
    </a:clrScheme>
    <a:fontScheme name="Microscan fonts">
      <a:majorFont>
        <a:latin typeface="HelveticaNeueLT Std Thin"/>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_180501 MasterTemplate_2018_Test_d140502">
  <a:themeElements>
    <a:clrScheme name="Omron Palette">
      <a:dk1>
        <a:srgbClr val="000000"/>
      </a:dk1>
      <a:lt1>
        <a:srgbClr val="FFFFFF"/>
      </a:lt1>
      <a:dk2>
        <a:srgbClr val="333333"/>
      </a:dk2>
      <a:lt2>
        <a:srgbClr val="58595B"/>
      </a:lt2>
      <a:accent1>
        <a:srgbClr val="0079C2"/>
      </a:accent1>
      <a:accent2>
        <a:srgbClr val="FF0000"/>
      </a:accent2>
      <a:accent3>
        <a:srgbClr val="33CC33"/>
      </a:accent3>
      <a:accent4>
        <a:srgbClr val="FF6600"/>
      </a:accent4>
      <a:accent5>
        <a:srgbClr val="7030A0"/>
      </a:accent5>
      <a:accent6>
        <a:srgbClr val="FFFF00"/>
      </a:accent6>
      <a:hlink>
        <a:srgbClr val="0079C2"/>
      </a:hlink>
      <a:folHlink>
        <a:srgbClr val="0079C2"/>
      </a:folHlink>
    </a:clrScheme>
    <a:fontScheme name="Omron Fonts">
      <a:majorFont>
        <a:latin typeface="Myriad Pro Light"/>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45720" rIns="45720" rtlCol="0" anchor="ctr">
        <a:noAutofit/>
      </a:bodyPr>
      <a:lstStyle>
        <a:defPPr algn="ctr">
          <a:spcAft>
            <a:spcPts val="300"/>
          </a:spcAft>
          <a:defRPr dirty="0" smtClean="0">
            <a:latin typeface="Calibri" panose="020F0502020204030204" pitchFamily="34" charset="0"/>
          </a:defRPr>
        </a:defPPr>
      </a:lstStyle>
      <a:style>
        <a:lnRef idx="2">
          <a:schemeClr val="accent1"/>
        </a:lnRef>
        <a:fillRef idx="1">
          <a:schemeClr val="lt1"/>
        </a:fillRef>
        <a:effectRef idx="0">
          <a:schemeClr val="accent1"/>
        </a:effectRef>
        <a:fontRef idx="minor">
          <a:schemeClr val="dk1"/>
        </a:fontRef>
      </a:style>
    </a:spDef>
    <a:txDef>
      <a:spPr>
        <a:noFill/>
      </a:spPr>
      <a:bodyPr wrap="square" lIns="45720" rIns="45720" rtlCol="0" anchor="ctr" anchorCtr="0">
        <a:spAutoFit/>
      </a:bodyPr>
      <a:lstStyle>
        <a:defPPr algn="ctr">
          <a:spcAft>
            <a:spcPts val="300"/>
          </a:spcAft>
          <a:defRPr dirty="0" err="1" smtClean="0">
            <a:solidFill>
              <a:srgbClr val="4D4D4D"/>
            </a:solidFill>
            <a:latin typeface="Calibri" panose="020F0502020204030204" pitchFamily="34" charset="0"/>
          </a:defRPr>
        </a:defPPr>
      </a:lstStyle>
    </a:txDef>
  </a:objectDefaults>
  <a:extraClrSchemeLst/>
</a:theme>
</file>

<file path=ppt/theme/theme7.xml><?xml version="1.0" encoding="utf-8"?>
<a:theme xmlns:a="http://schemas.openxmlformats.org/drawingml/2006/main" name="1_Content Page Design">
  <a:themeElements>
    <a:clrScheme name="Microscan theme">
      <a:dk1>
        <a:sysClr val="windowText" lastClr="000000"/>
      </a:dk1>
      <a:lt1>
        <a:sysClr val="window" lastClr="FFFFFF"/>
      </a:lt1>
      <a:dk2>
        <a:srgbClr val="7F7F7F"/>
      </a:dk2>
      <a:lt2>
        <a:srgbClr val="E7E6E6"/>
      </a:lt2>
      <a:accent1>
        <a:srgbClr val="000000"/>
      </a:accent1>
      <a:accent2>
        <a:srgbClr val="7F7F7F"/>
      </a:accent2>
      <a:accent3>
        <a:srgbClr val="70AD47"/>
      </a:accent3>
      <a:accent4>
        <a:srgbClr val="FFC000"/>
      </a:accent4>
      <a:accent5>
        <a:srgbClr val="034A90"/>
      </a:accent5>
      <a:accent6>
        <a:srgbClr val="BF2E1A"/>
      </a:accent6>
      <a:hlink>
        <a:srgbClr val="BF2E1A"/>
      </a:hlink>
      <a:folHlink>
        <a:srgbClr val="BF2E1A"/>
      </a:folHlink>
    </a:clrScheme>
    <a:fontScheme name="Microscan fonts">
      <a:majorFont>
        <a:latin typeface="HelveticaNeueLT Std Thin"/>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Valiant TMS">
    <a:dk1>
      <a:srgbClr val="54565A"/>
    </a:dk1>
    <a:lt1>
      <a:srgbClr val="FFFFFF"/>
    </a:lt1>
    <a:dk2>
      <a:srgbClr val="005487"/>
    </a:dk2>
    <a:lt2>
      <a:srgbClr val="FFFFFF"/>
    </a:lt2>
    <a:accent1>
      <a:srgbClr val="898A8D"/>
    </a:accent1>
    <a:accent2>
      <a:srgbClr val="0083D3"/>
    </a:accent2>
    <a:accent3>
      <a:srgbClr val="54565A"/>
    </a:accent3>
    <a:accent4>
      <a:srgbClr val="6ABF4B"/>
    </a:accent4>
    <a:accent5>
      <a:srgbClr val="9264CC"/>
    </a:accent5>
    <a:accent6>
      <a:srgbClr val="F93549"/>
    </a:accent6>
    <a:hlink>
      <a:srgbClr val="0083D3"/>
    </a:hlink>
    <a:folHlink>
      <a:srgbClr val="F93549"/>
    </a:folHlink>
  </a:clrScheme>
</a:themeOverride>
</file>

<file path=ppt/theme/themeOverride2.xml><?xml version="1.0" encoding="utf-8"?>
<a:themeOverride xmlns:a="http://schemas.openxmlformats.org/drawingml/2006/main">
  <a:clrScheme name="Valiant TMS">
    <a:dk1>
      <a:srgbClr val="54565A"/>
    </a:dk1>
    <a:lt1>
      <a:srgbClr val="FFFFFF"/>
    </a:lt1>
    <a:dk2>
      <a:srgbClr val="005487"/>
    </a:dk2>
    <a:lt2>
      <a:srgbClr val="FFFFFF"/>
    </a:lt2>
    <a:accent1>
      <a:srgbClr val="898A8D"/>
    </a:accent1>
    <a:accent2>
      <a:srgbClr val="0083D3"/>
    </a:accent2>
    <a:accent3>
      <a:srgbClr val="54565A"/>
    </a:accent3>
    <a:accent4>
      <a:srgbClr val="6ABF4B"/>
    </a:accent4>
    <a:accent5>
      <a:srgbClr val="9264CC"/>
    </a:accent5>
    <a:accent6>
      <a:srgbClr val="F93549"/>
    </a:accent6>
    <a:hlink>
      <a:srgbClr val="0083D3"/>
    </a:hlink>
    <a:folHlink>
      <a:srgbClr val="F93549"/>
    </a:folHlink>
  </a:clrScheme>
</a:themeOverride>
</file>

<file path=ppt/theme/themeOverride3.xml><?xml version="1.0" encoding="utf-8"?>
<a:themeOverride xmlns:a="http://schemas.openxmlformats.org/drawingml/2006/main">
  <a:clrScheme name="Valiant TMS">
    <a:dk1>
      <a:srgbClr val="54565A"/>
    </a:dk1>
    <a:lt1>
      <a:srgbClr val="FFFFFF"/>
    </a:lt1>
    <a:dk2>
      <a:srgbClr val="005487"/>
    </a:dk2>
    <a:lt2>
      <a:srgbClr val="FFFFFF"/>
    </a:lt2>
    <a:accent1>
      <a:srgbClr val="898A8D"/>
    </a:accent1>
    <a:accent2>
      <a:srgbClr val="0083D3"/>
    </a:accent2>
    <a:accent3>
      <a:srgbClr val="54565A"/>
    </a:accent3>
    <a:accent4>
      <a:srgbClr val="6ABF4B"/>
    </a:accent4>
    <a:accent5>
      <a:srgbClr val="9264CC"/>
    </a:accent5>
    <a:accent6>
      <a:srgbClr val="F93549"/>
    </a:accent6>
    <a:hlink>
      <a:srgbClr val="0083D3"/>
    </a:hlink>
    <a:folHlink>
      <a:srgbClr val="F93549"/>
    </a:folHlink>
  </a:clrScheme>
</a:themeOverride>
</file>

<file path=docProps/app.xml><?xml version="1.0" encoding="utf-8"?>
<Properties xmlns="http://schemas.openxmlformats.org/officeDocument/2006/extended-properties" xmlns:vt="http://schemas.openxmlformats.org/officeDocument/2006/docPropsVTypes">
  <Template>150707 TEMPLATE OMRON Automation and Safety</Template>
  <TotalTime>41459</TotalTime>
  <Words>1892</Words>
  <Application>Microsoft Office PowerPoint</Application>
  <PresentationFormat>Widescreen</PresentationFormat>
  <Paragraphs>334</Paragraphs>
  <Slides>30</Slides>
  <Notes>14</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54" baseType="lpstr">
      <vt:lpstr>ＭＳ Ｐゴシック</vt:lpstr>
      <vt:lpstr>宋体</vt:lpstr>
      <vt:lpstr>Arial</vt:lpstr>
      <vt:lpstr>Calibri</vt:lpstr>
      <vt:lpstr>Calibri Light</vt:lpstr>
      <vt:lpstr>Franklin Gothic Book</vt:lpstr>
      <vt:lpstr>Gilroy</vt:lpstr>
      <vt:lpstr>Gilroy Bold</vt:lpstr>
      <vt:lpstr>HelveticaNeueLT Std Thin</vt:lpstr>
      <vt:lpstr>HGP創英角ｺﾞｼｯｸUB</vt:lpstr>
      <vt:lpstr>メイリオ</vt:lpstr>
      <vt:lpstr>Meiryo UI</vt:lpstr>
      <vt:lpstr>Myriad Pro</vt:lpstr>
      <vt:lpstr>Myriad Pro Light</vt:lpstr>
      <vt:lpstr>Times New Roman</vt:lpstr>
      <vt:lpstr>Wingdings</vt:lpstr>
      <vt:lpstr>150707 TEMPLATE OMRON Automation and Safety</vt:lpstr>
      <vt:lpstr>1_2016_OMRON_kickoff_format_A4</vt:lpstr>
      <vt:lpstr>1_150707 TEMPLATE OMRON Automation and Safety</vt:lpstr>
      <vt:lpstr>Valiant TMS</vt:lpstr>
      <vt:lpstr>Content Page Design</vt:lpstr>
      <vt:lpstr>_180501 MasterTemplate_2018_Test_d140502</vt:lpstr>
      <vt:lpstr>1_Content Page Design</vt:lpstr>
      <vt:lpstr>think-cell スライド</vt:lpstr>
      <vt:lpstr>PowerPoint Presentation</vt:lpstr>
      <vt:lpstr>Agenda</vt:lpstr>
      <vt:lpstr>Video</vt:lpstr>
      <vt:lpstr>About Valiant TMS</vt:lpstr>
      <vt:lpstr>Video</vt:lpstr>
      <vt:lpstr>Global Locations and Resources</vt:lpstr>
      <vt:lpstr>Automotive Value Chain</vt:lpstr>
      <vt:lpstr>Industry 4.0 Technology Pillars</vt:lpstr>
      <vt:lpstr>Augmented Reality Use Cases (Microsoft HoloLens)</vt:lpstr>
      <vt:lpstr>Augmented Reality Use Cases (Microsoft HoloLens)</vt:lpstr>
      <vt:lpstr>Video</vt:lpstr>
      <vt:lpstr>Video</vt:lpstr>
      <vt:lpstr>Video</vt:lpstr>
      <vt:lpstr>Video</vt:lpstr>
      <vt:lpstr>Video</vt:lpstr>
      <vt:lpstr>Simulation and Virtual Commissioning</vt:lpstr>
      <vt:lpstr>Video</vt:lpstr>
      <vt:lpstr>Video</vt:lpstr>
      <vt:lpstr>Video</vt:lpstr>
      <vt:lpstr>PowerPoint Presentation</vt:lpstr>
      <vt:lpstr>Track, Trace and Control </vt:lpstr>
      <vt:lpstr>PowerPoint Presentation</vt:lpstr>
      <vt:lpstr>Traceability 3.0/4.0: Unit-Level Traceability</vt:lpstr>
      <vt:lpstr>The OMRON MVRC Traceability Deployment Methodology</vt:lpstr>
      <vt:lpstr>Typical Traceability Software Tasks</vt:lpstr>
      <vt:lpstr>PowerPoint Presentation</vt:lpstr>
      <vt:lpstr>PowerPoint Presentation</vt:lpstr>
      <vt:lpstr>Video</vt:lpstr>
      <vt:lpstr>Omron Proof of Concept Cent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Template</dc:title>
  <dc:creator>Peter McEneaney</dc:creator>
  <cp:lastModifiedBy>Whitney Lojewski / OEI</cp:lastModifiedBy>
  <cp:revision>483</cp:revision>
  <dcterms:created xsi:type="dcterms:W3CDTF">2015-11-11T21:26:10Z</dcterms:created>
  <dcterms:modified xsi:type="dcterms:W3CDTF">2021-09-28T14:27:15Z</dcterms:modified>
</cp:coreProperties>
</file>